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3.xml" ContentType="application/vnd.openxmlformats-officedocument.themeOverride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sldIdLst>
    <p:sldId id="256" r:id="rId2"/>
    <p:sldId id="1786" r:id="rId3"/>
    <p:sldId id="258" r:id="rId4"/>
    <p:sldId id="1787" r:id="rId5"/>
    <p:sldId id="1788" r:id="rId6"/>
    <p:sldId id="1789" r:id="rId7"/>
    <p:sldId id="1757" r:id="rId8"/>
    <p:sldId id="1748" r:id="rId9"/>
    <p:sldId id="1776" r:id="rId10"/>
    <p:sldId id="1793" r:id="rId11"/>
    <p:sldId id="1792" r:id="rId12"/>
    <p:sldId id="1763" r:id="rId13"/>
    <p:sldId id="1749" r:id="rId14"/>
    <p:sldId id="1808" r:id="rId15"/>
    <p:sldId id="1797" r:id="rId16"/>
    <p:sldId id="1803" r:id="rId17"/>
    <p:sldId id="1798" r:id="rId18"/>
    <p:sldId id="1807" r:id="rId19"/>
    <p:sldId id="1799" r:id="rId20"/>
    <p:sldId id="1801" r:id="rId21"/>
    <p:sldId id="1802" r:id="rId22"/>
    <p:sldId id="1800" r:id="rId23"/>
    <p:sldId id="1805" r:id="rId24"/>
    <p:sldId id="1806" r:id="rId25"/>
    <p:sldId id="1750" r:id="rId26"/>
    <p:sldId id="1765" r:id="rId27"/>
    <p:sldId id="1751" r:id="rId28"/>
    <p:sldId id="261" r:id="rId29"/>
  </p:sldIdLst>
  <p:sldSz cx="12192000" cy="6858000"/>
  <p:notesSz cx="6858000" cy="9144000"/>
  <p:custDataLst>
    <p:tags r:id="rId3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23507"/>
    <a:srgbClr val="BE2D06"/>
    <a:srgbClr val="FFBE2E"/>
    <a:srgbClr val="ED520D"/>
    <a:srgbClr val="E24E0C"/>
    <a:srgbClr val="E33607"/>
    <a:srgbClr val="C5450B"/>
    <a:srgbClr val="EDB159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582" autoAdjust="0"/>
    <p:restoredTop sz="96182" autoAdjust="0"/>
  </p:normalViewPr>
  <p:slideViewPr>
    <p:cSldViewPr snapToGrid="0">
      <p:cViewPr>
        <p:scale>
          <a:sx n="81" d="100"/>
          <a:sy n="81" d="100"/>
        </p:scale>
        <p:origin x="144" y="3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uis Wang" userId="afff2e54-1287-4765-98d1-fc9729dc18f3" providerId="ADAL" clId="{5629C90C-C401-C44F-9599-BD5E300E8487}"/>
    <pc:docChg chg="undo custSel modSld">
      <pc:chgData name="Louis Wang" userId="afff2e54-1287-4765-98d1-fc9729dc18f3" providerId="ADAL" clId="{5629C90C-C401-C44F-9599-BD5E300E8487}" dt="2021-05-19T05:57:12.968" v="141" actId="478"/>
      <pc:docMkLst>
        <pc:docMk/>
      </pc:docMkLst>
      <pc:sldChg chg="addSp delSp modSp mod">
        <pc:chgData name="Louis Wang" userId="afff2e54-1287-4765-98d1-fc9729dc18f3" providerId="ADAL" clId="{5629C90C-C401-C44F-9599-BD5E300E8487}" dt="2021-05-19T05:57:12.968" v="141" actId="478"/>
        <pc:sldMkLst>
          <pc:docMk/>
          <pc:sldMk cId="2371705942" sldId="1757"/>
        </pc:sldMkLst>
        <pc:spChg chg="mod">
          <ac:chgData name="Louis Wang" userId="afff2e54-1287-4765-98d1-fc9729dc18f3" providerId="ADAL" clId="{5629C90C-C401-C44F-9599-BD5E300E8487}" dt="2021-05-19T05:48:43.498" v="76" actId="20577"/>
          <ac:spMkLst>
            <pc:docMk/>
            <pc:sldMk cId="2371705942" sldId="1757"/>
            <ac:spMk id="2" creationId="{0816FA81-3A93-4388-BCD6-2F27AED01DCE}"/>
          </ac:spMkLst>
        </pc:spChg>
        <pc:spChg chg="add del">
          <ac:chgData name="Louis Wang" userId="afff2e54-1287-4765-98d1-fc9729dc18f3" providerId="ADAL" clId="{5629C90C-C401-C44F-9599-BD5E300E8487}" dt="2021-05-19T05:57:12.968" v="141" actId="478"/>
          <ac:spMkLst>
            <pc:docMk/>
            <pc:sldMk cId="2371705942" sldId="1757"/>
            <ac:spMk id="3" creationId="{CB1E5779-1540-47A0-BFA1-F02E877E2B1C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7" creationId="{726A77C2-07A2-4D24-A1B0-F9E650E9605E}"/>
          </ac:spMkLst>
        </pc:spChg>
        <pc:spChg chg="add del mod">
          <ac:chgData name="Louis Wang" userId="afff2e54-1287-4765-98d1-fc9729dc18f3" providerId="ADAL" clId="{5629C90C-C401-C44F-9599-BD5E300E8487}" dt="2021-05-19T05:55:10.594" v="110" actId="478"/>
          <ac:spMkLst>
            <pc:docMk/>
            <pc:sldMk cId="2371705942" sldId="1757"/>
            <ac:spMk id="11" creationId="{82D05D95-47D9-CC4A-A18B-33BF082DD269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17" creationId="{F3C181D7-0251-480E-90E8-F29834211C76}"/>
          </ac:spMkLst>
        </pc:spChg>
        <pc:spChg chg="del mod">
          <ac:chgData name="Louis Wang" userId="afff2e54-1287-4765-98d1-fc9729dc18f3" providerId="ADAL" clId="{5629C90C-C401-C44F-9599-BD5E300E8487}" dt="2021-05-19T05:26:59.972" v="53" actId="478"/>
          <ac:spMkLst>
            <pc:docMk/>
            <pc:sldMk cId="2371705942" sldId="1757"/>
            <ac:spMk id="18" creationId="{BD7C3AA6-EC85-44CE-AA92-EFD8B554DA01}"/>
          </ac:spMkLst>
        </pc:spChg>
        <pc:spChg chg="del">
          <ac:chgData name="Louis Wang" userId="afff2e54-1287-4765-98d1-fc9729dc18f3" providerId="ADAL" clId="{5629C90C-C401-C44F-9599-BD5E300E8487}" dt="2021-05-19T05:27:01.370" v="54" actId="478"/>
          <ac:spMkLst>
            <pc:docMk/>
            <pc:sldMk cId="2371705942" sldId="1757"/>
            <ac:spMk id="19" creationId="{BD7C3AA6-EC85-44CE-AA92-EFD8B554DA01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20" creationId="{65FFD971-3CDA-437D-8BFE-83CC43952D25}"/>
          </ac:spMkLst>
        </pc:spChg>
        <pc:spChg chg="add del mod">
          <ac:chgData name="Louis Wang" userId="afff2e54-1287-4765-98d1-fc9729dc18f3" providerId="ADAL" clId="{5629C90C-C401-C44F-9599-BD5E300E8487}" dt="2021-05-19T05:27:05.329" v="55" actId="478"/>
          <ac:spMkLst>
            <pc:docMk/>
            <pc:sldMk cId="2371705942" sldId="1757"/>
            <ac:spMk id="21" creationId="{BD7C3AA6-EC85-44CE-AA92-EFD8B554DA01}"/>
          </ac:spMkLst>
        </pc:spChg>
        <pc:spChg chg="add del">
          <ac:chgData name="Louis Wang" userId="afff2e54-1287-4765-98d1-fc9729dc18f3" providerId="ADAL" clId="{5629C90C-C401-C44F-9599-BD5E300E8487}" dt="2021-05-19T05:26:46.720" v="51" actId="478"/>
          <ac:spMkLst>
            <pc:docMk/>
            <pc:sldMk cId="2371705942" sldId="1757"/>
            <ac:spMk id="22" creationId="{BD7C3AA6-EC85-44CE-AA92-EFD8B554DA01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23" creationId="{4FEEBE73-2A39-4AE8-BE8A-3993289E738B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24" creationId="{BD7C3AA6-EC85-44CE-AA92-EFD8B554DA01}"/>
          </ac:spMkLst>
        </pc:spChg>
        <pc:spChg chg="del">
          <ac:chgData name="Louis Wang" userId="afff2e54-1287-4765-98d1-fc9729dc18f3" providerId="ADAL" clId="{5629C90C-C401-C44F-9599-BD5E300E8487}" dt="2021-05-19T05:15:41.481" v="0" actId="478"/>
          <ac:spMkLst>
            <pc:docMk/>
            <pc:sldMk cId="2371705942" sldId="1757"/>
            <ac:spMk id="25" creationId="{BD7C3AA6-EC85-44CE-AA92-EFD8B554DA01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26" creationId="{D6BE85C9-F188-41E1-AC79-1E9AB836718E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27" creationId="{BD7C3AA6-EC85-44CE-AA92-EFD8B554DA01}"/>
          </ac:spMkLst>
        </pc:spChg>
        <pc:spChg chg="add del mod">
          <ac:chgData name="Louis Wang" userId="afff2e54-1287-4765-98d1-fc9729dc18f3" providerId="ADAL" clId="{5629C90C-C401-C44F-9599-BD5E300E8487}" dt="2021-05-19T05:16:04.293" v="11" actId="478"/>
          <ac:spMkLst>
            <pc:docMk/>
            <pc:sldMk cId="2371705942" sldId="1757"/>
            <ac:spMk id="28" creationId="{EECFE6B0-0789-9341-B441-A8037380FEF2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29" creationId="{73191E21-E1D8-4FC5-8673-01A69620EBA1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30" creationId="{BD7C3AA6-EC85-44CE-AA92-EFD8B554DA01}"/>
          </ac:spMkLst>
        </pc:spChg>
        <pc:spChg chg="add 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31" creationId="{AE31AFD6-AD11-364C-8D29-D245BAC3005A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32" creationId="{2F08401A-50C5-411B-BFD5-BEC571808970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34" creationId="{FDCF93D0-243E-497C-B572-E5BC490691E9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35" creationId="{574F91FA-F381-49F4-966D-FF2BA46278FE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36" creationId="{90C5C98B-CE46-48C1-900A-B5468DF6D63B}"/>
          </ac:spMkLst>
        </pc:spChg>
        <pc:spChg chg="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37" creationId="{B7D9F31C-7502-4525-B240-8267A83BC4F9}"/>
          </ac:spMkLst>
        </pc:spChg>
        <pc:spChg chg="add mod">
          <ac:chgData name="Louis Wang" userId="afff2e54-1287-4765-98d1-fc9729dc18f3" providerId="ADAL" clId="{5629C90C-C401-C44F-9599-BD5E300E8487}" dt="2021-05-19T05:56:40.932" v="139" actId="2711"/>
          <ac:spMkLst>
            <pc:docMk/>
            <pc:sldMk cId="2371705942" sldId="1757"/>
            <ac:spMk id="38" creationId="{FA533A7C-645A-B140-AF43-8500176F57D8}"/>
          </ac:spMkLst>
        </pc:spChg>
        <pc:grpChg chg="add del">
          <ac:chgData name="Louis Wang" userId="afff2e54-1287-4765-98d1-fc9729dc18f3" providerId="ADAL" clId="{5629C90C-C401-C44F-9599-BD5E300E8487}" dt="2021-05-19T05:27:05.329" v="55" actId="478"/>
          <ac:grpSpMkLst>
            <pc:docMk/>
            <pc:sldMk cId="2371705942" sldId="1757"/>
            <ac:grpSpMk id="11" creationId="{27EFFC52-A988-4E5E-AD39-5030E8EFCC52}"/>
          </ac:grpSpMkLst>
        </pc:grpChg>
        <pc:grpChg chg="del">
          <ac:chgData name="Louis Wang" userId="afff2e54-1287-4765-98d1-fc9729dc18f3" providerId="ADAL" clId="{5629C90C-C401-C44F-9599-BD5E300E8487}" dt="2021-05-19T05:27:01.370" v="54" actId="478"/>
          <ac:grpSpMkLst>
            <pc:docMk/>
            <pc:sldMk cId="2371705942" sldId="1757"/>
            <ac:grpSpMk id="12" creationId="{3AEB6B93-8A2B-48CD-B552-81C3FE4C2D26}"/>
          </ac:grpSpMkLst>
        </pc:grpChg>
      </pc:sldChg>
      <pc:sldChg chg="modSp mod">
        <pc:chgData name="Louis Wang" userId="afff2e54-1287-4765-98d1-fc9729dc18f3" providerId="ADAL" clId="{5629C90C-C401-C44F-9599-BD5E300E8487}" dt="2021-05-19T05:48:28.447" v="64" actId="20577"/>
        <pc:sldMkLst>
          <pc:docMk/>
          <pc:sldMk cId="479957337" sldId="1789"/>
        </pc:sldMkLst>
        <pc:spChg chg="mod">
          <ac:chgData name="Louis Wang" userId="afff2e54-1287-4765-98d1-fc9729dc18f3" providerId="ADAL" clId="{5629C90C-C401-C44F-9599-BD5E300E8487}" dt="2021-05-19T05:48:28.447" v="64" actId="20577"/>
          <ac:spMkLst>
            <pc:docMk/>
            <pc:sldMk cId="479957337" sldId="1789"/>
            <ac:spMk id="2" creationId="{79B7E19B-D008-4315-924B-5661F2477C1F}"/>
          </ac:spMkLst>
        </pc:spChg>
      </pc:sldChg>
    </pc:docChg>
  </pc:docChgLst>
  <pc:docChgLst>
    <pc:chgData name="Louis Wang" userId="afff2e54-1287-4765-98d1-fc9729dc18f3" providerId="ADAL" clId="{5CA31268-2CC3-400D-8FE9-FC0A25D84331}"/>
    <pc:docChg chg="undo custSel addSld delSld modSld sldOrd">
      <pc:chgData name="Louis Wang" userId="afff2e54-1287-4765-98d1-fc9729dc18f3" providerId="ADAL" clId="{5CA31268-2CC3-400D-8FE9-FC0A25D84331}" dt="2021-05-19T15:08:38.160" v="1459" actId="255"/>
      <pc:docMkLst>
        <pc:docMk/>
      </pc:docMkLst>
      <pc:sldChg chg="modSp mod">
        <pc:chgData name="Louis Wang" userId="afff2e54-1287-4765-98d1-fc9729dc18f3" providerId="ADAL" clId="{5CA31268-2CC3-400D-8FE9-FC0A25D84331}" dt="2021-05-19T11:14:59.948" v="481" actId="255"/>
        <pc:sldMkLst>
          <pc:docMk/>
          <pc:sldMk cId="2371597387" sldId="258"/>
        </pc:sldMkLst>
        <pc:spChg chg="mod">
          <ac:chgData name="Louis Wang" userId="afff2e54-1287-4765-98d1-fc9729dc18f3" providerId="ADAL" clId="{5CA31268-2CC3-400D-8FE9-FC0A25D84331}" dt="2021-05-19T11:14:54.128" v="480" actId="114"/>
          <ac:spMkLst>
            <pc:docMk/>
            <pc:sldMk cId="2371597387" sldId="258"/>
            <ac:spMk id="5" creationId="{00000000-0000-0000-0000-000000000000}"/>
          </ac:spMkLst>
        </pc:spChg>
        <pc:spChg chg="mod">
          <ac:chgData name="Louis Wang" userId="afff2e54-1287-4765-98d1-fc9729dc18f3" providerId="ADAL" clId="{5CA31268-2CC3-400D-8FE9-FC0A25D84331}" dt="2021-05-19T11:14:59.948" v="481" actId="255"/>
          <ac:spMkLst>
            <pc:docMk/>
            <pc:sldMk cId="2371597387" sldId="258"/>
            <ac:spMk id="6" creationId="{00000000-0000-0000-0000-000000000000}"/>
          </ac:spMkLst>
        </pc:spChg>
      </pc:sldChg>
      <pc:sldChg chg="modSp mod ord">
        <pc:chgData name="Louis Wang" userId="afff2e54-1287-4765-98d1-fc9729dc18f3" providerId="ADAL" clId="{5CA31268-2CC3-400D-8FE9-FC0A25D84331}" dt="2021-05-19T13:17:14.817" v="1323" actId="20577"/>
        <pc:sldMkLst>
          <pc:docMk/>
          <pc:sldMk cId="1259043032" sldId="261"/>
        </pc:sldMkLst>
        <pc:spChg chg="mod">
          <ac:chgData name="Louis Wang" userId="afff2e54-1287-4765-98d1-fc9729dc18f3" providerId="ADAL" clId="{5CA31268-2CC3-400D-8FE9-FC0A25D84331}" dt="2021-05-19T13:17:14.817" v="1323" actId="20577"/>
          <ac:spMkLst>
            <pc:docMk/>
            <pc:sldMk cId="1259043032" sldId="261"/>
            <ac:spMk id="5" creationId="{00000000-0000-0000-0000-000000000000}"/>
          </ac:spMkLst>
        </pc:spChg>
      </pc:sldChg>
      <pc:sldChg chg="modSp mod ord">
        <pc:chgData name="Louis Wang" userId="afff2e54-1287-4765-98d1-fc9729dc18f3" providerId="ADAL" clId="{5CA31268-2CC3-400D-8FE9-FC0A25D84331}" dt="2021-05-19T11:15:52.664" v="485" actId="255"/>
        <pc:sldMkLst>
          <pc:docMk/>
          <pc:sldMk cId="3065613741" sldId="1748"/>
        </pc:sldMkLst>
        <pc:spChg chg="mod">
          <ac:chgData name="Louis Wang" userId="afff2e54-1287-4765-98d1-fc9729dc18f3" providerId="ADAL" clId="{5CA31268-2CC3-400D-8FE9-FC0A25D84331}" dt="2021-05-19T11:14:49.512" v="479" actId="114"/>
          <ac:spMkLst>
            <pc:docMk/>
            <pc:sldMk cId="3065613741" sldId="1748"/>
            <ac:spMk id="5" creationId="{00000000-0000-0000-0000-000000000000}"/>
          </ac:spMkLst>
        </pc:spChg>
        <pc:spChg chg="mod">
          <ac:chgData name="Louis Wang" userId="afff2e54-1287-4765-98d1-fc9729dc18f3" providerId="ADAL" clId="{5CA31268-2CC3-400D-8FE9-FC0A25D84331}" dt="2021-05-19T11:15:52.664" v="485" actId="255"/>
          <ac:spMkLst>
            <pc:docMk/>
            <pc:sldMk cId="3065613741" sldId="1748"/>
            <ac:spMk id="6" creationId="{00000000-0000-0000-0000-000000000000}"/>
          </ac:spMkLst>
        </pc:spChg>
      </pc:sldChg>
      <pc:sldChg chg="modSp mod ord">
        <pc:chgData name="Louis Wang" userId="afff2e54-1287-4765-98d1-fc9729dc18f3" providerId="ADAL" clId="{5CA31268-2CC3-400D-8FE9-FC0A25D84331}" dt="2021-05-19T14:23:34.080" v="1376" actId="20577"/>
        <pc:sldMkLst>
          <pc:docMk/>
          <pc:sldMk cId="4266599431" sldId="1749"/>
        </pc:sldMkLst>
        <pc:spChg chg="mod">
          <ac:chgData name="Louis Wang" userId="afff2e54-1287-4765-98d1-fc9729dc18f3" providerId="ADAL" clId="{5CA31268-2CC3-400D-8FE9-FC0A25D84331}" dt="2021-05-19T12:35:17.608" v="986" actId="114"/>
          <ac:spMkLst>
            <pc:docMk/>
            <pc:sldMk cId="4266599431" sldId="1749"/>
            <ac:spMk id="5" creationId="{00000000-0000-0000-0000-000000000000}"/>
          </ac:spMkLst>
        </pc:spChg>
        <pc:spChg chg="mod">
          <ac:chgData name="Louis Wang" userId="afff2e54-1287-4765-98d1-fc9729dc18f3" providerId="ADAL" clId="{5CA31268-2CC3-400D-8FE9-FC0A25D84331}" dt="2021-05-19T14:23:34.080" v="1376" actId="20577"/>
          <ac:spMkLst>
            <pc:docMk/>
            <pc:sldMk cId="4266599431" sldId="1749"/>
            <ac:spMk id="6" creationId="{00000000-0000-0000-0000-000000000000}"/>
          </ac:spMkLst>
        </pc:spChg>
      </pc:sldChg>
      <pc:sldChg chg="modSp mod ord">
        <pc:chgData name="Louis Wang" userId="afff2e54-1287-4765-98d1-fc9729dc18f3" providerId="ADAL" clId="{5CA31268-2CC3-400D-8FE9-FC0A25D84331}" dt="2021-05-19T15:08:38.160" v="1459" actId="255"/>
        <pc:sldMkLst>
          <pc:docMk/>
          <pc:sldMk cId="2468354944" sldId="1750"/>
        </pc:sldMkLst>
        <pc:spChg chg="mod">
          <ac:chgData name="Louis Wang" userId="afff2e54-1287-4765-98d1-fc9729dc18f3" providerId="ADAL" clId="{5CA31268-2CC3-400D-8FE9-FC0A25D84331}" dt="2021-05-19T12:36:03.058" v="1004" actId="114"/>
          <ac:spMkLst>
            <pc:docMk/>
            <pc:sldMk cId="2468354944" sldId="1750"/>
            <ac:spMk id="5" creationId="{00000000-0000-0000-0000-000000000000}"/>
          </ac:spMkLst>
        </pc:spChg>
        <pc:spChg chg="mod">
          <ac:chgData name="Louis Wang" userId="afff2e54-1287-4765-98d1-fc9729dc18f3" providerId="ADAL" clId="{5CA31268-2CC3-400D-8FE9-FC0A25D84331}" dt="2021-05-19T15:08:38.160" v="1459" actId="255"/>
          <ac:spMkLst>
            <pc:docMk/>
            <pc:sldMk cId="2468354944" sldId="1750"/>
            <ac:spMk id="6" creationId="{00000000-0000-0000-0000-000000000000}"/>
          </ac:spMkLst>
        </pc:spChg>
      </pc:sldChg>
      <pc:sldChg chg="addSp delSp modSp add del mod ord modAnim modShow">
        <pc:chgData name="Louis Wang" userId="afff2e54-1287-4765-98d1-fc9729dc18f3" providerId="ADAL" clId="{5CA31268-2CC3-400D-8FE9-FC0A25D84331}" dt="2021-05-19T13:04:50.594" v="1313"/>
        <pc:sldMkLst>
          <pc:docMk/>
          <pc:sldMk cId="1679237823" sldId="1751"/>
        </pc:sldMkLst>
        <pc:spChg chg="add mod">
          <ac:chgData name="Louis Wang" userId="afff2e54-1287-4765-98d1-fc9729dc18f3" providerId="ADAL" clId="{5CA31268-2CC3-400D-8FE9-FC0A25D84331}" dt="2021-05-19T13:04:19.067" v="1309" actId="478"/>
          <ac:spMkLst>
            <pc:docMk/>
            <pc:sldMk cId="1679237823" sldId="1751"/>
            <ac:spMk id="4" creationId="{A4C224E4-31E2-4530-BF77-A24DD805C59C}"/>
          </ac:spMkLst>
        </pc:spChg>
        <pc:spChg chg="mod">
          <ac:chgData name="Louis Wang" userId="afff2e54-1287-4765-98d1-fc9729dc18f3" providerId="ADAL" clId="{5CA31268-2CC3-400D-8FE9-FC0A25D84331}" dt="2021-05-19T13:04:31.298" v="1311" actId="255"/>
          <ac:spMkLst>
            <pc:docMk/>
            <pc:sldMk cId="1679237823" sldId="1751"/>
            <ac:spMk id="5" creationId="{00000000-0000-0000-0000-000000000000}"/>
          </ac:spMkLst>
        </pc:spChg>
        <pc:spChg chg="del">
          <ac:chgData name="Louis Wang" userId="afff2e54-1287-4765-98d1-fc9729dc18f3" providerId="ADAL" clId="{5CA31268-2CC3-400D-8FE9-FC0A25D84331}" dt="2021-05-19T13:04:19.067" v="1309" actId="478"/>
          <ac:spMkLst>
            <pc:docMk/>
            <pc:sldMk cId="1679237823" sldId="1751"/>
            <ac:spMk id="6" creationId="{00000000-0000-0000-0000-000000000000}"/>
          </ac:spMkLst>
        </pc:spChg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458241096" sldId="1752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4192665137" sldId="1753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754581543" sldId="1754"/>
        </pc:sldMkLst>
      </pc:sldChg>
      <pc:sldChg chg="addSp delSp modSp add del mod or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1069530553" sldId="1755"/>
        </pc:sldMkLst>
        <pc:spChg chg="del">
          <ac:chgData name="Louis Wang" userId="afff2e54-1287-4765-98d1-fc9729dc18f3" providerId="ADAL" clId="{5CA31268-2CC3-400D-8FE9-FC0A25D84331}" dt="2021-05-19T11:42:59.362" v="693" actId="478"/>
          <ac:spMkLst>
            <pc:docMk/>
            <pc:sldMk cId="1069530553" sldId="1755"/>
            <ac:spMk id="3" creationId="{CABB23F5-7E5E-4B85-A413-F9915573E963}"/>
          </ac:spMkLst>
        </pc:spChg>
        <pc:spChg chg="mod">
          <ac:chgData name="Louis Wang" userId="afff2e54-1287-4765-98d1-fc9729dc18f3" providerId="ADAL" clId="{5CA31268-2CC3-400D-8FE9-FC0A25D84331}" dt="2021-05-19T11:42:12.507" v="678" actId="20577"/>
          <ac:spMkLst>
            <pc:docMk/>
            <pc:sldMk cId="1069530553" sldId="1755"/>
            <ac:spMk id="9" creationId="{2B1BD773-6E2A-45FA-86BC-20BEE0BE5B8F}"/>
          </ac:spMkLst>
        </pc:spChg>
        <pc:spChg chg="mod">
          <ac:chgData name="Louis Wang" userId="afff2e54-1287-4765-98d1-fc9729dc18f3" providerId="ADAL" clId="{5CA31268-2CC3-400D-8FE9-FC0A25D84331}" dt="2021-05-19T11:42:18.193" v="682" actId="20577"/>
          <ac:spMkLst>
            <pc:docMk/>
            <pc:sldMk cId="1069530553" sldId="1755"/>
            <ac:spMk id="10" creationId="{94AC1990-3CA0-4FBF-A0B6-1389E36E7E37}"/>
          </ac:spMkLst>
        </pc:spChg>
        <pc:spChg chg="mod">
          <ac:chgData name="Louis Wang" userId="afff2e54-1287-4765-98d1-fc9729dc18f3" providerId="ADAL" clId="{5CA31268-2CC3-400D-8FE9-FC0A25D84331}" dt="2021-05-19T11:42:22.666" v="686" actId="20577"/>
          <ac:spMkLst>
            <pc:docMk/>
            <pc:sldMk cId="1069530553" sldId="1755"/>
            <ac:spMk id="11" creationId="{B884B774-BBA7-4BBE-9645-6BB5E65F357A}"/>
          </ac:spMkLst>
        </pc:spChg>
        <pc:spChg chg="add del mod">
          <ac:chgData name="Louis Wang" userId="afff2e54-1287-4765-98d1-fc9729dc18f3" providerId="ADAL" clId="{5CA31268-2CC3-400D-8FE9-FC0A25D84331}" dt="2021-05-19T11:41:55.566" v="669" actId="478"/>
          <ac:spMkLst>
            <pc:docMk/>
            <pc:sldMk cId="1069530553" sldId="1755"/>
            <ac:spMk id="49" creationId="{F20D71A3-EAE7-4D27-9C9B-E633274EF677}"/>
          </ac:spMkLst>
        </pc:spChg>
        <pc:spChg chg="mod">
          <ac:chgData name="Louis Wang" userId="afff2e54-1287-4765-98d1-fc9729dc18f3" providerId="ADAL" clId="{5CA31268-2CC3-400D-8FE9-FC0A25D84331}" dt="2021-05-19T11:41:55.566" v="669" actId="478"/>
          <ac:spMkLst>
            <pc:docMk/>
            <pc:sldMk cId="1069530553" sldId="1755"/>
            <ac:spMk id="50" creationId="{B1246C4A-C79F-4CA6-965E-33CB3679AD63}"/>
          </ac:spMkLst>
        </pc:spChg>
        <pc:spChg chg="del">
          <ac:chgData name="Louis Wang" userId="afff2e54-1287-4765-98d1-fc9729dc18f3" providerId="ADAL" clId="{5CA31268-2CC3-400D-8FE9-FC0A25D84331}" dt="2021-05-19T11:42:05.428" v="674" actId="478"/>
          <ac:spMkLst>
            <pc:docMk/>
            <pc:sldMk cId="1069530553" sldId="1755"/>
            <ac:spMk id="53" creationId="{8B0A36C6-1F77-4158-A220-2DCB314FA58A}"/>
          </ac:spMkLst>
        </pc:spChg>
        <pc:spChg chg="del">
          <ac:chgData name="Louis Wang" userId="afff2e54-1287-4765-98d1-fc9729dc18f3" providerId="ADAL" clId="{5CA31268-2CC3-400D-8FE9-FC0A25D84331}" dt="2021-05-19T11:42:50.971" v="691" actId="478"/>
          <ac:spMkLst>
            <pc:docMk/>
            <pc:sldMk cId="1069530553" sldId="1755"/>
            <ac:spMk id="54" creationId="{725BF5DC-83D4-49C7-A750-A22BB35D7386}"/>
          </ac:spMkLst>
        </pc:spChg>
        <pc:spChg chg="del">
          <ac:chgData name="Louis Wang" userId="afff2e54-1287-4765-98d1-fc9729dc18f3" providerId="ADAL" clId="{5CA31268-2CC3-400D-8FE9-FC0A25D84331}" dt="2021-05-19T11:42:03.564" v="673" actId="478"/>
          <ac:spMkLst>
            <pc:docMk/>
            <pc:sldMk cId="1069530553" sldId="1755"/>
            <ac:spMk id="55" creationId="{28D9202A-920C-45C4-931C-99A27300BB38}"/>
          </ac:spMkLst>
        </pc:spChg>
        <pc:spChg chg="del">
          <ac:chgData name="Louis Wang" userId="afff2e54-1287-4765-98d1-fc9729dc18f3" providerId="ADAL" clId="{5CA31268-2CC3-400D-8FE9-FC0A25D84331}" dt="2021-05-19T11:42:43.602" v="690" actId="478"/>
          <ac:spMkLst>
            <pc:docMk/>
            <pc:sldMk cId="1069530553" sldId="1755"/>
            <ac:spMk id="56" creationId="{60965A6E-B2A2-4F9B-93A0-DE1ABAE1D025}"/>
          </ac:spMkLst>
        </pc:spChg>
        <pc:spChg chg="del">
          <ac:chgData name="Louis Wang" userId="afff2e54-1287-4765-98d1-fc9729dc18f3" providerId="ADAL" clId="{5CA31268-2CC3-400D-8FE9-FC0A25D84331}" dt="2021-05-19T11:41:59.363" v="670" actId="478"/>
          <ac:spMkLst>
            <pc:docMk/>
            <pc:sldMk cId="1069530553" sldId="1755"/>
            <ac:spMk id="57" creationId="{3BED6172-08C7-403A-B6E6-A0A3D3F273F8}"/>
          </ac:spMkLst>
        </pc:spChg>
        <pc:spChg chg="del">
          <ac:chgData name="Louis Wang" userId="afff2e54-1287-4765-98d1-fc9729dc18f3" providerId="ADAL" clId="{5CA31268-2CC3-400D-8FE9-FC0A25D84331}" dt="2021-05-19T11:42:55.186" v="692" actId="478"/>
          <ac:spMkLst>
            <pc:docMk/>
            <pc:sldMk cId="1069530553" sldId="1755"/>
            <ac:spMk id="58" creationId="{FFAA6D35-A3D0-446A-89F8-D1E3733B3A33}"/>
          </ac:spMkLst>
        </pc:spChg>
        <pc:grpChg chg="add del mod">
          <ac:chgData name="Louis Wang" userId="afff2e54-1287-4765-98d1-fc9729dc18f3" providerId="ADAL" clId="{5CA31268-2CC3-400D-8FE9-FC0A25D84331}" dt="2021-05-19T11:42:41.435" v="689" actId="21"/>
          <ac:grpSpMkLst>
            <pc:docMk/>
            <pc:sldMk cId="1069530553" sldId="1755"/>
            <ac:grpSpMk id="5" creationId="{986E0D75-388F-4C24-BDD1-55222B5273A4}"/>
          </ac:grpSpMkLst>
        </pc:grpChg>
        <pc:grpChg chg="del">
          <ac:chgData name="Louis Wang" userId="afff2e54-1287-4765-98d1-fc9729dc18f3" providerId="ADAL" clId="{5CA31268-2CC3-400D-8FE9-FC0A25D84331}" dt="2021-05-19T11:41:59.363" v="670" actId="478"/>
          <ac:grpSpMkLst>
            <pc:docMk/>
            <pc:sldMk cId="1069530553" sldId="1755"/>
            <ac:grpSpMk id="12" creationId="{F649EC8D-2F0D-4685-9D86-840CCBBDB609}"/>
          </ac:grpSpMkLst>
        </pc:grpChg>
        <pc:grpChg chg="del">
          <ac:chgData name="Louis Wang" userId="afff2e54-1287-4765-98d1-fc9729dc18f3" providerId="ADAL" clId="{5CA31268-2CC3-400D-8FE9-FC0A25D84331}" dt="2021-05-19T11:42:03.564" v="673" actId="478"/>
          <ac:grpSpMkLst>
            <pc:docMk/>
            <pc:sldMk cId="1069530553" sldId="1755"/>
            <ac:grpSpMk id="13" creationId="{CCDC204C-8DB0-4EBA-8EED-FB02223FE840}"/>
          </ac:grpSpMkLst>
        </pc:grpChg>
        <pc:grpChg chg="del">
          <ac:chgData name="Louis Wang" userId="afff2e54-1287-4765-98d1-fc9729dc18f3" providerId="ADAL" clId="{5CA31268-2CC3-400D-8FE9-FC0A25D84331}" dt="2021-05-19T11:42:05.428" v="674" actId="478"/>
          <ac:grpSpMkLst>
            <pc:docMk/>
            <pc:sldMk cId="1069530553" sldId="1755"/>
            <ac:grpSpMk id="14" creationId="{9C86D5FD-A16D-413B-93FF-A28A60CE8A88}"/>
          </ac:grpSpMkLst>
        </pc:grpChg>
        <pc:grpChg chg="add del">
          <ac:chgData name="Louis Wang" userId="afff2e54-1287-4765-98d1-fc9729dc18f3" providerId="ADAL" clId="{5CA31268-2CC3-400D-8FE9-FC0A25D84331}" dt="2021-05-19T11:41:55.566" v="669" actId="478"/>
          <ac:grpSpMkLst>
            <pc:docMk/>
            <pc:sldMk cId="1069530553" sldId="1755"/>
            <ac:grpSpMk id="48" creationId="{BC90D1F3-B8F8-44A9-8666-9BD77393887A}"/>
          </ac:grpSpMkLst>
        </pc:grpChg>
        <pc:cxnChg chg="mod">
          <ac:chgData name="Louis Wang" userId="afff2e54-1287-4765-98d1-fc9729dc18f3" providerId="ADAL" clId="{5CA31268-2CC3-400D-8FE9-FC0A25D84331}" dt="2021-05-19T11:42:41.435" v="689" actId="21"/>
          <ac:cxnSpMkLst>
            <pc:docMk/>
            <pc:sldMk cId="1069530553" sldId="1755"/>
            <ac:cxnSpMk id="6" creationId="{3DFBFA6B-22AF-49D6-BC1A-85FB30A0207C}"/>
          </ac:cxnSpMkLst>
        </pc:cxnChg>
        <pc:cxnChg chg="mod">
          <ac:chgData name="Louis Wang" userId="afff2e54-1287-4765-98d1-fc9729dc18f3" providerId="ADAL" clId="{5CA31268-2CC3-400D-8FE9-FC0A25D84331}" dt="2021-05-19T11:42:41.435" v="689" actId="21"/>
          <ac:cxnSpMkLst>
            <pc:docMk/>
            <pc:sldMk cId="1069530553" sldId="1755"/>
            <ac:cxnSpMk id="7" creationId="{091E4F09-5A68-473E-AFCF-7FB5CFBC5E12}"/>
          </ac:cxnSpMkLst>
        </pc:cxnChg>
        <pc:cxnChg chg="mod">
          <ac:chgData name="Louis Wang" userId="afff2e54-1287-4765-98d1-fc9729dc18f3" providerId="ADAL" clId="{5CA31268-2CC3-400D-8FE9-FC0A25D84331}" dt="2021-05-19T11:42:41.435" v="689" actId="21"/>
          <ac:cxnSpMkLst>
            <pc:docMk/>
            <pc:sldMk cId="1069530553" sldId="1755"/>
            <ac:cxnSpMk id="8" creationId="{76DCD9DF-49F3-43C4-861D-99D58741EE14}"/>
          </ac:cxnSpMkLst>
        </pc:cxnChg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2753832232" sldId="1756"/>
        </pc:sldMkLst>
      </pc:sldChg>
      <pc:sldChg chg="delSp modSp mod ord">
        <pc:chgData name="Louis Wang" userId="afff2e54-1287-4765-98d1-fc9729dc18f3" providerId="ADAL" clId="{5CA31268-2CC3-400D-8FE9-FC0A25D84331}" dt="2021-05-19T11:09:23.001" v="452" actId="478"/>
        <pc:sldMkLst>
          <pc:docMk/>
          <pc:sldMk cId="2371705942" sldId="1757"/>
        </pc:sldMkLst>
        <pc:spChg chg="del">
          <ac:chgData name="Louis Wang" userId="afff2e54-1287-4765-98d1-fc9729dc18f3" providerId="ADAL" clId="{5CA31268-2CC3-400D-8FE9-FC0A25D84331}" dt="2021-05-19T11:09:23.001" v="452" actId="478"/>
          <ac:spMkLst>
            <pc:docMk/>
            <pc:sldMk cId="2371705942" sldId="1757"/>
            <ac:spMk id="3" creationId="{CB1E5779-1540-47A0-BFA1-F02E877E2B1C}"/>
          </ac:spMkLst>
        </pc:spChg>
        <pc:spChg chg="mod">
          <ac:chgData name="Louis Wang" userId="afff2e54-1287-4765-98d1-fc9729dc18f3" providerId="ADAL" clId="{5CA31268-2CC3-400D-8FE9-FC0A25D84331}" dt="2021-05-19T02:01:02.607" v="201" actId="255"/>
          <ac:spMkLst>
            <pc:docMk/>
            <pc:sldMk cId="2371705942" sldId="1757"/>
            <ac:spMk id="27" creationId="{BD7C3AA6-EC85-44CE-AA92-EFD8B554DA01}"/>
          </ac:spMkLst>
        </pc:spChg>
        <pc:spChg chg="del">
          <ac:chgData name="Louis Wang" userId="afff2e54-1287-4765-98d1-fc9729dc18f3" providerId="ADAL" clId="{5CA31268-2CC3-400D-8FE9-FC0A25D84331}" dt="2021-05-19T02:00:48.980" v="198" actId="478"/>
          <ac:spMkLst>
            <pc:docMk/>
            <pc:sldMk cId="2371705942" sldId="1757"/>
            <ac:spMk id="28" creationId="{BD7C3AA6-EC85-44CE-AA92-EFD8B554DA01}"/>
          </ac:spMkLst>
        </pc:spChg>
        <pc:spChg chg="mod">
          <ac:chgData name="Louis Wang" userId="afff2e54-1287-4765-98d1-fc9729dc18f3" providerId="ADAL" clId="{5CA31268-2CC3-400D-8FE9-FC0A25D84331}" dt="2021-05-19T02:00:10.214" v="190" actId="255"/>
          <ac:spMkLst>
            <pc:docMk/>
            <pc:sldMk cId="2371705942" sldId="1757"/>
            <ac:spMk id="30" creationId="{BD7C3AA6-EC85-44CE-AA92-EFD8B554DA01}"/>
          </ac:spMkLst>
        </pc:spChg>
        <pc:spChg chg="del">
          <ac:chgData name="Louis Wang" userId="afff2e54-1287-4765-98d1-fc9729dc18f3" providerId="ADAL" clId="{5CA31268-2CC3-400D-8FE9-FC0A25D84331}" dt="2021-05-19T01:59:51.254" v="188" actId="478"/>
          <ac:spMkLst>
            <pc:docMk/>
            <pc:sldMk cId="2371705942" sldId="1757"/>
            <ac:spMk id="31" creationId="{BD7C3AA6-EC85-44CE-AA92-EFD8B554DA01}"/>
          </ac:spMkLst>
        </pc:spChg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330371982" sldId="1758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2925127801" sldId="1759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4169435437" sldId="1760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3626815903" sldId="1761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540324381" sldId="1762"/>
        </pc:sldMkLst>
      </pc:sldChg>
      <pc:sldChg chg="delSp modSp mod ord">
        <pc:chgData name="Louis Wang" userId="afff2e54-1287-4765-98d1-fc9729dc18f3" providerId="ADAL" clId="{5CA31268-2CC3-400D-8FE9-FC0A25D84331}" dt="2021-05-19T13:41:55.134" v="1341" actId="478"/>
        <pc:sldMkLst>
          <pc:docMk/>
          <pc:sldMk cId="1531647579" sldId="1763"/>
        </pc:sldMkLst>
        <pc:spChg chg="mod">
          <ac:chgData name="Louis Wang" userId="afff2e54-1287-4765-98d1-fc9729dc18f3" providerId="ADAL" clId="{5CA31268-2CC3-400D-8FE9-FC0A25D84331}" dt="2021-05-19T11:24:11.044" v="544" actId="20577"/>
          <ac:spMkLst>
            <pc:docMk/>
            <pc:sldMk cId="1531647579" sldId="1763"/>
            <ac:spMk id="2" creationId="{4821D371-328E-47AC-B02B-86078C31AAD5}"/>
          </ac:spMkLst>
        </pc:spChg>
        <pc:spChg chg="del">
          <ac:chgData name="Louis Wang" userId="afff2e54-1287-4765-98d1-fc9729dc18f3" providerId="ADAL" clId="{5CA31268-2CC3-400D-8FE9-FC0A25D84331}" dt="2021-05-19T13:41:55.134" v="1341" actId="478"/>
          <ac:spMkLst>
            <pc:docMk/>
            <pc:sldMk cId="1531647579" sldId="1763"/>
            <ac:spMk id="3" creationId="{5AC360CD-23EE-4D73-85CD-072B513E40B5}"/>
          </ac:spMkLst>
        </pc:spChg>
        <pc:spChg chg="mod">
          <ac:chgData name="Louis Wang" userId="afff2e54-1287-4765-98d1-fc9729dc18f3" providerId="ADAL" clId="{5CA31268-2CC3-400D-8FE9-FC0A25D84331}" dt="2021-05-19T11:21:15.566" v="496"/>
          <ac:spMkLst>
            <pc:docMk/>
            <pc:sldMk cId="1531647579" sldId="1763"/>
            <ac:spMk id="10" creationId="{6B4C8EFA-AE13-43DF-87EF-19070F40DB47}"/>
          </ac:spMkLst>
        </pc:spChg>
        <pc:spChg chg="mod">
          <ac:chgData name="Louis Wang" userId="afff2e54-1287-4765-98d1-fc9729dc18f3" providerId="ADAL" clId="{5CA31268-2CC3-400D-8FE9-FC0A25D84331}" dt="2021-05-19T11:21:57.559" v="500" actId="255"/>
          <ac:spMkLst>
            <pc:docMk/>
            <pc:sldMk cId="1531647579" sldId="1763"/>
            <ac:spMk id="11" creationId="{28D87A01-EBC8-41C1-9C9B-E43F3DDD69BE}"/>
          </ac:spMkLst>
        </pc:spChg>
        <pc:spChg chg="mod">
          <ac:chgData name="Louis Wang" userId="afff2e54-1287-4765-98d1-fc9729dc18f3" providerId="ADAL" clId="{5CA31268-2CC3-400D-8FE9-FC0A25D84331}" dt="2021-05-19T11:22:20.021" v="504" actId="255"/>
          <ac:spMkLst>
            <pc:docMk/>
            <pc:sldMk cId="1531647579" sldId="1763"/>
            <ac:spMk id="14" creationId="{6B4C8EFA-AE13-43DF-87EF-19070F40DB47}"/>
          </ac:spMkLst>
        </pc:spChg>
        <pc:spChg chg="mod">
          <ac:chgData name="Louis Wang" userId="afff2e54-1287-4765-98d1-fc9729dc18f3" providerId="ADAL" clId="{5CA31268-2CC3-400D-8FE9-FC0A25D84331}" dt="2021-05-19T11:23:14.768" v="513" actId="255"/>
          <ac:spMkLst>
            <pc:docMk/>
            <pc:sldMk cId="1531647579" sldId="1763"/>
            <ac:spMk id="15" creationId="{28D87A01-EBC8-41C1-9C9B-E43F3DDD69BE}"/>
          </ac:spMkLst>
        </pc:spChg>
        <pc:spChg chg="mod">
          <ac:chgData name="Louis Wang" userId="afff2e54-1287-4765-98d1-fc9729dc18f3" providerId="ADAL" clId="{5CA31268-2CC3-400D-8FE9-FC0A25D84331}" dt="2021-05-19T11:20:30.764" v="490"/>
          <ac:spMkLst>
            <pc:docMk/>
            <pc:sldMk cId="1531647579" sldId="1763"/>
            <ac:spMk id="16" creationId="{6B4C8EFA-AE13-43DF-87EF-19070F40DB47}"/>
          </ac:spMkLst>
        </pc:spChg>
        <pc:spChg chg="mod">
          <ac:chgData name="Louis Wang" userId="afff2e54-1287-4765-98d1-fc9729dc18f3" providerId="ADAL" clId="{5CA31268-2CC3-400D-8FE9-FC0A25D84331}" dt="2021-05-19T11:23:47.039" v="518" actId="255"/>
          <ac:spMkLst>
            <pc:docMk/>
            <pc:sldMk cId="1531647579" sldId="1763"/>
            <ac:spMk id="17" creationId="{28D87A01-EBC8-41C1-9C9B-E43F3DDD69BE}"/>
          </ac:spMkLst>
        </pc:spChg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1796663956" sldId="1764"/>
        </pc:sldMkLst>
      </pc:sldChg>
      <pc:sldChg chg="addSp delSp modSp mod ord modAnim">
        <pc:chgData name="Louis Wang" userId="afff2e54-1287-4765-98d1-fc9729dc18f3" providerId="ADAL" clId="{5CA31268-2CC3-400D-8FE9-FC0A25D84331}" dt="2021-05-19T13:07:23.861" v="1322"/>
        <pc:sldMkLst>
          <pc:docMk/>
          <pc:sldMk cId="1583032401" sldId="1765"/>
        </pc:sldMkLst>
        <pc:spChg chg="mod">
          <ac:chgData name="Louis Wang" userId="afff2e54-1287-4765-98d1-fc9729dc18f3" providerId="ADAL" clId="{5CA31268-2CC3-400D-8FE9-FC0A25D84331}" dt="2021-05-19T12:33:25.346" v="958" actId="20577"/>
          <ac:spMkLst>
            <pc:docMk/>
            <pc:sldMk cId="1583032401" sldId="1765"/>
            <ac:spMk id="2" creationId="{320DFF82-AB6E-46A7-A257-A7BDE61326E5}"/>
          </ac:spMkLst>
        </pc:spChg>
        <pc:spChg chg="del mod">
          <ac:chgData name="Louis Wang" userId="afff2e54-1287-4765-98d1-fc9729dc18f3" providerId="ADAL" clId="{5CA31268-2CC3-400D-8FE9-FC0A25D84331}" dt="2021-05-19T12:47:53.743" v="1160" actId="478"/>
          <ac:spMkLst>
            <pc:docMk/>
            <pc:sldMk cId="1583032401" sldId="1765"/>
            <ac:spMk id="3" creationId="{382E994A-7F66-45AD-AC45-7ABCC7164DC1}"/>
          </ac:spMkLst>
        </pc:spChg>
        <pc:spChg chg="mod">
          <ac:chgData name="Louis Wang" userId="afff2e54-1287-4765-98d1-fc9729dc18f3" providerId="ADAL" clId="{5CA31268-2CC3-400D-8FE9-FC0A25D84331}" dt="2021-05-19T12:38:01.983" v="1006"/>
          <ac:spMkLst>
            <pc:docMk/>
            <pc:sldMk cId="1583032401" sldId="1765"/>
            <ac:spMk id="8" creationId="{1D1EF363-2B8E-4CE5-91A7-E0A9F0046047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47" creationId="{C8522ECE-78B5-40C4-8152-E80DAAE5C26B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48" creationId="{6ED0FEC7-96F9-40AA-817D-1713C6891DB9}"/>
          </ac:spMkLst>
        </pc:spChg>
        <pc:spChg chg="add mod">
          <ac:chgData name="Louis Wang" userId="afff2e54-1287-4765-98d1-fc9729dc18f3" providerId="ADAL" clId="{5CA31268-2CC3-400D-8FE9-FC0A25D84331}" dt="2021-05-19T12:38:03.301" v="1012"/>
          <ac:spMkLst>
            <pc:docMk/>
            <pc:sldMk cId="1583032401" sldId="1765"/>
            <ac:spMk id="49" creationId="{1D1EF363-2B8E-4CE5-91A7-E0A9F0046047}"/>
          </ac:spMkLst>
        </pc:spChg>
        <pc:spChg chg="add mod">
          <ac:chgData name="Louis Wang" userId="afff2e54-1287-4765-98d1-fc9729dc18f3" providerId="ADAL" clId="{5CA31268-2CC3-400D-8FE9-FC0A25D84331}" dt="2021-05-19T12:39:07.553" v="1014"/>
          <ac:spMkLst>
            <pc:docMk/>
            <pc:sldMk cId="1583032401" sldId="1765"/>
            <ac:spMk id="50" creationId="{73285BFF-DACC-45D2-95E9-0BC1DAE71022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51" creationId="{362F4EC7-1AF4-4AD6-BB86-813B20BDFCE7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52" creationId="{CF215DA8-13C3-46EF-9D8C-29DB4968EB16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56" creationId="{80E4E755-69AE-49B3-B6DD-DF8C27E06329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59" creationId="{D6CB8772-ED69-4DDE-A68F-6D1FFC0F0C28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62" creationId="{5BA3185E-204F-4064-A67C-365E9FCBE25A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63" creationId="{CE22E042-34F8-44F3-8D95-71723F2880E6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64" creationId="{C4E53DBD-7619-441E-AC03-EBE20B79B4ED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65" creationId="{AEF35A2F-8080-4314-9060-7771D58A6FEB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66" creationId="{968189CB-96DB-4081-8B4D-A7ACA12B0200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67" creationId="{070EA69E-B3D2-4188-A74B-896C4274CF3B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68" creationId="{47A9FC6D-8B8B-421F-BD72-7867A1F98E72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74" creationId="{5E7A0FA7-429B-455C-B192-727E9A27D932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75" creationId="{FC94C38A-43FE-4542-8E8E-5FFA348DF82D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76" creationId="{D7D4A620-B3A3-415F-A04A-C31788910533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79" creationId="{01A9355B-44A3-45DA-B6AF-C8A16CA11DEE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80" creationId="{3CC444DD-9CEF-4D17-B594-D3BCDB88629C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81" creationId="{3B23ACF3-EB68-4710-B358-1B553DFCFE1B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84" creationId="{D734561A-0C6B-4142-8CCE-AE5CF0448975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85" creationId="{D4BA7E82-A3F7-41DF-AA81-2911618A8D0C}"/>
          </ac:spMkLst>
        </pc:spChg>
        <pc:spChg chg="add mod">
          <ac:chgData name="Louis Wang" userId="afff2e54-1287-4765-98d1-fc9729dc18f3" providerId="ADAL" clId="{5CA31268-2CC3-400D-8FE9-FC0A25D84331}" dt="2021-05-19T12:38:03.298" v="1010"/>
          <ac:spMkLst>
            <pc:docMk/>
            <pc:sldMk cId="1583032401" sldId="1765"/>
            <ac:spMk id="86" creationId="{782485B8-93B4-44D6-A2BA-636E5E30A058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88" creationId="{C8522ECE-78B5-40C4-8152-E80DAAE5C26B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89" creationId="{6ED0FEC7-96F9-40AA-817D-1713C6891DB9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90" creationId="{1D1EF363-2B8E-4CE5-91A7-E0A9F0046047}"/>
          </ac:spMkLst>
        </pc:spChg>
        <pc:spChg chg="add mod">
          <ac:chgData name="Louis Wang" userId="afff2e54-1287-4765-98d1-fc9729dc18f3" providerId="ADAL" clId="{5CA31268-2CC3-400D-8FE9-FC0A25D84331}" dt="2021-05-19T12:39:07.757" v="1020"/>
          <ac:spMkLst>
            <pc:docMk/>
            <pc:sldMk cId="1583032401" sldId="1765"/>
            <ac:spMk id="91" creationId="{73285BFF-DACC-45D2-95E9-0BC1DAE71022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92" creationId="{362F4EC7-1AF4-4AD6-BB86-813B20BDFCE7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93" creationId="{CF215DA8-13C3-46EF-9D8C-29DB4968EB16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97" creationId="{80E4E755-69AE-49B3-B6DD-DF8C27E06329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00" creationId="{D6CB8772-ED69-4DDE-A68F-6D1FFC0F0C28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03" creationId="{5BA3185E-204F-4064-A67C-365E9FCBE25A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04" creationId="{CE22E042-34F8-44F3-8D95-71723F2880E6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05" creationId="{C4E53DBD-7619-441E-AC03-EBE20B79B4ED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06" creationId="{AEF35A2F-8080-4314-9060-7771D58A6FEB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07" creationId="{968189CB-96DB-4081-8B4D-A7ACA12B0200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08" creationId="{070EA69E-B3D2-4188-A74B-896C4274CF3B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09" creationId="{47A9FC6D-8B8B-421F-BD72-7867A1F98E72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15" creationId="{5E7A0FA7-429B-455C-B192-727E9A27D932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16" creationId="{FC94C38A-43FE-4542-8E8E-5FFA348DF82D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17" creationId="{D7D4A620-B3A3-415F-A04A-C31788910533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20" creationId="{01A9355B-44A3-45DA-B6AF-C8A16CA11DEE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21" creationId="{3CC444DD-9CEF-4D17-B594-D3BCDB88629C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22" creationId="{3B23ACF3-EB68-4710-B358-1B553DFCFE1B}"/>
          </ac:spMkLst>
        </pc:spChg>
        <pc:spChg chg="add mod">
          <ac:chgData name="Louis Wang" userId="afff2e54-1287-4765-98d1-fc9729dc18f3" providerId="ADAL" clId="{5CA31268-2CC3-400D-8FE9-FC0A25D84331}" dt="2021-05-19T12:40:30.412" v="1038"/>
          <ac:spMkLst>
            <pc:docMk/>
            <pc:sldMk cId="1583032401" sldId="1765"/>
            <ac:spMk id="125" creationId="{D734561A-0C6B-4142-8CCE-AE5CF0448975}"/>
          </ac:spMkLst>
        </pc:spChg>
        <pc:spChg chg="add mod">
          <ac:chgData name="Louis Wang" userId="afff2e54-1287-4765-98d1-fc9729dc18f3" providerId="ADAL" clId="{5CA31268-2CC3-400D-8FE9-FC0A25D84331}" dt="2021-05-19T12:40:03.216" v="1036" actId="27636"/>
          <ac:spMkLst>
            <pc:docMk/>
            <pc:sldMk cId="1583032401" sldId="1765"/>
            <ac:spMk id="126" creationId="{D4BA7E82-A3F7-41DF-AA81-2911618A8D0C}"/>
          </ac:spMkLst>
        </pc:spChg>
        <pc:spChg chg="add mod">
          <ac:chgData name="Louis Wang" userId="afff2e54-1287-4765-98d1-fc9729dc18f3" providerId="ADAL" clId="{5CA31268-2CC3-400D-8FE9-FC0A25D84331}" dt="2021-05-19T12:39:07.755" v="1018"/>
          <ac:spMkLst>
            <pc:docMk/>
            <pc:sldMk cId="1583032401" sldId="1765"/>
            <ac:spMk id="127" creationId="{782485B8-93B4-44D6-A2BA-636E5E30A058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29" creationId="{C8522ECE-78B5-40C4-8152-E80DAAE5C26B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30" creationId="{6ED0FEC7-96F9-40AA-817D-1713C6891DB9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31" creationId="{1D1EF363-2B8E-4CE5-91A7-E0A9F0046047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32" creationId="{73285BFF-DACC-45D2-95E9-0BC1DAE71022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33" creationId="{362F4EC7-1AF4-4AD6-BB86-813B20BDFCE7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34" creationId="{CF215DA8-13C3-46EF-9D8C-29DB4968EB16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38" creationId="{80E4E755-69AE-49B3-B6DD-DF8C27E06329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41" creationId="{D6CB8772-ED69-4DDE-A68F-6D1FFC0F0C28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44" creationId="{5BA3185E-204F-4064-A67C-365E9FCBE25A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45" creationId="{CE22E042-34F8-44F3-8D95-71723F2880E6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46" creationId="{C4E53DBD-7619-441E-AC03-EBE20B79B4ED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47" creationId="{AEF35A2F-8080-4314-9060-7771D58A6FEB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48" creationId="{968189CB-96DB-4081-8B4D-A7ACA12B0200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49" creationId="{070EA69E-B3D2-4188-A74B-896C4274CF3B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50" creationId="{47A9FC6D-8B8B-421F-BD72-7867A1F98E72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56" creationId="{5E7A0FA7-429B-455C-B192-727E9A27D932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57" creationId="{FC94C38A-43FE-4542-8E8E-5FFA348DF82D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58" creationId="{D7D4A620-B3A3-415F-A04A-C31788910533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61" creationId="{01A9355B-44A3-45DA-B6AF-C8A16CA11DEE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62" creationId="{3CC444DD-9CEF-4D17-B594-D3BCDB88629C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63" creationId="{3B23ACF3-EB68-4710-B358-1B553DFCFE1B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66" creationId="{D734561A-0C6B-4142-8CCE-AE5CF0448975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67" creationId="{D4BA7E82-A3F7-41DF-AA81-2911618A8D0C}"/>
          </ac:spMkLst>
        </pc:spChg>
        <pc:spChg chg="add mod">
          <ac:chgData name="Louis Wang" userId="afff2e54-1287-4765-98d1-fc9729dc18f3" providerId="ADAL" clId="{5CA31268-2CC3-400D-8FE9-FC0A25D84331}" dt="2021-05-19T12:39:23.341" v="1034"/>
          <ac:spMkLst>
            <pc:docMk/>
            <pc:sldMk cId="1583032401" sldId="1765"/>
            <ac:spMk id="168" creationId="{782485B8-93B4-44D6-A2BA-636E5E30A058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70" creationId="{C8522ECE-78B5-40C4-8152-E80DAAE5C26B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71" creationId="{6ED0FEC7-96F9-40AA-817D-1713C6891DB9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72" creationId="{1D1EF363-2B8E-4CE5-91A7-E0A9F0046047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73" creationId="{73285BFF-DACC-45D2-95E9-0BC1DAE71022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74" creationId="{362F4EC7-1AF4-4AD6-BB86-813B20BDFCE7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75" creationId="{CF215DA8-13C3-46EF-9D8C-29DB4968EB16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79" creationId="{80E4E755-69AE-49B3-B6DD-DF8C27E06329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82" creationId="{D6CB8772-ED69-4DDE-A68F-6D1FFC0F0C28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85" creationId="{5BA3185E-204F-4064-A67C-365E9FCBE25A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86" creationId="{CE22E042-34F8-44F3-8D95-71723F2880E6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87" creationId="{C4E53DBD-7619-441E-AC03-EBE20B79B4ED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88" creationId="{AEF35A2F-8080-4314-9060-7771D58A6FEB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89" creationId="{968189CB-96DB-4081-8B4D-A7ACA12B0200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90" creationId="{070EA69E-B3D2-4188-A74B-896C4274CF3B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91" creationId="{47A9FC6D-8B8B-421F-BD72-7867A1F98E72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97" creationId="{5E7A0FA7-429B-455C-B192-727E9A27D932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98" creationId="{FC94C38A-43FE-4542-8E8E-5FFA348DF82D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199" creationId="{D7D4A620-B3A3-415F-A04A-C31788910533}"/>
          </ac:spMkLst>
        </pc:spChg>
        <pc:spChg chg="add mod">
          <ac:chgData name="Louis Wang" userId="afff2e54-1287-4765-98d1-fc9729dc18f3" providerId="ADAL" clId="{5CA31268-2CC3-400D-8FE9-FC0A25D84331}" dt="2021-05-19T12:42:23.754" v="1053"/>
          <ac:spMkLst>
            <pc:docMk/>
            <pc:sldMk cId="1583032401" sldId="1765"/>
            <ac:spMk id="202" creationId="{01A9355B-44A3-45DA-B6AF-C8A16CA11DEE}"/>
          </ac:spMkLst>
        </pc:spChg>
        <pc:spChg chg="add mod">
          <ac:chgData name="Louis Wang" userId="afff2e54-1287-4765-98d1-fc9729dc18f3" providerId="ADAL" clId="{5CA31268-2CC3-400D-8FE9-FC0A25D84331}" dt="2021-05-19T12:41:21.497" v="1051" actId="20577"/>
          <ac:spMkLst>
            <pc:docMk/>
            <pc:sldMk cId="1583032401" sldId="1765"/>
            <ac:spMk id="203" creationId="{3CC444DD-9CEF-4D17-B594-D3BCDB88629C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204" creationId="{3B23ACF3-EB68-4710-B358-1B553DFCFE1B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207" creationId="{D734561A-0C6B-4142-8CCE-AE5CF0448975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208" creationId="{D4BA7E82-A3F7-41DF-AA81-2911618A8D0C}"/>
          </ac:spMkLst>
        </pc:spChg>
        <pc:spChg chg="add mod">
          <ac:chgData name="Louis Wang" userId="afff2e54-1287-4765-98d1-fc9729dc18f3" providerId="ADAL" clId="{5CA31268-2CC3-400D-8FE9-FC0A25D84331}" dt="2021-05-19T12:41:15.745" v="1049" actId="1076"/>
          <ac:spMkLst>
            <pc:docMk/>
            <pc:sldMk cId="1583032401" sldId="1765"/>
            <ac:spMk id="209" creationId="{782485B8-93B4-44D6-A2BA-636E5E30A058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11" creationId="{C8522ECE-78B5-40C4-8152-E80DAAE5C26B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12" creationId="{6ED0FEC7-96F9-40AA-817D-1713C6891DB9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13" creationId="{1D1EF363-2B8E-4CE5-91A7-E0A9F0046047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14" creationId="{73285BFF-DACC-45D2-95E9-0BC1DAE71022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15" creationId="{362F4EC7-1AF4-4AD6-BB86-813B20BDFCE7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16" creationId="{CF215DA8-13C3-46EF-9D8C-29DB4968EB16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20" creationId="{80E4E755-69AE-49B3-B6DD-DF8C27E06329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23" creationId="{D6CB8772-ED69-4DDE-A68F-6D1FFC0F0C28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26" creationId="{5BA3185E-204F-4064-A67C-365E9FCBE25A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27" creationId="{CE22E042-34F8-44F3-8D95-71723F2880E6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28" creationId="{C4E53DBD-7619-441E-AC03-EBE20B79B4ED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29" creationId="{AEF35A2F-8080-4314-9060-7771D58A6FEB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30" creationId="{968189CB-96DB-4081-8B4D-A7ACA12B0200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31" creationId="{070EA69E-B3D2-4188-A74B-896C4274CF3B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32" creationId="{47A9FC6D-8B8B-421F-BD72-7867A1F98E72}"/>
          </ac:spMkLst>
        </pc:spChg>
        <pc:spChg chg="add mod">
          <ac:chgData name="Louis Wang" userId="afff2e54-1287-4765-98d1-fc9729dc18f3" providerId="ADAL" clId="{5CA31268-2CC3-400D-8FE9-FC0A25D84331}" dt="2021-05-19T12:43:00.813" v="1064"/>
          <ac:spMkLst>
            <pc:docMk/>
            <pc:sldMk cId="1583032401" sldId="1765"/>
            <ac:spMk id="238" creationId="{5E7A0FA7-429B-455C-B192-727E9A27D932}"/>
          </ac:spMkLst>
        </pc:spChg>
        <pc:spChg chg="add mod">
          <ac:chgData name="Louis Wang" userId="afff2e54-1287-4765-98d1-fc9729dc18f3" providerId="ADAL" clId="{5CA31268-2CC3-400D-8FE9-FC0A25D84331}" dt="2021-05-19T12:42:42.057" v="1062" actId="20577"/>
          <ac:spMkLst>
            <pc:docMk/>
            <pc:sldMk cId="1583032401" sldId="1765"/>
            <ac:spMk id="239" creationId="{FC94C38A-43FE-4542-8E8E-5FFA348DF82D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40" creationId="{D7D4A620-B3A3-415F-A04A-C31788910533}"/>
          </ac:spMkLst>
        </pc:spChg>
        <pc:spChg chg="add mod">
          <ac:chgData name="Louis Wang" userId="afff2e54-1287-4765-98d1-fc9729dc18f3" providerId="ADAL" clId="{5CA31268-2CC3-400D-8FE9-FC0A25D84331}" dt="2021-05-19T12:42:23.944" v="1059"/>
          <ac:spMkLst>
            <pc:docMk/>
            <pc:sldMk cId="1583032401" sldId="1765"/>
            <ac:spMk id="243" creationId="{01A9355B-44A3-45DA-B6AF-C8A16CA11DEE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44" creationId="{3CC444DD-9CEF-4D17-B594-D3BCDB88629C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45" creationId="{3B23ACF3-EB68-4710-B358-1B553DFCFE1B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48" creationId="{D734561A-0C6B-4142-8CCE-AE5CF0448975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49" creationId="{D4BA7E82-A3F7-41DF-AA81-2911618A8D0C}"/>
          </ac:spMkLst>
        </pc:spChg>
        <pc:spChg chg="add mod">
          <ac:chgData name="Louis Wang" userId="afff2e54-1287-4765-98d1-fc9729dc18f3" providerId="ADAL" clId="{5CA31268-2CC3-400D-8FE9-FC0A25D84331}" dt="2021-05-19T12:42:23.942" v="1057"/>
          <ac:spMkLst>
            <pc:docMk/>
            <pc:sldMk cId="1583032401" sldId="1765"/>
            <ac:spMk id="250" creationId="{782485B8-93B4-44D6-A2BA-636E5E30A058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52" creationId="{C8522ECE-78B5-40C4-8152-E80DAAE5C26B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53" creationId="{6ED0FEC7-96F9-40AA-817D-1713C6891DB9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54" creationId="{1D1EF363-2B8E-4CE5-91A7-E0A9F0046047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55" creationId="{73285BFF-DACC-45D2-95E9-0BC1DAE71022}"/>
          </ac:spMkLst>
        </pc:spChg>
        <pc:spChg chg="add mod">
          <ac:chgData name="Louis Wang" userId="afff2e54-1287-4765-98d1-fc9729dc18f3" providerId="ADAL" clId="{5CA31268-2CC3-400D-8FE9-FC0A25D84331}" dt="2021-05-19T12:43:53.703" v="1082" actId="27636"/>
          <ac:spMkLst>
            <pc:docMk/>
            <pc:sldMk cId="1583032401" sldId="1765"/>
            <ac:spMk id="256" creationId="{362F4EC7-1AF4-4AD6-BB86-813B20BDFCE7}"/>
          </ac:spMkLst>
        </pc:spChg>
        <pc:spChg chg="add mod">
          <ac:chgData name="Louis Wang" userId="afff2e54-1287-4765-98d1-fc9729dc18f3" providerId="ADAL" clId="{5CA31268-2CC3-400D-8FE9-FC0A25D84331}" dt="2021-05-19T12:43:19.497" v="1072"/>
          <ac:spMkLst>
            <pc:docMk/>
            <pc:sldMk cId="1583032401" sldId="1765"/>
            <ac:spMk id="257" creationId="{CF215DA8-13C3-46EF-9D8C-29DB4968EB16}"/>
          </ac:spMkLst>
        </pc:spChg>
        <pc:spChg chg="add mod">
          <ac:chgData name="Louis Wang" userId="afff2e54-1287-4765-98d1-fc9729dc18f3" providerId="ADAL" clId="{5CA31268-2CC3-400D-8FE9-FC0A25D84331}" dt="2021-05-19T12:44:46.083" v="1085"/>
          <ac:spMkLst>
            <pc:docMk/>
            <pc:sldMk cId="1583032401" sldId="1765"/>
            <ac:spMk id="261" creationId="{80E4E755-69AE-49B3-B6DD-DF8C27E06329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64" creationId="{D6CB8772-ED69-4DDE-A68F-6D1FFC0F0C28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67" creationId="{5BA3185E-204F-4064-A67C-365E9FCBE25A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68" creationId="{CE22E042-34F8-44F3-8D95-71723F2880E6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69" creationId="{C4E53DBD-7619-441E-AC03-EBE20B79B4ED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70" creationId="{AEF35A2F-8080-4314-9060-7771D58A6FEB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71" creationId="{968189CB-96DB-4081-8B4D-A7ACA12B0200}"/>
          </ac:spMkLst>
        </pc:spChg>
        <pc:spChg chg="add mod">
          <ac:chgData name="Louis Wang" userId="afff2e54-1287-4765-98d1-fc9729dc18f3" providerId="ADAL" clId="{5CA31268-2CC3-400D-8FE9-FC0A25D84331}" dt="2021-05-19T12:44:28.692" v="1083"/>
          <ac:spMkLst>
            <pc:docMk/>
            <pc:sldMk cId="1583032401" sldId="1765"/>
            <ac:spMk id="272" creationId="{070EA69E-B3D2-4188-A74B-896C4274CF3B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73" creationId="{47A9FC6D-8B8B-421F-BD72-7867A1F98E72}"/>
          </ac:spMkLst>
        </pc:spChg>
        <pc:spChg chg="add mod">
          <ac:chgData name="Louis Wang" userId="afff2e54-1287-4765-98d1-fc9729dc18f3" providerId="ADAL" clId="{5CA31268-2CC3-400D-8FE9-FC0A25D84331}" dt="2021-05-19T12:43:00.960" v="1070"/>
          <ac:spMkLst>
            <pc:docMk/>
            <pc:sldMk cId="1583032401" sldId="1765"/>
            <ac:spMk id="279" creationId="{5E7A0FA7-429B-455C-B192-727E9A27D932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80" creationId="{FC94C38A-43FE-4542-8E8E-5FFA348DF82D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81" creationId="{D7D4A620-B3A3-415F-A04A-C31788910533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84" creationId="{01A9355B-44A3-45DA-B6AF-C8A16CA11DEE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85" creationId="{3CC444DD-9CEF-4D17-B594-D3BCDB88629C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86" creationId="{3B23ACF3-EB68-4710-B358-1B553DFCFE1B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89" creationId="{D734561A-0C6B-4142-8CCE-AE5CF0448975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90" creationId="{D4BA7E82-A3F7-41DF-AA81-2911618A8D0C}"/>
          </ac:spMkLst>
        </pc:spChg>
        <pc:spChg chg="add mod">
          <ac:chgData name="Louis Wang" userId="afff2e54-1287-4765-98d1-fc9729dc18f3" providerId="ADAL" clId="{5CA31268-2CC3-400D-8FE9-FC0A25D84331}" dt="2021-05-19T12:43:00.957" v="1068"/>
          <ac:spMkLst>
            <pc:docMk/>
            <pc:sldMk cId="1583032401" sldId="1765"/>
            <ac:spMk id="291" creationId="{782485B8-93B4-44D6-A2BA-636E5E30A058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293" creationId="{C8522ECE-78B5-40C4-8152-E80DAAE5C26B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294" creationId="{6ED0FEC7-96F9-40AA-817D-1713C6891DB9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295" creationId="{1D1EF363-2B8E-4CE5-91A7-E0A9F0046047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296" creationId="{73285BFF-DACC-45D2-95E9-0BC1DAE71022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297" creationId="{362F4EC7-1AF4-4AD6-BB86-813B20BDFCE7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298" creationId="{CF215DA8-13C3-46EF-9D8C-29DB4968EB16}"/>
          </ac:spMkLst>
        </pc:spChg>
        <pc:spChg chg="add mod">
          <ac:chgData name="Louis Wang" userId="afff2e54-1287-4765-98d1-fc9729dc18f3" providerId="ADAL" clId="{5CA31268-2CC3-400D-8FE9-FC0A25D84331}" dt="2021-05-19T12:44:46.258" v="1091"/>
          <ac:spMkLst>
            <pc:docMk/>
            <pc:sldMk cId="1583032401" sldId="1765"/>
            <ac:spMk id="302" creationId="{80E4E755-69AE-49B3-B6DD-DF8C27E06329}"/>
          </ac:spMkLst>
        </pc:spChg>
        <pc:spChg chg="add mod">
          <ac:chgData name="Louis Wang" userId="afff2e54-1287-4765-98d1-fc9729dc18f3" providerId="ADAL" clId="{5CA31268-2CC3-400D-8FE9-FC0A25D84331}" dt="2021-05-19T12:45:49.068" v="1101"/>
          <ac:spMkLst>
            <pc:docMk/>
            <pc:sldMk cId="1583032401" sldId="1765"/>
            <ac:spMk id="305" creationId="{D6CB8772-ED69-4DDE-A68F-6D1FFC0F0C28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08" creationId="{5BA3185E-204F-4064-A67C-365E9FCBE25A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09" creationId="{CE22E042-34F8-44F3-8D95-71723F2880E6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10" creationId="{C4E53DBD-7619-441E-AC03-EBE20B79B4ED}"/>
          </ac:spMkLst>
        </pc:spChg>
        <pc:spChg chg="add mod">
          <ac:chgData name="Louis Wang" userId="afff2e54-1287-4765-98d1-fc9729dc18f3" providerId="ADAL" clId="{5CA31268-2CC3-400D-8FE9-FC0A25D84331}" dt="2021-05-19T12:45:32.427" v="1099" actId="20577"/>
          <ac:spMkLst>
            <pc:docMk/>
            <pc:sldMk cId="1583032401" sldId="1765"/>
            <ac:spMk id="311" creationId="{AEF35A2F-8080-4314-9060-7771D58A6FEB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12" creationId="{968189CB-96DB-4081-8B4D-A7ACA12B0200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13" creationId="{070EA69E-B3D2-4188-A74B-896C4274CF3B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14" creationId="{47A9FC6D-8B8B-421F-BD72-7867A1F98E72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20" creationId="{5E7A0FA7-429B-455C-B192-727E9A27D932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21" creationId="{FC94C38A-43FE-4542-8E8E-5FFA348DF82D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22" creationId="{D7D4A620-B3A3-415F-A04A-C31788910533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25" creationId="{01A9355B-44A3-45DA-B6AF-C8A16CA11DEE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26" creationId="{3CC444DD-9CEF-4D17-B594-D3BCDB88629C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27" creationId="{3B23ACF3-EB68-4710-B358-1B553DFCFE1B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30" creationId="{D734561A-0C6B-4142-8CCE-AE5CF0448975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31" creationId="{D4BA7E82-A3F7-41DF-AA81-2911618A8D0C}"/>
          </ac:spMkLst>
        </pc:spChg>
        <pc:spChg chg="add mod">
          <ac:chgData name="Louis Wang" userId="afff2e54-1287-4765-98d1-fc9729dc18f3" providerId="ADAL" clId="{5CA31268-2CC3-400D-8FE9-FC0A25D84331}" dt="2021-05-19T12:44:46.255" v="1089"/>
          <ac:spMkLst>
            <pc:docMk/>
            <pc:sldMk cId="1583032401" sldId="1765"/>
            <ac:spMk id="332" creationId="{782485B8-93B4-44D6-A2BA-636E5E30A058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34" creationId="{C8522ECE-78B5-40C4-8152-E80DAAE5C26B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35" creationId="{6ED0FEC7-96F9-40AA-817D-1713C6891DB9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36" creationId="{1D1EF363-2B8E-4CE5-91A7-E0A9F0046047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37" creationId="{73285BFF-DACC-45D2-95E9-0BC1DAE71022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38" creationId="{362F4EC7-1AF4-4AD6-BB86-813B20BDFCE7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39" creationId="{CF215DA8-13C3-46EF-9D8C-29DB4968EB16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43" creationId="{80E4E755-69AE-49B3-B6DD-DF8C27E06329}"/>
          </ac:spMkLst>
        </pc:spChg>
        <pc:spChg chg="add mod">
          <ac:chgData name="Louis Wang" userId="afff2e54-1287-4765-98d1-fc9729dc18f3" providerId="ADAL" clId="{5CA31268-2CC3-400D-8FE9-FC0A25D84331}" dt="2021-05-19T12:45:49.304" v="1107"/>
          <ac:spMkLst>
            <pc:docMk/>
            <pc:sldMk cId="1583032401" sldId="1765"/>
            <ac:spMk id="346" creationId="{D6CB8772-ED69-4DDE-A68F-6D1FFC0F0C28}"/>
          </ac:spMkLst>
        </pc:spChg>
        <pc:spChg chg="add mod">
          <ac:chgData name="Louis Wang" userId="afff2e54-1287-4765-98d1-fc9729dc18f3" providerId="ADAL" clId="{5CA31268-2CC3-400D-8FE9-FC0A25D84331}" dt="2021-05-19T12:47:17.358" v="1127"/>
          <ac:spMkLst>
            <pc:docMk/>
            <pc:sldMk cId="1583032401" sldId="1765"/>
            <ac:spMk id="349" creationId="{5BA3185E-204F-4064-A67C-365E9FCBE25A}"/>
          </ac:spMkLst>
        </pc:spChg>
        <pc:spChg chg="add mod">
          <ac:chgData name="Louis Wang" userId="afff2e54-1287-4765-98d1-fc9729dc18f3" providerId="ADAL" clId="{5CA31268-2CC3-400D-8FE9-FC0A25D84331}" dt="2021-05-19T12:46:43.740" v="1125" actId="27636"/>
          <ac:spMkLst>
            <pc:docMk/>
            <pc:sldMk cId="1583032401" sldId="1765"/>
            <ac:spMk id="350" creationId="{CE22E042-34F8-44F3-8D95-71723F2880E6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51" creationId="{C4E53DBD-7619-441E-AC03-EBE20B79B4ED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52" creationId="{AEF35A2F-8080-4314-9060-7771D58A6FEB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53" creationId="{968189CB-96DB-4081-8B4D-A7ACA12B0200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54" creationId="{070EA69E-B3D2-4188-A74B-896C4274CF3B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55" creationId="{47A9FC6D-8B8B-421F-BD72-7867A1F98E72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61" creationId="{5E7A0FA7-429B-455C-B192-727E9A27D932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62" creationId="{FC94C38A-43FE-4542-8E8E-5FFA348DF82D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63" creationId="{D7D4A620-B3A3-415F-A04A-C31788910533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66" creationId="{01A9355B-44A3-45DA-B6AF-C8A16CA11DEE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67" creationId="{3CC444DD-9CEF-4D17-B594-D3BCDB88629C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68" creationId="{3B23ACF3-EB68-4710-B358-1B553DFCFE1B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71" creationId="{D734561A-0C6B-4142-8CCE-AE5CF0448975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72" creationId="{D4BA7E82-A3F7-41DF-AA81-2911618A8D0C}"/>
          </ac:spMkLst>
        </pc:spChg>
        <pc:spChg chg="add mod">
          <ac:chgData name="Louis Wang" userId="afff2e54-1287-4765-98d1-fc9729dc18f3" providerId="ADAL" clId="{5CA31268-2CC3-400D-8FE9-FC0A25D84331}" dt="2021-05-19T12:45:49.301" v="1105"/>
          <ac:spMkLst>
            <pc:docMk/>
            <pc:sldMk cId="1583032401" sldId="1765"/>
            <ac:spMk id="373" creationId="{782485B8-93B4-44D6-A2BA-636E5E30A058}"/>
          </ac:spMkLst>
        </pc:spChg>
        <pc:spChg chg="add mod topLvl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75" creationId="{C8522ECE-78B5-40C4-8152-E80DAAE5C26B}"/>
          </ac:spMkLst>
        </pc:spChg>
        <pc:spChg chg="add mod topLvl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76" creationId="{6ED0FEC7-96F9-40AA-817D-1713C6891DB9}"/>
          </ac:spMkLst>
        </pc:spChg>
        <pc:spChg chg="add mod topLvl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77" creationId="{1D1EF363-2B8E-4CE5-91A7-E0A9F0046047}"/>
          </ac:spMkLst>
        </pc:spChg>
        <pc:spChg chg="add mod topLvl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78" creationId="{73285BFF-DACC-45D2-95E9-0BC1DAE71022}"/>
          </ac:spMkLst>
        </pc:spChg>
        <pc:spChg chg="add mod topLvl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79" creationId="{362F4EC7-1AF4-4AD6-BB86-813B20BDFCE7}"/>
          </ac:spMkLst>
        </pc:spChg>
        <pc:spChg chg="add mod topLvl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80" creationId="{CF215DA8-13C3-46EF-9D8C-29DB4968EB16}"/>
          </ac:spMkLst>
        </pc:spChg>
        <pc:spChg chg="add mod topLvl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84" creationId="{80E4E755-69AE-49B3-B6DD-DF8C27E06329}"/>
          </ac:spMkLst>
        </pc:spChg>
        <pc:spChg chg="add mod topLvl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87" creationId="{D6CB8772-ED69-4DDE-A68F-6D1FFC0F0C28}"/>
          </ac:spMkLst>
        </pc:spChg>
        <pc:spChg chg="add mod topLvl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90" creationId="{5BA3185E-204F-4064-A67C-365E9FCBE25A}"/>
          </ac:spMkLst>
        </pc:spChg>
        <pc:spChg chg="add mod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91" creationId="{CE22E042-34F8-44F3-8D95-71723F2880E6}"/>
          </ac:spMkLst>
        </pc:spChg>
        <pc:spChg chg="add mod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92" creationId="{C4E53DBD-7619-441E-AC03-EBE20B79B4ED}"/>
          </ac:spMkLst>
        </pc:spChg>
        <pc:spChg chg="add mod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93" creationId="{AEF35A2F-8080-4314-9060-7771D58A6FEB}"/>
          </ac:spMkLst>
        </pc:spChg>
        <pc:spChg chg="add mod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94" creationId="{968189CB-96DB-4081-8B4D-A7ACA12B0200}"/>
          </ac:spMkLst>
        </pc:spChg>
        <pc:spChg chg="add mod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95" creationId="{070EA69E-B3D2-4188-A74B-896C4274CF3B}"/>
          </ac:spMkLst>
        </pc:spChg>
        <pc:spChg chg="add mod">
          <ac:chgData name="Louis Wang" userId="afff2e54-1287-4765-98d1-fc9729dc18f3" providerId="ADAL" clId="{5CA31268-2CC3-400D-8FE9-FC0A25D84331}" dt="2021-05-19T13:06:47.024" v="1318" actId="165"/>
          <ac:spMkLst>
            <pc:docMk/>
            <pc:sldMk cId="1583032401" sldId="1765"/>
            <ac:spMk id="396" creationId="{47A9FC6D-8B8B-421F-BD72-7867A1F98E72}"/>
          </ac:spMkLst>
        </pc:spChg>
        <pc:spChg chg="add mod">
          <ac:chgData name="Louis Wang" userId="afff2e54-1287-4765-98d1-fc9729dc18f3" providerId="ADAL" clId="{5CA31268-2CC3-400D-8FE9-FC0A25D84331}" dt="2021-05-19T13:06:54.818" v="1319" actId="165"/>
          <ac:spMkLst>
            <pc:docMk/>
            <pc:sldMk cId="1583032401" sldId="1765"/>
            <ac:spMk id="402" creationId="{5E7A0FA7-429B-455C-B192-727E9A27D932}"/>
          </ac:spMkLst>
        </pc:spChg>
        <pc:spChg chg="add mod">
          <ac:chgData name="Louis Wang" userId="afff2e54-1287-4765-98d1-fc9729dc18f3" providerId="ADAL" clId="{5CA31268-2CC3-400D-8FE9-FC0A25D84331}" dt="2021-05-19T13:06:54.818" v="1319" actId="165"/>
          <ac:spMkLst>
            <pc:docMk/>
            <pc:sldMk cId="1583032401" sldId="1765"/>
            <ac:spMk id="403" creationId="{FC94C38A-43FE-4542-8E8E-5FFA348DF82D}"/>
          </ac:spMkLst>
        </pc:spChg>
        <pc:spChg chg="add mod">
          <ac:chgData name="Louis Wang" userId="afff2e54-1287-4765-98d1-fc9729dc18f3" providerId="ADAL" clId="{5CA31268-2CC3-400D-8FE9-FC0A25D84331}" dt="2021-05-19T13:06:54.818" v="1319" actId="165"/>
          <ac:spMkLst>
            <pc:docMk/>
            <pc:sldMk cId="1583032401" sldId="1765"/>
            <ac:spMk id="404" creationId="{D7D4A620-B3A3-415F-A04A-C31788910533}"/>
          </ac:spMkLst>
        </pc:spChg>
        <pc:spChg chg="add mod">
          <ac:chgData name="Louis Wang" userId="afff2e54-1287-4765-98d1-fc9729dc18f3" providerId="ADAL" clId="{5CA31268-2CC3-400D-8FE9-FC0A25D84331}" dt="2021-05-19T13:06:54.818" v="1319" actId="165"/>
          <ac:spMkLst>
            <pc:docMk/>
            <pc:sldMk cId="1583032401" sldId="1765"/>
            <ac:spMk id="407" creationId="{01A9355B-44A3-45DA-B6AF-C8A16CA11DEE}"/>
          </ac:spMkLst>
        </pc:spChg>
        <pc:spChg chg="add mod">
          <ac:chgData name="Louis Wang" userId="afff2e54-1287-4765-98d1-fc9729dc18f3" providerId="ADAL" clId="{5CA31268-2CC3-400D-8FE9-FC0A25D84331}" dt="2021-05-19T13:06:54.818" v="1319" actId="165"/>
          <ac:spMkLst>
            <pc:docMk/>
            <pc:sldMk cId="1583032401" sldId="1765"/>
            <ac:spMk id="408" creationId="{3CC444DD-9CEF-4D17-B594-D3BCDB88629C}"/>
          </ac:spMkLst>
        </pc:spChg>
        <pc:spChg chg="add mod">
          <ac:chgData name="Louis Wang" userId="afff2e54-1287-4765-98d1-fc9729dc18f3" providerId="ADAL" clId="{5CA31268-2CC3-400D-8FE9-FC0A25D84331}" dt="2021-05-19T13:06:54.818" v="1319" actId="165"/>
          <ac:spMkLst>
            <pc:docMk/>
            <pc:sldMk cId="1583032401" sldId="1765"/>
            <ac:spMk id="409" creationId="{3B23ACF3-EB68-4710-B358-1B553DFCFE1B}"/>
          </ac:spMkLst>
        </pc:spChg>
        <pc:spChg chg="add mod topLvl">
          <ac:chgData name="Louis Wang" userId="afff2e54-1287-4765-98d1-fc9729dc18f3" providerId="ADAL" clId="{5CA31268-2CC3-400D-8FE9-FC0A25D84331}" dt="2021-05-19T13:07:12.134" v="1320" actId="165"/>
          <ac:spMkLst>
            <pc:docMk/>
            <pc:sldMk cId="1583032401" sldId="1765"/>
            <ac:spMk id="412" creationId="{D734561A-0C6B-4142-8CCE-AE5CF0448975}"/>
          </ac:spMkLst>
        </pc:spChg>
        <pc:spChg chg="add mod topLvl">
          <ac:chgData name="Louis Wang" userId="afff2e54-1287-4765-98d1-fc9729dc18f3" providerId="ADAL" clId="{5CA31268-2CC3-400D-8FE9-FC0A25D84331}" dt="2021-05-19T13:07:17.951" v="1321" actId="165"/>
          <ac:spMkLst>
            <pc:docMk/>
            <pc:sldMk cId="1583032401" sldId="1765"/>
            <ac:spMk id="413" creationId="{D4BA7E82-A3F7-41DF-AA81-2911618A8D0C}"/>
          </ac:spMkLst>
        </pc:spChg>
        <pc:spChg chg="add mod topLvl">
          <ac:chgData name="Louis Wang" userId="afff2e54-1287-4765-98d1-fc9729dc18f3" providerId="ADAL" clId="{5CA31268-2CC3-400D-8FE9-FC0A25D84331}" dt="2021-05-19T13:07:17.951" v="1321" actId="165"/>
          <ac:spMkLst>
            <pc:docMk/>
            <pc:sldMk cId="1583032401" sldId="1765"/>
            <ac:spMk id="414" creationId="{782485B8-93B4-44D6-A2BA-636E5E30A058}"/>
          </ac:spMkLst>
        </pc:spChg>
        <pc:grpChg chg="del mod">
          <ac:chgData name="Louis Wang" userId="afff2e54-1287-4765-98d1-fc9729dc18f3" providerId="ADAL" clId="{5CA31268-2CC3-400D-8FE9-FC0A25D84331}" dt="2021-05-19T12:38:03.267" v="1007"/>
          <ac:grpSpMkLst>
            <pc:docMk/>
            <pc:sldMk cId="1583032401" sldId="1765"/>
            <ac:grpSpMk id="5" creationId="{AABC8B01-3F0E-46D0-B0C4-A9AD181945A1}"/>
          </ac:grpSpMkLst>
        </pc:grpChg>
        <pc:grpChg chg="add del mod">
          <ac:chgData name="Louis Wang" userId="afff2e54-1287-4765-98d1-fc9729dc18f3" providerId="ADAL" clId="{5CA31268-2CC3-400D-8FE9-FC0A25D84331}" dt="2021-05-19T12:39:07.723" v="1015"/>
          <ac:grpSpMkLst>
            <pc:docMk/>
            <pc:sldMk cId="1583032401" sldId="1765"/>
            <ac:grpSpMk id="46" creationId="{AABC8B01-3F0E-46D0-B0C4-A9AD181945A1}"/>
          </ac:grpSpMkLst>
        </pc:grpChg>
        <pc:grpChg chg="add mod">
          <ac:chgData name="Louis Wang" userId="afff2e54-1287-4765-98d1-fc9729dc18f3" providerId="ADAL" clId="{5CA31268-2CC3-400D-8FE9-FC0A25D84331}" dt="2021-05-19T12:38:03.298" v="1010"/>
          <ac:grpSpMkLst>
            <pc:docMk/>
            <pc:sldMk cId="1583032401" sldId="1765"/>
            <ac:grpSpMk id="53" creationId="{324C5A28-7E82-456F-BCCA-E7D202B577E6}"/>
          </ac:grpSpMkLst>
        </pc:grpChg>
        <pc:grpChg chg="add mod">
          <ac:chgData name="Louis Wang" userId="afff2e54-1287-4765-98d1-fc9729dc18f3" providerId="ADAL" clId="{5CA31268-2CC3-400D-8FE9-FC0A25D84331}" dt="2021-05-19T12:38:03.298" v="1010"/>
          <ac:grpSpMkLst>
            <pc:docMk/>
            <pc:sldMk cId="1583032401" sldId="1765"/>
            <ac:grpSpMk id="54" creationId="{4A37BAC1-AA61-495F-858A-8656EFF74EF9}"/>
          </ac:grpSpMkLst>
        </pc:grpChg>
        <pc:grpChg chg="add mod">
          <ac:chgData name="Louis Wang" userId="afff2e54-1287-4765-98d1-fc9729dc18f3" providerId="ADAL" clId="{5CA31268-2CC3-400D-8FE9-FC0A25D84331}" dt="2021-05-19T12:38:03.298" v="1010"/>
          <ac:grpSpMkLst>
            <pc:docMk/>
            <pc:sldMk cId="1583032401" sldId="1765"/>
            <ac:grpSpMk id="57" creationId="{2EA83A14-C69E-44B0-A48F-C20B2A81B6AF}"/>
          </ac:grpSpMkLst>
        </pc:grpChg>
        <pc:grpChg chg="add mod">
          <ac:chgData name="Louis Wang" userId="afff2e54-1287-4765-98d1-fc9729dc18f3" providerId="ADAL" clId="{5CA31268-2CC3-400D-8FE9-FC0A25D84331}" dt="2021-05-19T12:38:03.298" v="1010"/>
          <ac:grpSpMkLst>
            <pc:docMk/>
            <pc:sldMk cId="1583032401" sldId="1765"/>
            <ac:grpSpMk id="60" creationId="{B889E879-2E2F-40D3-9824-51134B06B978}"/>
          </ac:grpSpMkLst>
        </pc:grpChg>
        <pc:grpChg chg="add mod">
          <ac:chgData name="Louis Wang" userId="afff2e54-1287-4765-98d1-fc9729dc18f3" providerId="ADAL" clId="{5CA31268-2CC3-400D-8FE9-FC0A25D84331}" dt="2021-05-19T12:38:03.298" v="1010"/>
          <ac:grpSpMkLst>
            <pc:docMk/>
            <pc:sldMk cId="1583032401" sldId="1765"/>
            <ac:grpSpMk id="69" creationId="{B5FA144D-8856-48E5-BDDC-2CB62E9E5410}"/>
          </ac:grpSpMkLst>
        </pc:grpChg>
        <pc:grpChg chg="add mod">
          <ac:chgData name="Louis Wang" userId="afff2e54-1287-4765-98d1-fc9729dc18f3" providerId="ADAL" clId="{5CA31268-2CC3-400D-8FE9-FC0A25D84331}" dt="2021-05-19T12:38:03.298" v="1010"/>
          <ac:grpSpMkLst>
            <pc:docMk/>
            <pc:sldMk cId="1583032401" sldId="1765"/>
            <ac:grpSpMk id="70" creationId="{A816D1D6-3FDD-4827-8591-FD9A6F981728}"/>
          </ac:grpSpMkLst>
        </pc:grpChg>
        <pc:grpChg chg="add mod">
          <ac:chgData name="Louis Wang" userId="afff2e54-1287-4765-98d1-fc9729dc18f3" providerId="ADAL" clId="{5CA31268-2CC3-400D-8FE9-FC0A25D84331}" dt="2021-05-19T12:38:03.298" v="1010"/>
          <ac:grpSpMkLst>
            <pc:docMk/>
            <pc:sldMk cId="1583032401" sldId="1765"/>
            <ac:grpSpMk id="71" creationId="{D3E97712-3BC9-4600-8118-BE946AE57A52}"/>
          </ac:grpSpMkLst>
        </pc:grpChg>
        <pc:grpChg chg="add mod">
          <ac:chgData name="Louis Wang" userId="afff2e54-1287-4765-98d1-fc9729dc18f3" providerId="ADAL" clId="{5CA31268-2CC3-400D-8FE9-FC0A25D84331}" dt="2021-05-19T12:38:03.298" v="1010"/>
          <ac:grpSpMkLst>
            <pc:docMk/>
            <pc:sldMk cId="1583032401" sldId="1765"/>
            <ac:grpSpMk id="72" creationId="{930919B1-86BE-4B1F-A3E7-98FB948F9E1E}"/>
          </ac:grpSpMkLst>
        </pc:grpChg>
        <pc:grpChg chg="add mod">
          <ac:chgData name="Louis Wang" userId="afff2e54-1287-4765-98d1-fc9729dc18f3" providerId="ADAL" clId="{5CA31268-2CC3-400D-8FE9-FC0A25D84331}" dt="2021-05-19T12:38:03.298" v="1010"/>
          <ac:grpSpMkLst>
            <pc:docMk/>
            <pc:sldMk cId="1583032401" sldId="1765"/>
            <ac:grpSpMk id="77" creationId="{A15B9C7C-D8D0-46A5-B631-C79AC9D98B71}"/>
          </ac:grpSpMkLst>
        </pc:grpChg>
        <pc:grpChg chg="add mod">
          <ac:chgData name="Louis Wang" userId="afff2e54-1287-4765-98d1-fc9729dc18f3" providerId="ADAL" clId="{5CA31268-2CC3-400D-8FE9-FC0A25D84331}" dt="2021-05-19T12:38:03.298" v="1010"/>
          <ac:grpSpMkLst>
            <pc:docMk/>
            <pc:sldMk cId="1583032401" sldId="1765"/>
            <ac:grpSpMk id="82" creationId="{E45D6559-E484-4F91-8ABD-C6E71C016A03}"/>
          </ac:grpSpMkLst>
        </pc:grpChg>
        <pc:grpChg chg="add del mod">
          <ac:chgData name="Louis Wang" userId="afff2e54-1287-4765-98d1-fc9729dc18f3" providerId="ADAL" clId="{5CA31268-2CC3-400D-8FE9-FC0A25D84331}" dt="2021-05-19T12:40:30.514" v="1039"/>
          <ac:grpSpMkLst>
            <pc:docMk/>
            <pc:sldMk cId="1583032401" sldId="1765"/>
            <ac:grpSpMk id="87" creationId="{AABC8B01-3F0E-46D0-B0C4-A9AD181945A1}"/>
          </ac:grpSpMkLst>
        </pc:grpChg>
        <pc:grpChg chg="add mod">
          <ac:chgData name="Louis Wang" userId="afff2e54-1287-4765-98d1-fc9729dc18f3" providerId="ADAL" clId="{5CA31268-2CC3-400D-8FE9-FC0A25D84331}" dt="2021-05-19T12:39:07.755" v="1018"/>
          <ac:grpSpMkLst>
            <pc:docMk/>
            <pc:sldMk cId="1583032401" sldId="1765"/>
            <ac:grpSpMk id="94" creationId="{324C5A28-7E82-456F-BCCA-E7D202B577E6}"/>
          </ac:grpSpMkLst>
        </pc:grpChg>
        <pc:grpChg chg="add mod">
          <ac:chgData name="Louis Wang" userId="afff2e54-1287-4765-98d1-fc9729dc18f3" providerId="ADAL" clId="{5CA31268-2CC3-400D-8FE9-FC0A25D84331}" dt="2021-05-19T12:39:07.755" v="1018"/>
          <ac:grpSpMkLst>
            <pc:docMk/>
            <pc:sldMk cId="1583032401" sldId="1765"/>
            <ac:grpSpMk id="95" creationId="{4A37BAC1-AA61-495F-858A-8656EFF74EF9}"/>
          </ac:grpSpMkLst>
        </pc:grpChg>
        <pc:grpChg chg="add mod">
          <ac:chgData name="Louis Wang" userId="afff2e54-1287-4765-98d1-fc9729dc18f3" providerId="ADAL" clId="{5CA31268-2CC3-400D-8FE9-FC0A25D84331}" dt="2021-05-19T12:39:07.755" v="1018"/>
          <ac:grpSpMkLst>
            <pc:docMk/>
            <pc:sldMk cId="1583032401" sldId="1765"/>
            <ac:grpSpMk id="98" creationId="{2EA83A14-C69E-44B0-A48F-C20B2A81B6AF}"/>
          </ac:grpSpMkLst>
        </pc:grpChg>
        <pc:grpChg chg="add mod">
          <ac:chgData name="Louis Wang" userId="afff2e54-1287-4765-98d1-fc9729dc18f3" providerId="ADAL" clId="{5CA31268-2CC3-400D-8FE9-FC0A25D84331}" dt="2021-05-19T12:39:07.755" v="1018"/>
          <ac:grpSpMkLst>
            <pc:docMk/>
            <pc:sldMk cId="1583032401" sldId="1765"/>
            <ac:grpSpMk id="101" creationId="{B889E879-2E2F-40D3-9824-51134B06B978}"/>
          </ac:grpSpMkLst>
        </pc:grpChg>
        <pc:grpChg chg="add mod">
          <ac:chgData name="Louis Wang" userId="afff2e54-1287-4765-98d1-fc9729dc18f3" providerId="ADAL" clId="{5CA31268-2CC3-400D-8FE9-FC0A25D84331}" dt="2021-05-19T12:39:07.755" v="1018"/>
          <ac:grpSpMkLst>
            <pc:docMk/>
            <pc:sldMk cId="1583032401" sldId="1765"/>
            <ac:grpSpMk id="110" creationId="{B5FA144D-8856-48E5-BDDC-2CB62E9E5410}"/>
          </ac:grpSpMkLst>
        </pc:grpChg>
        <pc:grpChg chg="add mod">
          <ac:chgData name="Louis Wang" userId="afff2e54-1287-4765-98d1-fc9729dc18f3" providerId="ADAL" clId="{5CA31268-2CC3-400D-8FE9-FC0A25D84331}" dt="2021-05-19T12:39:07.755" v="1018"/>
          <ac:grpSpMkLst>
            <pc:docMk/>
            <pc:sldMk cId="1583032401" sldId="1765"/>
            <ac:grpSpMk id="111" creationId="{A816D1D6-3FDD-4827-8591-FD9A6F981728}"/>
          </ac:grpSpMkLst>
        </pc:grpChg>
        <pc:grpChg chg="add mod">
          <ac:chgData name="Louis Wang" userId="afff2e54-1287-4765-98d1-fc9729dc18f3" providerId="ADAL" clId="{5CA31268-2CC3-400D-8FE9-FC0A25D84331}" dt="2021-05-19T12:39:07.755" v="1018"/>
          <ac:grpSpMkLst>
            <pc:docMk/>
            <pc:sldMk cId="1583032401" sldId="1765"/>
            <ac:grpSpMk id="112" creationId="{D3E97712-3BC9-4600-8118-BE946AE57A52}"/>
          </ac:grpSpMkLst>
        </pc:grpChg>
        <pc:grpChg chg="add mod">
          <ac:chgData name="Louis Wang" userId="afff2e54-1287-4765-98d1-fc9729dc18f3" providerId="ADAL" clId="{5CA31268-2CC3-400D-8FE9-FC0A25D84331}" dt="2021-05-19T12:39:07.755" v="1018"/>
          <ac:grpSpMkLst>
            <pc:docMk/>
            <pc:sldMk cId="1583032401" sldId="1765"/>
            <ac:grpSpMk id="113" creationId="{930919B1-86BE-4B1F-A3E7-98FB948F9E1E}"/>
          </ac:grpSpMkLst>
        </pc:grpChg>
        <pc:grpChg chg="add mod">
          <ac:chgData name="Louis Wang" userId="afff2e54-1287-4765-98d1-fc9729dc18f3" providerId="ADAL" clId="{5CA31268-2CC3-400D-8FE9-FC0A25D84331}" dt="2021-05-19T12:39:07.755" v="1018"/>
          <ac:grpSpMkLst>
            <pc:docMk/>
            <pc:sldMk cId="1583032401" sldId="1765"/>
            <ac:grpSpMk id="118" creationId="{A15B9C7C-D8D0-46A5-B631-C79AC9D98B71}"/>
          </ac:grpSpMkLst>
        </pc:grpChg>
        <pc:grpChg chg="add mod">
          <ac:chgData name="Louis Wang" userId="afff2e54-1287-4765-98d1-fc9729dc18f3" providerId="ADAL" clId="{5CA31268-2CC3-400D-8FE9-FC0A25D84331}" dt="2021-05-19T12:39:07.755" v="1018"/>
          <ac:grpSpMkLst>
            <pc:docMk/>
            <pc:sldMk cId="1583032401" sldId="1765"/>
            <ac:grpSpMk id="123" creationId="{E45D6559-E484-4F91-8ABD-C6E71C016A03}"/>
          </ac:grpSpMkLst>
        </pc:grpChg>
        <pc:grpChg chg="add mod">
          <ac:chgData name="Louis Wang" userId="afff2e54-1287-4765-98d1-fc9729dc18f3" providerId="ADAL" clId="{5CA31268-2CC3-400D-8FE9-FC0A25D84331}" dt="2021-05-19T12:39:23.341" v="1034"/>
          <ac:grpSpMkLst>
            <pc:docMk/>
            <pc:sldMk cId="1583032401" sldId="1765"/>
            <ac:grpSpMk id="128" creationId="{AABC8B01-3F0E-46D0-B0C4-A9AD181945A1}"/>
          </ac:grpSpMkLst>
        </pc:grpChg>
        <pc:grpChg chg="add mod">
          <ac:chgData name="Louis Wang" userId="afff2e54-1287-4765-98d1-fc9729dc18f3" providerId="ADAL" clId="{5CA31268-2CC3-400D-8FE9-FC0A25D84331}" dt="2021-05-19T12:39:23.341" v="1034"/>
          <ac:grpSpMkLst>
            <pc:docMk/>
            <pc:sldMk cId="1583032401" sldId="1765"/>
            <ac:grpSpMk id="135" creationId="{324C5A28-7E82-456F-BCCA-E7D202B577E6}"/>
          </ac:grpSpMkLst>
        </pc:grpChg>
        <pc:grpChg chg="add mod">
          <ac:chgData name="Louis Wang" userId="afff2e54-1287-4765-98d1-fc9729dc18f3" providerId="ADAL" clId="{5CA31268-2CC3-400D-8FE9-FC0A25D84331}" dt="2021-05-19T12:39:23.341" v="1034"/>
          <ac:grpSpMkLst>
            <pc:docMk/>
            <pc:sldMk cId="1583032401" sldId="1765"/>
            <ac:grpSpMk id="136" creationId="{4A37BAC1-AA61-495F-858A-8656EFF74EF9}"/>
          </ac:grpSpMkLst>
        </pc:grpChg>
        <pc:grpChg chg="add mod">
          <ac:chgData name="Louis Wang" userId="afff2e54-1287-4765-98d1-fc9729dc18f3" providerId="ADAL" clId="{5CA31268-2CC3-400D-8FE9-FC0A25D84331}" dt="2021-05-19T12:39:23.341" v="1034"/>
          <ac:grpSpMkLst>
            <pc:docMk/>
            <pc:sldMk cId="1583032401" sldId="1765"/>
            <ac:grpSpMk id="139" creationId="{2EA83A14-C69E-44B0-A48F-C20B2A81B6AF}"/>
          </ac:grpSpMkLst>
        </pc:grpChg>
        <pc:grpChg chg="add mod">
          <ac:chgData name="Louis Wang" userId="afff2e54-1287-4765-98d1-fc9729dc18f3" providerId="ADAL" clId="{5CA31268-2CC3-400D-8FE9-FC0A25D84331}" dt="2021-05-19T12:39:23.341" v="1034"/>
          <ac:grpSpMkLst>
            <pc:docMk/>
            <pc:sldMk cId="1583032401" sldId="1765"/>
            <ac:grpSpMk id="142" creationId="{B889E879-2E2F-40D3-9824-51134B06B978}"/>
          </ac:grpSpMkLst>
        </pc:grpChg>
        <pc:grpChg chg="add mod">
          <ac:chgData name="Louis Wang" userId="afff2e54-1287-4765-98d1-fc9729dc18f3" providerId="ADAL" clId="{5CA31268-2CC3-400D-8FE9-FC0A25D84331}" dt="2021-05-19T12:39:23.341" v="1034"/>
          <ac:grpSpMkLst>
            <pc:docMk/>
            <pc:sldMk cId="1583032401" sldId="1765"/>
            <ac:grpSpMk id="151" creationId="{B5FA144D-8856-48E5-BDDC-2CB62E9E5410}"/>
          </ac:grpSpMkLst>
        </pc:grpChg>
        <pc:grpChg chg="add mod">
          <ac:chgData name="Louis Wang" userId="afff2e54-1287-4765-98d1-fc9729dc18f3" providerId="ADAL" clId="{5CA31268-2CC3-400D-8FE9-FC0A25D84331}" dt="2021-05-19T12:39:23.341" v="1034"/>
          <ac:grpSpMkLst>
            <pc:docMk/>
            <pc:sldMk cId="1583032401" sldId="1765"/>
            <ac:grpSpMk id="152" creationId="{A816D1D6-3FDD-4827-8591-FD9A6F981728}"/>
          </ac:grpSpMkLst>
        </pc:grpChg>
        <pc:grpChg chg="add mod">
          <ac:chgData name="Louis Wang" userId="afff2e54-1287-4765-98d1-fc9729dc18f3" providerId="ADAL" clId="{5CA31268-2CC3-400D-8FE9-FC0A25D84331}" dt="2021-05-19T12:39:23.341" v="1034"/>
          <ac:grpSpMkLst>
            <pc:docMk/>
            <pc:sldMk cId="1583032401" sldId="1765"/>
            <ac:grpSpMk id="153" creationId="{D3E97712-3BC9-4600-8118-BE946AE57A52}"/>
          </ac:grpSpMkLst>
        </pc:grpChg>
        <pc:grpChg chg="add mod">
          <ac:chgData name="Louis Wang" userId="afff2e54-1287-4765-98d1-fc9729dc18f3" providerId="ADAL" clId="{5CA31268-2CC3-400D-8FE9-FC0A25D84331}" dt="2021-05-19T12:39:23.341" v="1034"/>
          <ac:grpSpMkLst>
            <pc:docMk/>
            <pc:sldMk cId="1583032401" sldId="1765"/>
            <ac:grpSpMk id="154" creationId="{930919B1-86BE-4B1F-A3E7-98FB948F9E1E}"/>
          </ac:grpSpMkLst>
        </pc:grpChg>
        <pc:grpChg chg="add mod">
          <ac:chgData name="Louis Wang" userId="afff2e54-1287-4765-98d1-fc9729dc18f3" providerId="ADAL" clId="{5CA31268-2CC3-400D-8FE9-FC0A25D84331}" dt="2021-05-19T12:39:23.341" v="1034"/>
          <ac:grpSpMkLst>
            <pc:docMk/>
            <pc:sldMk cId="1583032401" sldId="1765"/>
            <ac:grpSpMk id="159" creationId="{A15B9C7C-D8D0-46A5-B631-C79AC9D98B71}"/>
          </ac:grpSpMkLst>
        </pc:grpChg>
        <pc:grpChg chg="add mod">
          <ac:chgData name="Louis Wang" userId="afff2e54-1287-4765-98d1-fc9729dc18f3" providerId="ADAL" clId="{5CA31268-2CC3-400D-8FE9-FC0A25D84331}" dt="2021-05-19T12:39:23.341" v="1034"/>
          <ac:grpSpMkLst>
            <pc:docMk/>
            <pc:sldMk cId="1583032401" sldId="1765"/>
            <ac:grpSpMk id="164" creationId="{E45D6559-E484-4F91-8ABD-C6E71C016A03}"/>
          </ac:grpSpMkLst>
        </pc:grpChg>
        <pc:grpChg chg="add del mod">
          <ac:chgData name="Louis Wang" userId="afff2e54-1287-4765-98d1-fc9729dc18f3" providerId="ADAL" clId="{5CA31268-2CC3-400D-8FE9-FC0A25D84331}" dt="2021-05-19T12:42:23.914" v="1054"/>
          <ac:grpSpMkLst>
            <pc:docMk/>
            <pc:sldMk cId="1583032401" sldId="1765"/>
            <ac:grpSpMk id="169" creationId="{AABC8B01-3F0E-46D0-B0C4-A9AD181945A1}"/>
          </ac:grpSpMkLst>
        </pc:grpChg>
        <pc:grpChg chg="add mod">
          <ac:chgData name="Louis Wang" userId="afff2e54-1287-4765-98d1-fc9729dc18f3" providerId="ADAL" clId="{5CA31268-2CC3-400D-8FE9-FC0A25D84331}" dt="2021-05-19T12:41:15.745" v="1049" actId="1076"/>
          <ac:grpSpMkLst>
            <pc:docMk/>
            <pc:sldMk cId="1583032401" sldId="1765"/>
            <ac:grpSpMk id="176" creationId="{324C5A28-7E82-456F-BCCA-E7D202B577E6}"/>
          </ac:grpSpMkLst>
        </pc:grpChg>
        <pc:grpChg chg="add mod">
          <ac:chgData name="Louis Wang" userId="afff2e54-1287-4765-98d1-fc9729dc18f3" providerId="ADAL" clId="{5CA31268-2CC3-400D-8FE9-FC0A25D84331}" dt="2021-05-19T12:41:15.745" v="1049" actId="1076"/>
          <ac:grpSpMkLst>
            <pc:docMk/>
            <pc:sldMk cId="1583032401" sldId="1765"/>
            <ac:grpSpMk id="177" creationId="{4A37BAC1-AA61-495F-858A-8656EFF74EF9}"/>
          </ac:grpSpMkLst>
        </pc:grpChg>
        <pc:grpChg chg="add mod">
          <ac:chgData name="Louis Wang" userId="afff2e54-1287-4765-98d1-fc9729dc18f3" providerId="ADAL" clId="{5CA31268-2CC3-400D-8FE9-FC0A25D84331}" dt="2021-05-19T12:41:15.745" v="1049" actId="1076"/>
          <ac:grpSpMkLst>
            <pc:docMk/>
            <pc:sldMk cId="1583032401" sldId="1765"/>
            <ac:grpSpMk id="180" creationId="{2EA83A14-C69E-44B0-A48F-C20B2A81B6AF}"/>
          </ac:grpSpMkLst>
        </pc:grpChg>
        <pc:grpChg chg="add mod">
          <ac:chgData name="Louis Wang" userId="afff2e54-1287-4765-98d1-fc9729dc18f3" providerId="ADAL" clId="{5CA31268-2CC3-400D-8FE9-FC0A25D84331}" dt="2021-05-19T12:41:15.745" v="1049" actId="1076"/>
          <ac:grpSpMkLst>
            <pc:docMk/>
            <pc:sldMk cId="1583032401" sldId="1765"/>
            <ac:grpSpMk id="183" creationId="{B889E879-2E2F-40D3-9824-51134B06B978}"/>
          </ac:grpSpMkLst>
        </pc:grpChg>
        <pc:grpChg chg="add mod">
          <ac:chgData name="Louis Wang" userId="afff2e54-1287-4765-98d1-fc9729dc18f3" providerId="ADAL" clId="{5CA31268-2CC3-400D-8FE9-FC0A25D84331}" dt="2021-05-19T12:41:15.745" v="1049" actId="1076"/>
          <ac:grpSpMkLst>
            <pc:docMk/>
            <pc:sldMk cId="1583032401" sldId="1765"/>
            <ac:grpSpMk id="192" creationId="{B5FA144D-8856-48E5-BDDC-2CB62E9E5410}"/>
          </ac:grpSpMkLst>
        </pc:grpChg>
        <pc:grpChg chg="add mod">
          <ac:chgData name="Louis Wang" userId="afff2e54-1287-4765-98d1-fc9729dc18f3" providerId="ADAL" clId="{5CA31268-2CC3-400D-8FE9-FC0A25D84331}" dt="2021-05-19T12:41:15.745" v="1049" actId="1076"/>
          <ac:grpSpMkLst>
            <pc:docMk/>
            <pc:sldMk cId="1583032401" sldId="1765"/>
            <ac:grpSpMk id="193" creationId="{A816D1D6-3FDD-4827-8591-FD9A6F981728}"/>
          </ac:grpSpMkLst>
        </pc:grpChg>
        <pc:grpChg chg="add mod">
          <ac:chgData name="Louis Wang" userId="afff2e54-1287-4765-98d1-fc9729dc18f3" providerId="ADAL" clId="{5CA31268-2CC3-400D-8FE9-FC0A25D84331}" dt="2021-05-19T12:41:15.745" v="1049" actId="1076"/>
          <ac:grpSpMkLst>
            <pc:docMk/>
            <pc:sldMk cId="1583032401" sldId="1765"/>
            <ac:grpSpMk id="194" creationId="{D3E97712-3BC9-4600-8118-BE946AE57A52}"/>
          </ac:grpSpMkLst>
        </pc:grpChg>
        <pc:grpChg chg="add mod">
          <ac:chgData name="Louis Wang" userId="afff2e54-1287-4765-98d1-fc9729dc18f3" providerId="ADAL" clId="{5CA31268-2CC3-400D-8FE9-FC0A25D84331}" dt="2021-05-19T12:41:15.745" v="1049" actId="1076"/>
          <ac:grpSpMkLst>
            <pc:docMk/>
            <pc:sldMk cId="1583032401" sldId="1765"/>
            <ac:grpSpMk id="195" creationId="{930919B1-86BE-4B1F-A3E7-98FB948F9E1E}"/>
          </ac:grpSpMkLst>
        </pc:grpChg>
        <pc:grpChg chg="add mod">
          <ac:chgData name="Louis Wang" userId="afff2e54-1287-4765-98d1-fc9729dc18f3" providerId="ADAL" clId="{5CA31268-2CC3-400D-8FE9-FC0A25D84331}" dt="2021-05-19T12:41:15.745" v="1049" actId="1076"/>
          <ac:grpSpMkLst>
            <pc:docMk/>
            <pc:sldMk cId="1583032401" sldId="1765"/>
            <ac:grpSpMk id="200" creationId="{A15B9C7C-D8D0-46A5-B631-C79AC9D98B71}"/>
          </ac:grpSpMkLst>
        </pc:grpChg>
        <pc:grpChg chg="add mod">
          <ac:chgData name="Louis Wang" userId="afff2e54-1287-4765-98d1-fc9729dc18f3" providerId="ADAL" clId="{5CA31268-2CC3-400D-8FE9-FC0A25D84331}" dt="2021-05-19T12:41:15.745" v="1049" actId="1076"/>
          <ac:grpSpMkLst>
            <pc:docMk/>
            <pc:sldMk cId="1583032401" sldId="1765"/>
            <ac:grpSpMk id="205" creationId="{E45D6559-E484-4F91-8ABD-C6E71C016A03}"/>
          </ac:grpSpMkLst>
        </pc:grpChg>
        <pc:grpChg chg="add del mod">
          <ac:chgData name="Louis Wang" userId="afff2e54-1287-4765-98d1-fc9729dc18f3" providerId="ADAL" clId="{5CA31268-2CC3-400D-8FE9-FC0A25D84331}" dt="2021-05-19T12:43:00.930" v="1065"/>
          <ac:grpSpMkLst>
            <pc:docMk/>
            <pc:sldMk cId="1583032401" sldId="1765"/>
            <ac:grpSpMk id="210" creationId="{AABC8B01-3F0E-46D0-B0C4-A9AD181945A1}"/>
          </ac:grpSpMkLst>
        </pc:grpChg>
        <pc:grpChg chg="add mod">
          <ac:chgData name="Louis Wang" userId="afff2e54-1287-4765-98d1-fc9729dc18f3" providerId="ADAL" clId="{5CA31268-2CC3-400D-8FE9-FC0A25D84331}" dt="2021-05-19T12:42:23.942" v="1057"/>
          <ac:grpSpMkLst>
            <pc:docMk/>
            <pc:sldMk cId="1583032401" sldId="1765"/>
            <ac:grpSpMk id="217" creationId="{324C5A28-7E82-456F-BCCA-E7D202B577E6}"/>
          </ac:grpSpMkLst>
        </pc:grpChg>
        <pc:grpChg chg="add mod">
          <ac:chgData name="Louis Wang" userId="afff2e54-1287-4765-98d1-fc9729dc18f3" providerId="ADAL" clId="{5CA31268-2CC3-400D-8FE9-FC0A25D84331}" dt="2021-05-19T12:42:23.942" v="1057"/>
          <ac:grpSpMkLst>
            <pc:docMk/>
            <pc:sldMk cId="1583032401" sldId="1765"/>
            <ac:grpSpMk id="218" creationId="{4A37BAC1-AA61-495F-858A-8656EFF74EF9}"/>
          </ac:grpSpMkLst>
        </pc:grpChg>
        <pc:grpChg chg="add mod">
          <ac:chgData name="Louis Wang" userId="afff2e54-1287-4765-98d1-fc9729dc18f3" providerId="ADAL" clId="{5CA31268-2CC3-400D-8FE9-FC0A25D84331}" dt="2021-05-19T12:42:23.942" v="1057"/>
          <ac:grpSpMkLst>
            <pc:docMk/>
            <pc:sldMk cId="1583032401" sldId="1765"/>
            <ac:grpSpMk id="221" creationId="{2EA83A14-C69E-44B0-A48F-C20B2A81B6AF}"/>
          </ac:grpSpMkLst>
        </pc:grpChg>
        <pc:grpChg chg="add mod">
          <ac:chgData name="Louis Wang" userId="afff2e54-1287-4765-98d1-fc9729dc18f3" providerId="ADAL" clId="{5CA31268-2CC3-400D-8FE9-FC0A25D84331}" dt="2021-05-19T12:42:23.942" v="1057"/>
          <ac:grpSpMkLst>
            <pc:docMk/>
            <pc:sldMk cId="1583032401" sldId="1765"/>
            <ac:grpSpMk id="224" creationId="{B889E879-2E2F-40D3-9824-51134B06B978}"/>
          </ac:grpSpMkLst>
        </pc:grpChg>
        <pc:grpChg chg="add mod">
          <ac:chgData name="Louis Wang" userId="afff2e54-1287-4765-98d1-fc9729dc18f3" providerId="ADAL" clId="{5CA31268-2CC3-400D-8FE9-FC0A25D84331}" dt="2021-05-19T12:42:23.942" v="1057"/>
          <ac:grpSpMkLst>
            <pc:docMk/>
            <pc:sldMk cId="1583032401" sldId="1765"/>
            <ac:grpSpMk id="233" creationId="{B5FA144D-8856-48E5-BDDC-2CB62E9E5410}"/>
          </ac:grpSpMkLst>
        </pc:grpChg>
        <pc:grpChg chg="add mod">
          <ac:chgData name="Louis Wang" userId="afff2e54-1287-4765-98d1-fc9729dc18f3" providerId="ADAL" clId="{5CA31268-2CC3-400D-8FE9-FC0A25D84331}" dt="2021-05-19T12:42:23.942" v="1057"/>
          <ac:grpSpMkLst>
            <pc:docMk/>
            <pc:sldMk cId="1583032401" sldId="1765"/>
            <ac:grpSpMk id="234" creationId="{A816D1D6-3FDD-4827-8591-FD9A6F981728}"/>
          </ac:grpSpMkLst>
        </pc:grpChg>
        <pc:grpChg chg="add mod">
          <ac:chgData name="Louis Wang" userId="afff2e54-1287-4765-98d1-fc9729dc18f3" providerId="ADAL" clId="{5CA31268-2CC3-400D-8FE9-FC0A25D84331}" dt="2021-05-19T12:42:23.942" v="1057"/>
          <ac:grpSpMkLst>
            <pc:docMk/>
            <pc:sldMk cId="1583032401" sldId="1765"/>
            <ac:grpSpMk id="235" creationId="{D3E97712-3BC9-4600-8118-BE946AE57A52}"/>
          </ac:grpSpMkLst>
        </pc:grpChg>
        <pc:grpChg chg="add mod">
          <ac:chgData name="Louis Wang" userId="afff2e54-1287-4765-98d1-fc9729dc18f3" providerId="ADAL" clId="{5CA31268-2CC3-400D-8FE9-FC0A25D84331}" dt="2021-05-19T12:42:23.942" v="1057"/>
          <ac:grpSpMkLst>
            <pc:docMk/>
            <pc:sldMk cId="1583032401" sldId="1765"/>
            <ac:grpSpMk id="236" creationId="{930919B1-86BE-4B1F-A3E7-98FB948F9E1E}"/>
          </ac:grpSpMkLst>
        </pc:grpChg>
        <pc:grpChg chg="add mod">
          <ac:chgData name="Louis Wang" userId="afff2e54-1287-4765-98d1-fc9729dc18f3" providerId="ADAL" clId="{5CA31268-2CC3-400D-8FE9-FC0A25D84331}" dt="2021-05-19T12:42:23.942" v="1057"/>
          <ac:grpSpMkLst>
            <pc:docMk/>
            <pc:sldMk cId="1583032401" sldId="1765"/>
            <ac:grpSpMk id="241" creationId="{A15B9C7C-D8D0-46A5-B631-C79AC9D98B71}"/>
          </ac:grpSpMkLst>
        </pc:grpChg>
        <pc:grpChg chg="add mod">
          <ac:chgData name="Louis Wang" userId="afff2e54-1287-4765-98d1-fc9729dc18f3" providerId="ADAL" clId="{5CA31268-2CC3-400D-8FE9-FC0A25D84331}" dt="2021-05-19T12:42:23.942" v="1057"/>
          <ac:grpSpMkLst>
            <pc:docMk/>
            <pc:sldMk cId="1583032401" sldId="1765"/>
            <ac:grpSpMk id="246" creationId="{E45D6559-E484-4F91-8ABD-C6E71C016A03}"/>
          </ac:grpSpMkLst>
        </pc:grpChg>
        <pc:grpChg chg="add del mod">
          <ac:chgData name="Louis Wang" userId="afff2e54-1287-4765-98d1-fc9729dc18f3" providerId="ADAL" clId="{5CA31268-2CC3-400D-8FE9-FC0A25D84331}" dt="2021-05-19T12:44:46.229" v="1086"/>
          <ac:grpSpMkLst>
            <pc:docMk/>
            <pc:sldMk cId="1583032401" sldId="1765"/>
            <ac:grpSpMk id="251" creationId="{AABC8B01-3F0E-46D0-B0C4-A9AD181945A1}"/>
          </ac:grpSpMkLst>
        </pc:grpChg>
        <pc:grpChg chg="add mod">
          <ac:chgData name="Louis Wang" userId="afff2e54-1287-4765-98d1-fc9729dc18f3" providerId="ADAL" clId="{5CA31268-2CC3-400D-8FE9-FC0A25D84331}" dt="2021-05-19T12:43:00.957" v="1068"/>
          <ac:grpSpMkLst>
            <pc:docMk/>
            <pc:sldMk cId="1583032401" sldId="1765"/>
            <ac:grpSpMk id="258" creationId="{324C5A28-7E82-456F-BCCA-E7D202B577E6}"/>
          </ac:grpSpMkLst>
        </pc:grpChg>
        <pc:grpChg chg="add mod">
          <ac:chgData name="Louis Wang" userId="afff2e54-1287-4765-98d1-fc9729dc18f3" providerId="ADAL" clId="{5CA31268-2CC3-400D-8FE9-FC0A25D84331}" dt="2021-05-19T12:43:00.957" v="1068"/>
          <ac:grpSpMkLst>
            <pc:docMk/>
            <pc:sldMk cId="1583032401" sldId="1765"/>
            <ac:grpSpMk id="259" creationId="{4A37BAC1-AA61-495F-858A-8656EFF74EF9}"/>
          </ac:grpSpMkLst>
        </pc:grpChg>
        <pc:grpChg chg="add mod">
          <ac:chgData name="Louis Wang" userId="afff2e54-1287-4765-98d1-fc9729dc18f3" providerId="ADAL" clId="{5CA31268-2CC3-400D-8FE9-FC0A25D84331}" dt="2021-05-19T12:43:00.957" v="1068"/>
          <ac:grpSpMkLst>
            <pc:docMk/>
            <pc:sldMk cId="1583032401" sldId="1765"/>
            <ac:grpSpMk id="262" creationId="{2EA83A14-C69E-44B0-A48F-C20B2A81B6AF}"/>
          </ac:grpSpMkLst>
        </pc:grpChg>
        <pc:grpChg chg="add mod">
          <ac:chgData name="Louis Wang" userId="afff2e54-1287-4765-98d1-fc9729dc18f3" providerId="ADAL" clId="{5CA31268-2CC3-400D-8FE9-FC0A25D84331}" dt="2021-05-19T12:43:00.957" v="1068"/>
          <ac:grpSpMkLst>
            <pc:docMk/>
            <pc:sldMk cId="1583032401" sldId="1765"/>
            <ac:grpSpMk id="265" creationId="{B889E879-2E2F-40D3-9824-51134B06B978}"/>
          </ac:grpSpMkLst>
        </pc:grpChg>
        <pc:grpChg chg="add mod">
          <ac:chgData name="Louis Wang" userId="afff2e54-1287-4765-98d1-fc9729dc18f3" providerId="ADAL" clId="{5CA31268-2CC3-400D-8FE9-FC0A25D84331}" dt="2021-05-19T12:43:00.957" v="1068"/>
          <ac:grpSpMkLst>
            <pc:docMk/>
            <pc:sldMk cId="1583032401" sldId="1765"/>
            <ac:grpSpMk id="274" creationId="{B5FA144D-8856-48E5-BDDC-2CB62E9E5410}"/>
          </ac:grpSpMkLst>
        </pc:grpChg>
        <pc:grpChg chg="add mod">
          <ac:chgData name="Louis Wang" userId="afff2e54-1287-4765-98d1-fc9729dc18f3" providerId="ADAL" clId="{5CA31268-2CC3-400D-8FE9-FC0A25D84331}" dt="2021-05-19T12:43:00.957" v="1068"/>
          <ac:grpSpMkLst>
            <pc:docMk/>
            <pc:sldMk cId="1583032401" sldId="1765"/>
            <ac:grpSpMk id="275" creationId="{A816D1D6-3FDD-4827-8591-FD9A6F981728}"/>
          </ac:grpSpMkLst>
        </pc:grpChg>
        <pc:grpChg chg="add mod">
          <ac:chgData name="Louis Wang" userId="afff2e54-1287-4765-98d1-fc9729dc18f3" providerId="ADAL" clId="{5CA31268-2CC3-400D-8FE9-FC0A25D84331}" dt="2021-05-19T12:43:00.957" v="1068"/>
          <ac:grpSpMkLst>
            <pc:docMk/>
            <pc:sldMk cId="1583032401" sldId="1765"/>
            <ac:grpSpMk id="276" creationId="{D3E97712-3BC9-4600-8118-BE946AE57A52}"/>
          </ac:grpSpMkLst>
        </pc:grpChg>
        <pc:grpChg chg="add mod">
          <ac:chgData name="Louis Wang" userId="afff2e54-1287-4765-98d1-fc9729dc18f3" providerId="ADAL" clId="{5CA31268-2CC3-400D-8FE9-FC0A25D84331}" dt="2021-05-19T12:43:00.957" v="1068"/>
          <ac:grpSpMkLst>
            <pc:docMk/>
            <pc:sldMk cId="1583032401" sldId="1765"/>
            <ac:grpSpMk id="277" creationId="{930919B1-86BE-4B1F-A3E7-98FB948F9E1E}"/>
          </ac:grpSpMkLst>
        </pc:grpChg>
        <pc:grpChg chg="add mod">
          <ac:chgData name="Louis Wang" userId="afff2e54-1287-4765-98d1-fc9729dc18f3" providerId="ADAL" clId="{5CA31268-2CC3-400D-8FE9-FC0A25D84331}" dt="2021-05-19T12:43:00.957" v="1068"/>
          <ac:grpSpMkLst>
            <pc:docMk/>
            <pc:sldMk cId="1583032401" sldId="1765"/>
            <ac:grpSpMk id="282" creationId="{A15B9C7C-D8D0-46A5-B631-C79AC9D98B71}"/>
          </ac:grpSpMkLst>
        </pc:grpChg>
        <pc:grpChg chg="add mod">
          <ac:chgData name="Louis Wang" userId="afff2e54-1287-4765-98d1-fc9729dc18f3" providerId="ADAL" clId="{5CA31268-2CC3-400D-8FE9-FC0A25D84331}" dt="2021-05-19T12:43:00.957" v="1068"/>
          <ac:grpSpMkLst>
            <pc:docMk/>
            <pc:sldMk cId="1583032401" sldId="1765"/>
            <ac:grpSpMk id="287" creationId="{E45D6559-E484-4F91-8ABD-C6E71C016A03}"/>
          </ac:grpSpMkLst>
        </pc:grpChg>
        <pc:grpChg chg="add del mod">
          <ac:chgData name="Louis Wang" userId="afff2e54-1287-4765-98d1-fc9729dc18f3" providerId="ADAL" clId="{5CA31268-2CC3-400D-8FE9-FC0A25D84331}" dt="2021-05-19T12:45:49.273" v="1102"/>
          <ac:grpSpMkLst>
            <pc:docMk/>
            <pc:sldMk cId="1583032401" sldId="1765"/>
            <ac:grpSpMk id="292" creationId="{AABC8B01-3F0E-46D0-B0C4-A9AD181945A1}"/>
          </ac:grpSpMkLst>
        </pc:grpChg>
        <pc:grpChg chg="add mod">
          <ac:chgData name="Louis Wang" userId="afff2e54-1287-4765-98d1-fc9729dc18f3" providerId="ADAL" clId="{5CA31268-2CC3-400D-8FE9-FC0A25D84331}" dt="2021-05-19T12:44:46.255" v="1089"/>
          <ac:grpSpMkLst>
            <pc:docMk/>
            <pc:sldMk cId="1583032401" sldId="1765"/>
            <ac:grpSpMk id="299" creationId="{324C5A28-7E82-456F-BCCA-E7D202B577E6}"/>
          </ac:grpSpMkLst>
        </pc:grpChg>
        <pc:grpChg chg="add mod">
          <ac:chgData name="Louis Wang" userId="afff2e54-1287-4765-98d1-fc9729dc18f3" providerId="ADAL" clId="{5CA31268-2CC3-400D-8FE9-FC0A25D84331}" dt="2021-05-19T12:44:46.255" v="1089"/>
          <ac:grpSpMkLst>
            <pc:docMk/>
            <pc:sldMk cId="1583032401" sldId="1765"/>
            <ac:grpSpMk id="300" creationId="{4A37BAC1-AA61-495F-858A-8656EFF74EF9}"/>
          </ac:grpSpMkLst>
        </pc:grpChg>
        <pc:grpChg chg="add mod">
          <ac:chgData name="Louis Wang" userId="afff2e54-1287-4765-98d1-fc9729dc18f3" providerId="ADAL" clId="{5CA31268-2CC3-400D-8FE9-FC0A25D84331}" dt="2021-05-19T12:44:46.255" v="1089"/>
          <ac:grpSpMkLst>
            <pc:docMk/>
            <pc:sldMk cId="1583032401" sldId="1765"/>
            <ac:grpSpMk id="303" creationId="{2EA83A14-C69E-44B0-A48F-C20B2A81B6AF}"/>
          </ac:grpSpMkLst>
        </pc:grpChg>
        <pc:grpChg chg="add mod">
          <ac:chgData name="Louis Wang" userId="afff2e54-1287-4765-98d1-fc9729dc18f3" providerId="ADAL" clId="{5CA31268-2CC3-400D-8FE9-FC0A25D84331}" dt="2021-05-19T12:44:46.255" v="1089"/>
          <ac:grpSpMkLst>
            <pc:docMk/>
            <pc:sldMk cId="1583032401" sldId="1765"/>
            <ac:grpSpMk id="306" creationId="{B889E879-2E2F-40D3-9824-51134B06B978}"/>
          </ac:grpSpMkLst>
        </pc:grpChg>
        <pc:grpChg chg="add mod">
          <ac:chgData name="Louis Wang" userId="afff2e54-1287-4765-98d1-fc9729dc18f3" providerId="ADAL" clId="{5CA31268-2CC3-400D-8FE9-FC0A25D84331}" dt="2021-05-19T12:44:46.255" v="1089"/>
          <ac:grpSpMkLst>
            <pc:docMk/>
            <pc:sldMk cId="1583032401" sldId="1765"/>
            <ac:grpSpMk id="315" creationId="{B5FA144D-8856-48E5-BDDC-2CB62E9E5410}"/>
          </ac:grpSpMkLst>
        </pc:grpChg>
        <pc:grpChg chg="add mod">
          <ac:chgData name="Louis Wang" userId="afff2e54-1287-4765-98d1-fc9729dc18f3" providerId="ADAL" clId="{5CA31268-2CC3-400D-8FE9-FC0A25D84331}" dt="2021-05-19T12:44:46.255" v="1089"/>
          <ac:grpSpMkLst>
            <pc:docMk/>
            <pc:sldMk cId="1583032401" sldId="1765"/>
            <ac:grpSpMk id="316" creationId="{A816D1D6-3FDD-4827-8591-FD9A6F981728}"/>
          </ac:grpSpMkLst>
        </pc:grpChg>
        <pc:grpChg chg="add mod">
          <ac:chgData name="Louis Wang" userId="afff2e54-1287-4765-98d1-fc9729dc18f3" providerId="ADAL" clId="{5CA31268-2CC3-400D-8FE9-FC0A25D84331}" dt="2021-05-19T12:44:46.255" v="1089"/>
          <ac:grpSpMkLst>
            <pc:docMk/>
            <pc:sldMk cId="1583032401" sldId="1765"/>
            <ac:grpSpMk id="317" creationId="{D3E97712-3BC9-4600-8118-BE946AE57A52}"/>
          </ac:grpSpMkLst>
        </pc:grpChg>
        <pc:grpChg chg="add mod">
          <ac:chgData name="Louis Wang" userId="afff2e54-1287-4765-98d1-fc9729dc18f3" providerId="ADAL" clId="{5CA31268-2CC3-400D-8FE9-FC0A25D84331}" dt="2021-05-19T12:44:46.255" v="1089"/>
          <ac:grpSpMkLst>
            <pc:docMk/>
            <pc:sldMk cId="1583032401" sldId="1765"/>
            <ac:grpSpMk id="318" creationId="{930919B1-86BE-4B1F-A3E7-98FB948F9E1E}"/>
          </ac:grpSpMkLst>
        </pc:grpChg>
        <pc:grpChg chg="add mod">
          <ac:chgData name="Louis Wang" userId="afff2e54-1287-4765-98d1-fc9729dc18f3" providerId="ADAL" clId="{5CA31268-2CC3-400D-8FE9-FC0A25D84331}" dt="2021-05-19T12:44:46.255" v="1089"/>
          <ac:grpSpMkLst>
            <pc:docMk/>
            <pc:sldMk cId="1583032401" sldId="1765"/>
            <ac:grpSpMk id="323" creationId="{A15B9C7C-D8D0-46A5-B631-C79AC9D98B71}"/>
          </ac:grpSpMkLst>
        </pc:grpChg>
        <pc:grpChg chg="add mod">
          <ac:chgData name="Louis Wang" userId="afff2e54-1287-4765-98d1-fc9729dc18f3" providerId="ADAL" clId="{5CA31268-2CC3-400D-8FE9-FC0A25D84331}" dt="2021-05-19T12:44:46.255" v="1089"/>
          <ac:grpSpMkLst>
            <pc:docMk/>
            <pc:sldMk cId="1583032401" sldId="1765"/>
            <ac:grpSpMk id="328" creationId="{E45D6559-E484-4F91-8ABD-C6E71C016A03}"/>
          </ac:grpSpMkLst>
        </pc:grpChg>
        <pc:grpChg chg="add del mod">
          <ac:chgData name="Louis Wang" userId="afff2e54-1287-4765-98d1-fc9729dc18f3" providerId="ADAL" clId="{5CA31268-2CC3-400D-8FE9-FC0A25D84331}" dt="2021-05-19T12:47:17.441" v="1128"/>
          <ac:grpSpMkLst>
            <pc:docMk/>
            <pc:sldMk cId="1583032401" sldId="1765"/>
            <ac:grpSpMk id="333" creationId="{AABC8B01-3F0E-46D0-B0C4-A9AD181945A1}"/>
          </ac:grpSpMkLst>
        </pc:grpChg>
        <pc:grpChg chg="add mod">
          <ac:chgData name="Louis Wang" userId="afff2e54-1287-4765-98d1-fc9729dc18f3" providerId="ADAL" clId="{5CA31268-2CC3-400D-8FE9-FC0A25D84331}" dt="2021-05-19T12:45:49.301" v="1105"/>
          <ac:grpSpMkLst>
            <pc:docMk/>
            <pc:sldMk cId="1583032401" sldId="1765"/>
            <ac:grpSpMk id="340" creationId="{324C5A28-7E82-456F-BCCA-E7D202B577E6}"/>
          </ac:grpSpMkLst>
        </pc:grpChg>
        <pc:grpChg chg="add mod">
          <ac:chgData name="Louis Wang" userId="afff2e54-1287-4765-98d1-fc9729dc18f3" providerId="ADAL" clId="{5CA31268-2CC3-400D-8FE9-FC0A25D84331}" dt="2021-05-19T12:45:49.301" v="1105"/>
          <ac:grpSpMkLst>
            <pc:docMk/>
            <pc:sldMk cId="1583032401" sldId="1765"/>
            <ac:grpSpMk id="341" creationId="{4A37BAC1-AA61-495F-858A-8656EFF74EF9}"/>
          </ac:grpSpMkLst>
        </pc:grpChg>
        <pc:grpChg chg="add mod">
          <ac:chgData name="Louis Wang" userId="afff2e54-1287-4765-98d1-fc9729dc18f3" providerId="ADAL" clId="{5CA31268-2CC3-400D-8FE9-FC0A25D84331}" dt="2021-05-19T12:45:49.301" v="1105"/>
          <ac:grpSpMkLst>
            <pc:docMk/>
            <pc:sldMk cId="1583032401" sldId="1765"/>
            <ac:grpSpMk id="344" creationId="{2EA83A14-C69E-44B0-A48F-C20B2A81B6AF}"/>
          </ac:grpSpMkLst>
        </pc:grpChg>
        <pc:grpChg chg="add mod">
          <ac:chgData name="Louis Wang" userId="afff2e54-1287-4765-98d1-fc9729dc18f3" providerId="ADAL" clId="{5CA31268-2CC3-400D-8FE9-FC0A25D84331}" dt="2021-05-19T12:45:49.301" v="1105"/>
          <ac:grpSpMkLst>
            <pc:docMk/>
            <pc:sldMk cId="1583032401" sldId="1765"/>
            <ac:grpSpMk id="347" creationId="{B889E879-2E2F-40D3-9824-51134B06B978}"/>
          </ac:grpSpMkLst>
        </pc:grpChg>
        <pc:grpChg chg="add mod">
          <ac:chgData name="Louis Wang" userId="afff2e54-1287-4765-98d1-fc9729dc18f3" providerId="ADAL" clId="{5CA31268-2CC3-400D-8FE9-FC0A25D84331}" dt="2021-05-19T12:45:49.301" v="1105"/>
          <ac:grpSpMkLst>
            <pc:docMk/>
            <pc:sldMk cId="1583032401" sldId="1765"/>
            <ac:grpSpMk id="356" creationId="{B5FA144D-8856-48E5-BDDC-2CB62E9E5410}"/>
          </ac:grpSpMkLst>
        </pc:grpChg>
        <pc:grpChg chg="add mod">
          <ac:chgData name="Louis Wang" userId="afff2e54-1287-4765-98d1-fc9729dc18f3" providerId="ADAL" clId="{5CA31268-2CC3-400D-8FE9-FC0A25D84331}" dt="2021-05-19T12:45:49.301" v="1105"/>
          <ac:grpSpMkLst>
            <pc:docMk/>
            <pc:sldMk cId="1583032401" sldId="1765"/>
            <ac:grpSpMk id="357" creationId="{A816D1D6-3FDD-4827-8591-FD9A6F981728}"/>
          </ac:grpSpMkLst>
        </pc:grpChg>
        <pc:grpChg chg="add mod">
          <ac:chgData name="Louis Wang" userId="afff2e54-1287-4765-98d1-fc9729dc18f3" providerId="ADAL" clId="{5CA31268-2CC3-400D-8FE9-FC0A25D84331}" dt="2021-05-19T12:45:49.301" v="1105"/>
          <ac:grpSpMkLst>
            <pc:docMk/>
            <pc:sldMk cId="1583032401" sldId="1765"/>
            <ac:grpSpMk id="358" creationId="{D3E97712-3BC9-4600-8118-BE946AE57A52}"/>
          </ac:grpSpMkLst>
        </pc:grpChg>
        <pc:grpChg chg="add mod">
          <ac:chgData name="Louis Wang" userId="afff2e54-1287-4765-98d1-fc9729dc18f3" providerId="ADAL" clId="{5CA31268-2CC3-400D-8FE9-FC0A25D84331}" dt="2021-05-19T12:45:49.301" v="1105"/>
          <ac:grpSpMkLst>
            <pc:docMk/>
            <pc:sldMk cId="1583032401" sldId="1765"/>
            <ac:grpSpMk id="359" creationId="{930919B1-86BE-4B1F-A3E7-98FB948F9E1E}"/>
          </ac:grpSpMkLst>
        </pc:grpChg>
        <pc:grpChg chg="add mod">
          <ac:chgData name="Louis Wang" userId="afff2e54-1287-4765-98d1-fc9729dc18f3" providerId="ADAL" clId="{5CA31268-2CC3-400D-8FE9-FC0A25D84331}" dt="2021-05-19T12:45:49.301" v="1105"/>
          <ac:grpSpMkLst>
            <pc:docMk/>
            <pc:sldMk cId="1583032401" sldId="1765"/>
            <ac:grpSpMk id="364" creationId="{A15B9C7C-D8D0-46A5-B631-C79AC9D98B71}"/>
          </ac:grpSpMkLst>
        </pc:grpChg>
        <pc:grpChg chg="add mod">
          <ac:chgData name="Louis Wang" userId="afff2e54-1287-4765-98d1-fc9729dc18f3" providerId="ADAL" clId="{5CA31268-2CC3-400D-8FE9-FC0A25D84331}" dt="2021-05-19T12:45:49.301" v="1105"/>
          <ac:grpSpMkLst>
            <pc:docMk/>
            <pc:sldMk cId="1583032401" sldId="1765"/>
            <ac:grpSpMk id="369" creationId="{E45D6559-E484-4F91-8ABD-C6E71C016A03}"/>
          </ac:grpSpMkLst>
        </pc:grpChg>
        <pc:grpChg chg="add del mod">
          <ac:chgData name="Louis Wang" userId="afff2e54-1287-4765-98d1-fc9729dc18f3" providerId="ADAL" clId="{5CA31268-2CC3-400D-8FE9-FC0A25D84331}" dt="2021-05-19T13:06:47.024" v="1318" actId="165"/>
          <ac:grpSpMkLst>
            <pc:docMk/>
            <pc:sldMk cId="1583032401" sldId="1765"/>
            <ac:grpSpMk id="374" creationId="{AABC8B01-3F0E-46D0-B0C4-A9AD181945A1}"/>
          </ac:grpSpMkLst>
        </pc:grpChg>
        <pc:grpChg chg="add del mod topLvl">
          <ac:chgData name="Louis Wang" userId="afff2e54-1287-4765-98d1-fc9729dc18f3" providerId="ADAL" clId="{5CA31268-2CC3-400D-8FE9-FC0A25D84331}" dt="2021-05-19T13:06:54.818" v="1319" actId="165"/>
          <ac:grpSpMkLst>
            <pc:docMk/>
            <pc:sldMk cId="1583032401" sldId="1765"/>
            <ac:grpSpMk id="381" creationId="{324C5A28-7E82-456F-BCCA-E7D202B577E6}"/>
          </ac:grpSpMkLst>
        </pc:grpChg>
        <pc:grpChg chg="add mod topLvl">
          <ac:chgData name="Louis Wang" userId="afff2e54-1287-4765-98d1-fc9729dc18f3" providerId="ADAL" clId="{5CA31268-2CC3-400D-8FE9-FC0A25D84331}" dt="2021-05-19T13:06:47.024" v="1318" actId="165"/>
          <ac:grpSpMkLst>
            <pc:docMk/>
            <pc:sldMk cId="1583032401" sldId="1765"/>
            <ac:grpSpMk id="382" creationId="{4A37BAC1-AA61-495F-858A-8656EFF74EF9}"/>
          </ac:grpSpMkLst>
        </pc:grpChg>
        <pc:grpChg chg="add mod topLvl">
          <ac:chgData name="Louis Wang" userId="afff2e54-1287-4765-98d1-fc9729dc18f3" providerId="ADAL" clId="{5CA31268-2CC3-400D-8FE9-FC0A25D84331}" dt="2021-05-19T13:06:47.024" v="1318" actId="165"/>
          <ac:grpSpMkLst>
            <pc:docMk/>
            <pc:sldMk cId="1583032401" sldId="1765"/>
            <ac:grpSpMk id="385" creationId="{2EA83A14-C69E-44B0-A48F-C20B2A81B6AF}"/>
          </ac:grpSpMkLst>
        </pc:grpChg>
        <pc:grpChg chg="add mod topLvl">
          <ac:chgData name="Louis Wang" userId="afff2e54-1287-4765-98d1-fc9729dc18f3" providerId="ADAL" clId="{5CA31268-2CC3-400D-8FE9-FC0A25D84331}" dt="2021-05-19T13:06:47.024" v="1318" actId="165"/>
          <ac:grpSpMkLst>
            <pc:docMk/>
            <pc:sldMk cId="1583032401" sldId="1765"/>
            <ac:grpSpMk id="388" creationId="{B889E879-2E2F-40D3-9824-51134B06B978}"/>
          </ac:grpSpMkLst>
        </pc:grpChg>
        <pc:grpChg chg="add del mod topLvl">
          <ac:chgData name="Louis Wang" userId="afff2e54-1287-4765-98d1-fc9729dc18f3" providerId="ADAL" clId="{5CA31268-2CC3-400D-8FE9-FC0A25D84331}" dt="2021-05-19T13:07:12.134" v="1320" actId="165"/>
          <ac:grpSpMkLst>
            <pc:docMk/>
            <pc:sldMk cId="1583032401" sldId="1765"/>
            <ac:grpSpMk id="397" creationId="{B5FA144D-8856-48E5-BDDC-2CB62E9E5410}"/>
          </ac:grpSpMkLst>
        </pc:grpChg>
        <pc:grpChg chg="add mod topLvl">
          <ac:chgData name="Louis Wang" userId="afff2e54-1287-4765-98d1-fc9729dc18f3" providerId="ADAL" clId="{5CA31268-2CC3-400D-8FE9-FC0A25D84331}" dt="2021-05-19T13:06:54.818" v="1319" actId="165"/>
          <ac:grpSpMkLst>
            <pc:docMk/>
            <pc:sldMk cId="1583032401" sldId="1765"/>
            <ac:grpSpMk id="398" creationId="{A816D1D6-3FDD-4827-8591-FD9A6F981728}"/>
          </ac:grpSpMkLst>
        </pc:grpChg>
        <pc:grpChg chg="add mod topLvl">
          <ac:chgData name="Louis Wang" userId="afff2e54-1287-4765-98d1-fc9729dc18f3" providerId="ADAL" clId="{5CA31268-2CC3-400D-8FE9-FC0A25D84331}" dt="2021-05-19T13:06:54.818" v="1319" actId="165"/>
          <ac:grpSpMkLst>
            <pc:docMk/>
            <pc:sldMk cId="1583032401" sldId="1765"/>
            <ac:grpSpMk id="399" creationId="{D3E97712-3BC9-4600-8118-BE946AE57A52}"/>
          </ac:grpSpMkLst>
        </pc:grpChg>
        <pc:grpChg chg="add mod">
          <ac:chgData name="Louis Wang" userId="afff2e54-1287-4765-98d1-fc9729dc18f3" providerId="ADAL" clId="{5CA31268-2CC3-400D-8FE9-FC0A25D84331}" dt="2021-05-19T13:06:54.818" v="1319" actId="165"/>
          <ac:grpSpMkLst>
            <pc:docMk/>
            <pc:sldMk cId="1583032401" sldId="1765"/>
            <ac:grpSpMk id="400" creationId="{930919B1-86BE-4B1F-A3E7-98FB948F9E1E}"/>
          </ac:grpSpMkLst>
        </pc:grpChg>
        <pc:grpChg chg="add mod">
          <ac:chgData name="Louis Wang" userId="afff2e54-1287-4765-98d1-fc9729dc18f3" providerId="ADAL" clId="{5CA31268-2CC3-400D-8FE9-FC0A25D84331}" dt="2021-05-19T13:06:54.818" v="1319" actId="165"/>
          <ac:grpSpMkLst>
            <pc:docMk/>
            <pc:sldMk cId="1583032401" sldId="1765"/>
            <ac:grpSpMk id="405" creationId="{A15B9C7C-D8D0-46A5-B631-C79AC9D98B71}"/>
          </ac:grpSpMkLst>
        </pc:grpChg>
        <pc:grpChg chg="add del mod topLvl">
          <ac:chgData name="Louis Wang" userId="afff2e54-1287-4765-98d1-fc9729dc18f3" providerId="ADAL" clId="{5CA31268-2CC3-400D-8FE9-FC0A25D84331}" dt="2021-05-19T13:07:17.951" v="1321" actId="165"/>
          <ac:grpSpMkLst>
            <pc:docMk/>
            <pc:sldMk cId="1583032401" sldId="1765"/>
            <ac:grpSpMk id="410" creationId="{E45D6559-E484-4F91-8ABD-C6E71C016A03}"/>
          </ac:grpSpMkLst>
        </pc:grpChg>
        <pc:cxnChg chg="add mod">
          <ac:chgData name="Louis Wang" userId="afff2e54-1287-4765-98d1-fc9729dc18f3" providerId="ADAL" clId="{5CA31268-2CC3-400D-8FE9-FC0A25D84331}" dt="2021-05-19T12:38:03.298" v="1010"/>
          <ac:cxnSpMkLst>
            <pc:docMk/>
            <pc:sldMk cId="1583032401" sldId="1765"/>
            <ac:cxnSpMk id="55" creationId="{2E60ADC1-D8F7-4E24-94D0-0549F55939B0}"/>
          </ac:cxnSpMkLst>
        </pc:cxnChg>
        <pc:cxnChg chg="add mod">
          <ac:chgData name="Louis Wang" userId="afff2e54-1287-4765-98d1-fc9729dc18f3" providerId="ADAL" clId="{5CA31268-2CC3-400D-8FE9-FC0A25D84331}" dt="2021-05-19T12:38:03.298" v="1010"/>
          <ac:cxnSpMkLst>
            <pc:docMk/>
            <pc:sldMk cId="1583032401" sldId="1765"/>
            <ac:cxnSpMk id="58" creationId="{5C7315D1-4421-44DE-8795-51DCC9FEA863}"/>
          </ac:cxnSpMkLst>
        </pc:cxnChg>
        <pc:cxnChg chg="add mod">
          <ac:chgData name="Louis Wang" userId="afff2e54-1287-4765-98d1-fc9729dc18f3" providerId="ADAL" clId="{5CA31268-2CC3-400D-8FE9-FC0A25D84331}" dt="2021-05-19T12:38:03.298" v="1010"/>
          <ac:cxnSpMkLst>
            <pc:docMk/>
            <pc:sldMk cId="1583032401" sldId="1765"/>
            <ac:cxnSpMk id="61" creationId="{6A442DC1-D323-405F-AA0A-FA57D6430ED2}"/>
          </ac:cxnSpMkLst>
        </pc:cxnChg>
        <pc:cxnChg chg="add mod">
          <ac:chgData name="Louis Wang" userId="afff2e54-1287-4765-98d1-fc9729dc18f3" providerId="ADAL" clId="{5CA31268-2CC3-400D-8FE9-FC0A25D84331}" dt="2021-05-19T12:38:03.298" v="1010"/>
          <ac:cxnSpMkLst>
            <pc:docMk/>
            <pc:sldMk cId="1583032401" sldId="1765"/>
            <ac:cxnSpMk id="73" creationId="{1B33D276-F17B-4F95-9229-8BF74E3569C5}"/>
          </ac:cxnSpMkLst>
        </pc:cxnChg>
        <pc:cxnChg chg="add mod">
          <ac:chgData name="Louis Wang" userId="afff2e54-1287-4765-98d1-fc9729dc18f3" providerId="ADAL" clId="{5CA31268-2CC3-400D-8FE9-FC0A25D84331}" dt="2021-05-19T12:38:03.298" v="1010"/>
          <ac:cxnSpMkLst>
            <pc:docMk/>
            <pc:sldMk cId="1583032401" sldId="1765"/>
            <ac:cxnSpMk id="78" creationId="{F6C5FDF1-3252-44DF-B17E-2B42C4FD49F4}"/>
          </ac:cxnSpMkLst>
        </pc:cxnChg>
        <pc:cxnChg chg="add mod">
          <ac:chgData name="Louis Wang" userId="afff2e54-1287-4765-98d1-fc9729dc18f3" providerId="ADAL" clId="{5CA31268-2CC3-400D-8FE9-FC0A25D84331}" dt="2021-05-19T12:38:03.298" v="1010"/>
          <ac:cxnSpMkLst>
            <pc:docMk/>
            <pc:sldMk cId="1583032401" sldId="1765"/>
            <ac:cxnSpMk id="83" creationId="{61386D1A-2C32-42B0-8757-7B1A07C85435}"/>
          </ac:cxnSpMkLst>
        </pc:cxnChg>
        <pc:cxnChg chg="add mod">
          <ac:chgData name="Louis Wang" userId="afff2e54-1287-4765-98d1-fc9729dc18f3" providerId="ADAL" clId="{5CA31268-2CC3-400D-8FE9-FC0A25D84331}" dt="2021-05-19T12:39:07.755" v="1018"/>
          <ac:cxnSpMkLst>
            <pc:docMk/>
            <pc:sldMk cId="1583032401" sldId="1765"/>
            <ac:cxnSpMk id="96" creationId="{2E60ADC1-D8F7-4E24-94D0-0549F55939B0}"/>
          </ac:cxnSpMkLst>
        </pc:cxnChg>
        <pc:cxnChg chg="add mod">
          <ac:chgData name="Louis Wang" userId="afff2e54-1287-4765-98d1-fc9729dc18f3" providerId="ADAL" clId="{5CA31268-2CC3-400D-8FE9-FC0A25D84331}" dt="2021-05-19T12:39:07.755" v="1018"/>
          <ac:cxnSpMkLst>
            <pc:docMk/>
            <pc:sldMk cId="1583032401" sldId="1765"/>
            <ac:cxnSpMk id="99" creationId="{5C7315D1-4421-44DE-8795-51DCC9FEA863}"/>
          </ac:cxnSpMkLst>
        </pc:cxnChg>
        <pc:cxnChg chg="add mod">
          <ac:chgData name="Louis Wang" userId="afff2e54-1287-4765-98d1-fc9729dc18f3" providerId="ADAL" clId="{5CA31268-2CC3-400D-8FE9-FC0A25D84331}" dt="2021-05-19T12:39:07.755" v="1018"/>
          <ac:cxnSpMkLst>
            <pc:docMk/>
            <pc:sldMk cId="1583032401" sldId="1765"/>
            <ac:cxnSpMk id="102" creationId="{6A442DC1-D323-405F-AA0A-FA57D6430ED2}"/>
          </ac:cxnSpMkLst>
        </pc:cxnChg>
        <pc:cxnChg chg="add mod">
          <ac:chgData name="Louis Wang" userId="afff2e54-1287-4765-98d1-fc9729dc18f3" providerId="ADAL" clId="{5CA31268-2CC3-400D-8FE9-FC0A25D84331}" dt="2021-05-19T12:39:07.755" v="1018"/>
          <ac:cxnSpMkLst>
            <pc:docMk/>
            <pc:sldMk cId="1583032401" sldId="1765"/>
            <ac:cxnSpMk id="114" creationId="{1B33D276-F17B-4F95-9229-8BF74E3569C5}"/>
          </ac:cxnSpMkLst>
        </pc:cxnChg>
        <pc:cxnChg chg="add mod">
          <ac:chgData name="Louis Wang" userId="afff2e54-1287-4765-98d1-fc9729dc18f3" providerId="ADAL" clId="{5CA31268-2CC3-400D-8FE9-FC0A25D84331}" dt="2021-05-19T12:39:07.755" v="1018"/>
          <ac:cxnSpMkLst>
            <pc:docMk/>
            <pc:sldMk cId="1583032401" sldId="1765"/>
            <ac:cxnSpMk id="119" creationId="{F6C5FDF1-3252-44DF-B17E-2B42C4FD49F4}"/>
          </ac:cxnSpMkLst>
        </pc:cxnChg>
        <pc:cxnChg chg="add mod">
          <ac:chgData name="Louis Wang" userId="afff2e54-1287-4765-98d1-fc9729dc18f3" providerId="ADAL" clId="{5CA31268-2CC3-400D-8FE9-FC0A25D84331}" dt="2021-05-19T12:39:07.755" v="1018"/>
          <ac:cxnSpMkLst>
            <pc:docMk/>
            <pc:sldMk cId="1583032401" sldId="1765"/>
            <ac:cxnSpMk id="124" creationId="{61386D1A-2C32-42B0-8757-7B1A07C85435}"/>
          </ac:cxnSpMkLst>
        </pc:cxnChg>
        <pc:cxnChg chg="add mod">
          <ac:chgData name="Louis Wang" userId="afff2e54-1287-4765-98d1-fc9729dc18f3" providerId="ADAL" clId="{5CA31268-2CC3-400D-8FE9-FC0A25D84331}" dt="2021-05-19T12:39:23.341" v="1034"/>
          <ac:cxnSpMkLst>
            <pc:docMk/>
            <pc:sldMk cId="1583032401" sldId="1765"/>
            <ac:cxnSpMk id="137" creationId="{2E60ADC1-D8F7-4E24-94D0-0549F55939B0}"/>
          </ac:cxnSpMkLst>
        </pc:cxnChg>
        <pc:cxnChg chg="add mod">
          <ac:chgData name="Louis Wang" userId="afff2e54-1287-4765-98d1-fc9729dc18f3" providerId="ADAL" clId="{5CA31268-2CC3-400D-8FE9-FC0A25D84331}" dt="2021-05-19T12:39:23.341" v="1034"/>
          <ac:cxnSpMkLst>
            <pc:docMk/>
            <pc:sldMk cId="1583032401" sldId="1765"/>
            <ac:cxnSpMk id="140" creationId="{5C7315D1-4421-44DE-8795-51DCC9FEA863}"/>
          </ac:cxnSpMkLst>
        </pc:cxnChg>
        <pc:cxnChg chg="add mod">
          <ac:chgData name="Louis Wang" userId="afff2e54-1287-4765-98d1-fc9729dc18f3" providerId="ADAL" clId="{5CA31268-2CC3-400D-8FE9-FC0A25D84331}" dt="2021-05-19T12:39:23.341" v="1034"/>
          <ac:cxnSpMkLst>
            <pc:docMk/>
            <pc:sldMk cId="1583032401" sldId="1765"/>
            <ac:cxnSpMk id="143" creationId="{6A442DC1-D323-405F-AA0A-FA57D6430ED2}"/>
          </ac:cxnSpMkLst>
        </pc:cxnChg>
        <pc:cxnChg chg="add mod">
          <ac:chgData name="Louis Wang" userId="afff2e54-1287-4765-98d1-fc9729dc18f3" providerId="ADAL" clId="{5CA31268-2CC3-400D-8FE9-FC0A25D84331}" dt="2021-05-19T12:39:23.341" v="1034"/>
          <ac:cxnSpMkLst>
            <pc:docMk/>
            <pc:sldMk cId="1583032401" sldId="1765"/>
            <ac:cxnSpMk id="155" creationId="{1B33D276-F17B-4F95-9229-8BF74E3569C5}"/>
          </ac:cxnSpMkLst>
        </pc:cxnChg>
        <pc:cxnChg chg="add mod">
          <ac:chgData name="Louis Wang" userId="afff2e54-1287-4765-98d1-fc9729dc18f3" providerId="ADAL" clId="{5CA31268-2CC3-400D-8FE9-FC0A25D84331}" dt="2021-05-19T12:39:23.341" v="1034"/>
          <ac:cxnSpMkLst>
            <pc:docMk/>
            <pc:sldMk cId="1583032401" sldId="1765"/>
            <ac:cxnSpMk id="160" creationId="{F6C5FDF1-3252-44DF-B17E-2B42C4FD49F4}"/>
          </ac:cxnSpMkLst>
        </pc:cxnChg>
        <pc:cxnChg chg="add mod">
          <ac:chgData name="Louis Wang" userId="afff2e54-1287-4765-98d1-fc9729dc18f3" providerId="ADAL" clId="{5CA31268-2CC3-400D-8FE9-FC0A25D84331}" dt="2021-05-19T12:39:23.341" v="1034"/>
          <ac:cxnSpMkLst>
            <pc:docMk/>
            <pc:sldMk cId="1583032401" sldId="1765"/>
            <ac:cxnSpMk id="165" creationId="{61386D1A-2C32-42B0-8757-7B1A07C85435}"/>
          </ac:cxnSpMkLst>
        </pc:cxnChg>
        <pc:cxnChg chg="add mod">
          <ac:chgData name="Louis Wang" userId="afff2e54-1287-4765-98d1-fc9729dc18f3" providerId="ADAL" clId="{5CA31268-2CC3-400D-8FE9-FC0A25D84331}" dt="2021-05-19T12:41:15.745" v="1049" actId="1076"/>
          <ac:cxnSpMkLst>
            <pc:docMk/>
            <pc:sldMk cId="1583032401" sldId="1765"/>
            <ac:cxnSpMk id="178" creationId="{2E60ADC1-D8F7-4E24-94D0-0549F55939B0}"/>
          </ac:cxnSpMkLst>
        </pc:cxnChg>
        <pc:cxnChg chg="add mod">
          <ac:chgData name="Louis Wang" userId="afff2e54-1287-4765-98d1-fc9729dc18f3" providerId="ADAL" clId="{5CA31268-2CC3-400D-8FE9-FC0A25D84331}" dt="2021-05-19T12:41:15.745" v="1049" actId="1076"/>
          <ac:cxnSpMkLst>
            <pc:docMk/>
            <pc:sldMk cId="1583032401" sldId="1765"/>
            <ac:cxnSpMk id="181" creationId="{5C7315D1-4421-44DE-8795-51DCC9FEA863}"/>
          </ac:cxnSpMkLst>
        </pc:cxnChg>
        <pc:cxnChg chg="add mod">
          <ac:chgData name="Louis Wang" userId="afff2e54-1287-4765-98d1-fc9729dc18f3" providerId="ADAL" clId="{5CA31268-2CC3-400D-8FE9-FC0A25D84331}" dt="2021-05-19T12:41:15.745" v="1049" actId="1076"/>
          <ac:cxnSpMkLst>
            <pc:docMk/>
            <pc:sldMk cId="1583032401" sldId="1765"/>
            <ac:cxnSpMk id="184" creationId="{6A442DC1-D323-405F-AA0A-FA57D6430ED2}"/>
          </ac:cxnSpMkLst>
        </pc:cxnChg>
        <pc:cxnChg chg="add mod">
          <ac:chgData name="Louis Wang" userId="afff2e54-1287-4765-98d1-fc9729dc18f3" providerId="ADAL" clId="{5CA31268-2CC3-400D-8FE9-FC0A25D84331}" dt="2021-05-19T12:41:15.745" v="1049" actId="1076"/>
          <ac:cxnSpMkLst>
            <pc:docMk/>
            <pc:sldMk cId="1583032401" sldId="1765"/>
            <ac:cxnSpMk id="196" creationId="{1B33D276-F17B-4F95-9229-8BF74E3569C5}"/>
          </ac:cxnSpMkLst>
        </pc:cxnChg>
        <pc:cxnChg chg="add mod">
          <ac:chgData name="Louis Wang" userId="afff2e54-1287-4765-98d1-fc9729dc18f3" providerId="ADAL" clId="{5CA31268-2CC3-400D-8FE9-FC0A25D84331}" dt="2021-05-19T12:41:15.745" v="1049" actId="1076"/>
          <ac:cxnSpMkLst>
            <pc:docMk/>
            <pc:sldMk cId="1583032401" sldId="1765"/>
            <ac:cxnSpMk id="201" creationId="{F6C5FDF1-3252-44DF-B17E-2B42C4FD49F4}"/>
          </ac:cxnSpMkLst>
        </pc:cxnChg>
        <pc:cxnChg chg="add mod">
          <ac:chgData name="Louis Wang" userId="afff2e54-1287-4765-98d1-fc9729dc18f3" providerId="ADAL" clId="{5CA31268-2CC3-400D-8FE9-FC0A25D84331}" dt="2021-05-19T12:41:15.745" v="1049" actId="1076"/>
          <ac:cxnSpMkLst>
            <pc:docMk/>
            <pc:sldMk cId="1583032401" sldId="1765"/>
            <ac:cxnSpMk id="206" creationId="{61386D1A-2C32-42B0-8757-7B1A07C85435}"/>
          </ac:cxnSpMkLst>
        </pc:cxnChg>
        <pc:cxnChg chg="add mod">
          <ac:chgData name="Louis Wang" userId="afff2e54-1287-4765-98d1-fc9729dc18f3" providerId="ADAL" clId="{5CA31268-2CC3-400D-8FE9-FC0A25D84331}" dt="2021-05-19T12:42:23.942" v="1057"/>
          <ac:cxnSpMkLst>
            <pc:docMk/>
            <pc:sldMk cId="1583032401" sldId="1765"/>
            <ac:cxnSpMk id="219" creationId="{2E60ADC1-D8F7-4E24-94D0-0549F55939B0}"/>
          </ac:cxnSpMkLst>
        </pc:cxnChg>
        <pc:cxnChg chg="add mod">
          <ac:chgData name="Louis Wang" userId="afff2e54-1287-4765-98d1-fc9729dc18f3" providerId="ADAL" clId="{5CA31268-2CC3-400D-8FE9-FC0A25D84331}" dt="2021-05-19T12:42:23.942" v="1057"/>
          <ac:cxnSpMkLst>
            <pc:docMk/>
            <pc:sldMk cId="1583032401" sldId="1765"/>
            <ac:cxnSpMk id="222" creationId="{5C7315D1-4421-44DE-8795-51DCC9FEA863}"/>
          </ac:cxnSpMkLst>
        </pc:cxnChg>
        <pc:cxnChg chg="add mod">
          <ac:chgData name="Louis Wang" userId="afff2e54-1287-4765-98d1-fc9729dc18f3" providerId="ADAL" clId="{5CA31268-2CC3-400D-8FE9-FC0A25D84331}" dt="2021-05-19T12:42:23.942" v="1057"/>
          <ac:cxnSpMkLst>
            <pc:docMk/>
            <pc:sldMk cId="1583032401" sldId="1765"/>
            <ac:cxnSpMk id="225" creationId="{6A442DC1-D323-405F-AA0A-FA57D6430ED2}"/>
          </ac:cxnSpMkLst>
        </pc:cxnChg>
        <pc:cxnChg chg="add mod">
          <ac:chgData name="Louis Wang" userId="afff2e54-1287-4765-98d1-fc9729dc18f3" providerId="ADAL" clId="{5CA31268-2CC3-400D-8FE9-FC0A25D84331}" dt="2021-05-19T12:42:23.942" v="1057"/>
          <ac:cxnSpMkLst>
            <pc:docMk/>
            <pc:sldMk cId="1583032401" sldId="1765"/>
            <ac:cxnSpMk id="237" creationId="{1B33D276-F17B-4F95-9229-8BF74E3569C5}"/>
          </ac:cxnSpMkLst>
        </pc:cxnChg>
        <pc:cxnChg chg="add mod">
          <ac:chgData name="Louis Wang" userId="afff2e54-1287-4765-98d1-fc9729dc18f3" providerId="ADAL" clId="{5CA31268-2CC3-400D-8FE9-FC0A25D84331}" dt="2021-05-19T12:42:23.942" v="1057"/>
          <ac:cxnSpMkLst>
            <pc:docMk/>
            <pc:sldMk cId="1583032401" sldId="1765"/>
            <ac:cxnSpMk id="242" creationId="{F6C5FDF1-3252-44DF-B17E-2B42C4FD49F4}"/>
          </ac:cxnSpMkLst>
        </pc:cxnChg>
        <pc:cxnChg chg="add mod">
          <ac:chgData name="Louis Wang" userId="afff2e54-1287-4765-98d1-fc9729dc18f3" providerId="ADAL" clId="{5CA31268-2CC3-400D-8FE9-FC0A25D84331}" dt="2021-05-19T12:42:23.942" v="1057"/>
          <ac:cxnSpMkLst>
            <pc:docMk/>
            <pc:sldMk cId="1583032401" sldId="1765"/>
            <ac:cxnSpMk id="247" creationId="{61386D1A-2C32-42B0-8757-7B1A07C85435}"/>
          </ac:cxnSpMkLst>
        </pc:cxnChg>
        <pc:cxnChg chg="add mod">
          <ac:chgData name="Louis Wang" userId="afff2e54-1287-4765-98d1-fc9729dc18f3" providerId="ADAL" clId="{5CA31268-2CC3-400D-8FE9-FC0A25D84331}" dt="2021-05-19T12:43:00.957" v="1068"/>
          <ac:cxnSpMkLst>
            <pc:docMk/>
            <pc:sldMk cId="1583032401" sldId="1765"/>
            <ac:cxnSpMk id="260" creationId="{2E60ADC1-D8F7-4E24-94D0-0549F55939B0}"/>
          </ac:cxnSpMkLst>
        </pc:cxnChg>
        <pc:cxnChg chg="add mod">
          <ac:chgData name="Louis Wang" userId="afff2e54-1287-4765-98d1-fc9729dc18f3" providerId="ADAL" clId="{5CA31268-2CC3-400D-8FE9-FC0A25D84331}" dt="2021-05-19T12:43:00.957" v="1068"/>
          <ac:cxnSpMkLst>
            <pc:docMk/>
            <pc:sldMk cId="1583032401" sldId="1765"/>
            <ac:cxnSpMk id="263" creationId="{5C7315D1-4421-44DE-8795-51DCC9FEA863}"/>
          </ac:cxnSpMkLst>
        </pc:cxnChg>
        <pc:cxnChg chg="add mod">
          <ac:chgData name="Louis Wang" userId="afff2e54-1287-4765-98d1-fc9729dc18f3" providerId="ADAL" clId="{5CA31268-2CC3-400D-8FE9-FC0A25D84331}" dt="2021-05-19T12:43:00.957" v="1068"/>
          <ac:cxnSpMkLst>
            <pc:docMk/>
            <pc:sldMk cId="1583032401" sldId="1765"/>
            <ac:cxnSpMk id="266" creationId="{6A442DC1-D323-405F-AA0A-FA57D6430ED2}"/>
          </ac:cxnSpMkLst>
        </pc:cxnChg>
        <pc:cxnChg chg="add mod">
          <ac:chgData name="Louis Wang" userId="afff2e54-1287-4765-98d1-fc9729dc18f3" providerId="ADAL" clId="{5CA31268-2CC3-400D-8FE9-FC0A25D84331}" dt="2021-05-19T12:43:00.957" v="1068"/>
          <ac:cxnSpMkLst>
            <pc:docMk/>
            <pc:sldMk cId="1583032401" sldId="1765"/>
            <ac:cxnSpMk id="278" creationId="{1B33D276-F17B-4F95-9229-8BF74E3569C5}"/>
          </ac:cxnSpMkLst>
        </pc:cxnChg>
        <pc:cxnChg chg="add mod">
          <ac:chgData name="Louis Wang" userId="afff2e54-1287-4765-98d1-fc9729dc18f3" providerId="ADAL" clId="{5CA31268-2CC3-400D-8FE9-FC0A25D84331}" dt="2021-05-19T12:43:00.957" v="1068"/>
          <ac:cxnSpMkLst>
            <pc:docMk/>
            <pc:sldMk cId="1583032401" sldId="1765"/>
            <ac:cxnSpMk id="283" creationId="{F6C5FDF1-3252-44DF-B17E-2B42C4FD49F4}"/>
          </ac:cxnSpMkLst>
        </pc:cxnChg>
        <pc:cxnChg chg="add mod">
          <ac:chgData name="Louis Wang" userId="afff2e54-1287-4765-98d1-fc9729dc18f3" providerId="ADAL" clId="{5CA31268-2CC3-400D-8FE9-FC0A25D84331}" dt="2021-05-19T12:43:00.957" v="1068"/>
          <ac:cxnSpMkLst>
            <pc:docMk/>
            <pc:sldMk cId="1583032401" sldId="1765"/>
            <ac:cxnSpMk id="288" creationId="{61386D1A-2C32-42B0-8757-7B1A07C85435}"/>
          </ac:cxnSpMkLst>
        </pc:cxnChg>
        <pc:cxnChg chg="add mod">
          <ac:chgData name="Louis Wang" userId="afff2e54-1287-4765-98d1-fc9729dc18f3" providerId="ADAL" clId="{5CA31268-2CC3-400D-8FE9-FC0A25D84331}" dt="2021-05-19T12:44:46.255" v="1089"/>
          <ac:cxnSpMkLst>
            <pc:docMk/>
            <pc:sldMk cId="1583032401" sldId="1765"/>
            <ac:cxnSpMk id="301" creationId="{2E60ADC1-D8F7-4E24-94D0-0549F55939B0}"/>
          </ac:cxnSpMkLst>
        </pc:cxnChg>
        <pc:cxnChg chg="add mod">
          <ac:chgData name="Louis Wang" userId="afff2e54-1287-4765-98d1-fc9729dc18f3" providerId="ADAL" clId="{5CA31268-2CC3-400D-8FE9-FC0A25D84331}" dt="2021-05-19T12:44:46.255" v="1089"/>
          <ac:cxnSpMkLst>
            <pc:docMk/>
            <pc:sldMk cId="1583032401" sldId="1765"/>
            <ac:cxnSpMk id="304" creationId="{5C7315D1-4421-44DE-8795-51DCC9FEA863}"/>
          </ac:cxnSpMkLst>
        </pc:cxnChg>
        <pc:cxnChg chg="add mod">
          <ac:chgData name="Louis Wang" userId="afff2e54-1287-4765-98d1-fc9729dc18f3" providerId="ADAL" clId="{5CA31268-2CC3-400D-8FE9-FC0A25D84331}" dt="2021-05-19T12:44:46.255" v="1089"/>
          <ac:cxnSpMkLst>
            <pc:docMk/>
            <pc:sldMk cId="1583032401" sldId="1765"/>
            <ac:cxnSpMk id="307" creationId="{6A442DC1-D323-405F-AA0A-FA57D6430ED2}"/>
          </ac:cxnSpMkLst>
        </pc:cxnChg>
        <pc:cxnChg chg="add mod">
          <ac:chgData name="Louis Wang" userId="afff2e54-1287-4765-98d1-fc9729dc18f3" providerId="ADAL" clId="{5CA31268-2CC3-400D-8FE9-FC0A25D84331}" dt="2021-05-19T12:44:46.255" v="1089"/>
          <ac:cxnSpMkLst>
            <pc:docMk/>
            <pc:sldMk cId="1583032401" sldId="1765"/>
            <ac:cxnSpMk id="319" creationId="{1B33D276-F17B-4F95-9229-8BF74E3569C5}"/>
          </ac:cxnSpMkLst>
        </pc:cxnChg>
        <pc:cxnChg chg="add mod">
          <ac:chgData name="Louis Wang" userId="afff2e54-1287-4765-98d1-fc9729dc18f3" providerId="ADAL" clId="{5CA31268-2CC3-400D-8FE9-FC0A25D84331}" dt="2021-05-19T12:44:46.255" v="1089"/>
          <ac:cxnSpMkLst>
            <pc:docMk/>
            <pc:sldMk cId="1583032401" sldId="1765"/>
            <ac:cxnSpMk id="324" creationId="{F6C5FDF1-3252-44DF-B17E-2B42C4FD49F4}"/>
          </ac:cxnSpMkLst>
        </pc:cxnChg>
        <pc:cxnChg chg="add mod">
          <ac:chgData name="Louis Wang" userId="afff2e54-1287-4765-98d1-fc9729dc18f3" providerId="ADAL" clId="{5CA31268-2CC3-400D-8FE9-FC0A25D84331}" dt="2021-05-19T12:44:46.255" v="1089"/>
          <ac:cxnSpMkLst>
            <pc:docMk/>
            <pc:sldMk cId="1583032401" sldId="1765"/>
            <ac:cxnSpMk id="329" creationId="{61386D1A-2C32-42B0-8757-7B1A07C85435}"/>
          </ac:cxnSpMkLst>
        </pc:cxnChg>
        <pc:cxnChg chg="add mod">
          <ac:chgData name="Louis Wang" userId="afff2e54-1287-4765-98d1-fc9729dc18f3" providerId="ADAL" clId="{5CA31268-2CC3-400D-8FE9-FC0A25D84331}" dt="2021-05-19T12:45:49.301" v="1105"/>
          <ac:cxnSpMkLst>
            <pc:docMk/>
            <pc:sldMk cId="1583032401" sldId="1765"/>
            <ac:cxnSpMk id="342" creationId="{2E60ADC1-D8F7-4E24-94D0-0549F55939B0}"/>
          </ac:cxnSpMkLst>
        </pc:cxnChg>
        <pc:cxnChg chg="add mod">
          <ac:chgData name="Louis Wang" userId="afff2e54-1287-4765-98d1-fc9729dc18f3" providerId="ADAL" clId="{5CA31268-2CC3-400D-8FE9-FC0A25D84331}" dt="2021-05-19T12:45:49.301" v="1105"/>
          <ac:cxnSpMkLst>
            <pc:docMk/>
            <pc:sldMk cId="1583032401" sldId="1765"/>
            <ac:cxnSpMk id="345" creationId="{5C7315D1-4421-44DE-8795-51DCC9FEA863}"/>
          </ac:cxnSpMkLst>
        </pc:cxnChg>
        <pc:cxnChg chg="add mod">
          <ac:chgData name="Louis Wang" userId="afff2e54-1287-4765-98d1-fc9729dc18f3" providerId="ADAL" clId="{5CA31268-2CC3-400D-8FE9-FC0A25D84331}" dt="2021-05-19T12:45:49.301" v="1105"/>
          <ac:cxnSpMkLst>
            <pc:docMk/>
            <pc:sldMk cId="1583032401" sldId="1765"/>
            <ac:cxnSpMk id="348" creationId="{6A442DC1-D323-405F-AA0A-FA57D6430ED2}"/>
          </ac:cxnSpMkLst>
        </pc:cxnChg>
        <pc:cxnChg chg="add mod">
          <ac:chgData name="Louis Wang" userId="afff2e54-1287-4765-98d1-fc9729dc18f3" providerId="ADAL" clId="{5CA31268-2CC3-400D-8FE9-FC0A25D84331}" dt="2021-05-19T12:45:49.301" v="1105"/>
          <ac:cxnSpMkLst>
            <pc:docMk/>
            <pc:sldMk cId="1583032401" sldId="1765"/>
            <ac:cxnSpMk id="360" creationId="{1B33D276-F17B-4F95-9229-8BF74E3569C5}"/>
          </ac:cxnSpMkLst>
        </pc:cxnChg>
        <pc:cxnChg chg="add mod">
          <ac:chgData name="Louis Wang" userId="afff2e54-1287-4765-98d1-fc9729dc18f3" providerId="ADAL" clId="{5CA31268-2CC3-400D-8FE9-FC0A25D84331}" dt="2021-05-19T12:45:49.301" v="1105"/>
          <ac:cxnSpMkLst>
            <pc:docMk/>
            <pc:sldMk cId="1583032401" sldId="1765"/>
            <ac:cxnSpMk id="365" creationId="{F6C5FDF1-3252-44DF-B17E-2B42C4FD49F4}"/>
          </ac:cxnSpMkLst>
        </pc:cxnChg>
        <pc:cxnChg chg="add mod">
          <ac:chgData name="Louis Wang" userId="afff2e54-1287-4765-98d1-fc9729dc18f3" providerId="ADAL" clId="{5CA31268-2CC3-400D-8FE9-FC0A25D84331}" dt="2021-05-19T12:45:49.301" v="1105"/>
          <ac:cxnSpMkLst>
            <pc:docMk/>
            <pc:sldMk cId="1583032401" sldId="1765"/>
            <ac:cxnSpMk id="370" creationId="{61386D1A-2C32-42B0-8757-7B1A07C85435}"/>
          </ac:cxnSpMkLst>
        </pc:cxnChg>
        <pc:cxnChg chg="add mod topLvl">
          <ac:chgData name="Louis Wang" userId="afff2e54-1287-4765-98d1-fc9729dc18f3" providerId="ADAL" clId="{5CA31268-2CC3-400D-8FE9-FC0A25D84331}" dt="2021-05-19T13:06:47.024" v="1318" actId="165"/>
          <ac:cxnSpMkLst>
            <pc:docMk/>
            <pc:sldMk cId="1583032401" sldId="1765"/>
            <ac:cxnSpMk id="383" creationId="{2E60ADC1-D8F7-4E24-94D0-0549F55939B0}"/>
          </ac:cxnSpMkLst>
        </pc:cxnChg>
        <pc:cxnChg chg="add mod topLvl">
          <ac:chgData name="Louis Wang" userId="afff2e54-1287-4765-98d1-fc9729dc18f3" providerId="ADAL" clId="{5CA31268-2CC3-400D-8FE9-FC0A25D84331}" dt="2021-05-19T13:06:47.024" v="1318" actId="165"/>
          <ac:cxnSpMkLst>
            <pc:docMk/>
            <pc:sldMk cId="1583032401" sldId="1765"/>
            <ac:cxnSpMk id="386" creationId="{5C7315D1-4421-44DE-8795-51DCC9FEA863}"/>
          </ac:cxnSpMkLst>
        </pc:cxnChg>
        <pc:cxnChg chg="add mod topLvl">
          <ac:chgData name="Louis Wang" userId="afff2e54-1287-4765-98d1-fc9729dc18f3" providerId="ADAL" clId="{5CA31268-2CC3-400D-8FE9-FC0A25D84331}" dt="2021-05-19T13:06:47.024" v="1318" actId="165"/>
          <ac:cxnSpMkLst>
            <pc:docMk/>
            <pc:sldMk cId="1583032401" sldId="1765"/>
            <ac:cxnSpMk id="389" creationId="{6A442DC1-D323-405F-AA0A-FA57D6430ED2}"/>
          </ac:cxnSpMkLst>
        </pc:cxnChg>
        <pc:cxnChg chg="add mod">
          <ac:chgData name="Louis Wang" userId="afff2e54-1287-4765-98d1-fc9729dc18f3" providerId="ADAL" clId="{5CA31268-2CC3-400D-8FE9-FC0A25D84331}" dt="2021-05-19T13:06:54.818" v="1319" actId="165"/>
          <ac:cxnSpMkLst>
            <pc:docMk/>
            <pc:sldMk cId="1583032401" sldId="1765"/>
            <ac:cxnSpMk id="401" creationId="{1B33D276-F17B-4F95-9229-8BF74E3569C5}"/>
          </ac:cxnSpMkLst>
        </pc:cxnChg>
        <pc:cxnChg chg="add mod">
          <ac:chgData name="Louis Wang" userId="afff2e54-1287-4765-98d1-fc9729dc18f3" providerId="ADAL" clId="{5CA31268-2CC3-400D-8FE9-FC0A25D84331}" dt="2021-05-19T13:06:54.818" v="1319" actId="165"/>
          <ac:cxnSpMkLst>
            <pc:docMk/>
            <pc:sldMk cId="1583032401" sldId="1765"/>
            <ac:cxnSpMk id="406" creationId="{F6C5FDF1-3252-44DF-B17E-2B42C4FD49F4}"/>
          </ac:cxnSpMkLst>
        </pc:cxnChg>
        <pc:cxnChg chg="add mod topLvl">
          <ac:chgData name="Louis Wang" userId="afff2e54-1287-4765-98d1-fc9729dc18f3" providerId="ADAL" clId="{5CA31268-2CC3-400D-8FE9-FC0A25D84331}" dt="2021-05-19T13:07:12.134" v="1320" actId="165"/>
          <ac:cxnSpMkLst>
            <pc:docMk/>
            <pc:sldMk cId="1583032401" sldId="1765"/>
            <ac:cxnSpMk id="411" creationId="{61386D1A-2C32-42B0-8757-7B1A07C85435}"/>
          </ac:cxnSpMkLst>
        </pc:cxnChg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3996270592" sldId="1766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647441258" sldId="1767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3976859051" sldId="1768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241673689" sldId="1769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2631427263" sldId="1770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2705224453" sldId="1771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1132788302" sldId="1772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1425861339" sldId="1773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574886613" sldId="1774"/>
        </pc:sldMkLst>
      </pc:sldChg>
      <pc:sldChg chg="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2965727917" sldId="1775"/>
        </pc:sldMkLst>
      </pc:sldChg>
      <pc:sldChg chg="addSp delSp modSp mod ord">
        <pc:chgData name="Louis Wang" userId="afff2e54-1287-4765-98d1-fc9729dc18f3" providerId="ADAL" clId="{5CA31268-2CC3-400D-8FE9-FC0A25D84331}" dt="2021-05-19T14:14:37.806" v="1368" actId="1076"/>
        <pc:sldMkLst>
          <pc:docMk/>
          <pc:sldMk cId="380451916" sldId="1776"/>
        </pc:sldMkLst>
        <pc:spChg chg="mod">
          <ac:chgData name="Louis Wang" userId="afff2e54-1287-4765-98d1-fc9729dc18f3" providerId="ADAL" clId="{5CA31268-2CC3-400D-8FE9-FC0A25D84331}" dt="2021-05-19T11:01:03.831" v="331" actId="20577"/>
          <ac:spMkLst>
            <pc:docMk/>
            <pc:sldMk cId="380451916" sldId="1776"/>
            <ac:spMk id="2" creationId="{D0B0498F-E3DB-4AA8-9FE7-9D93B1855FAD}"/>
          </ac:spMkLst>
        </pc:spChg>
        <pc:spChg chg="del">
          <ac:chgData name="Louis Wang" userId="afff2e54-1287-4765-98d1-fc9729dc18f3" providerId="ADAL" clId="{5CA31268-2CC3-400D-8FE9-FC0A25D84331}" dt="2021-05-19T11:08:12.680" v="451" actId="478"/>
          <ac:spMkLst>
            <pc:docMk/>
            <pc:sldMk cId="380451916" sldId="1776"/>
            <ac:spMk id="3" creationId="{E3A325FB-E5AD-4282-9981-7342C5E2D7B6}"/>
          </ac:spMkLst>
        </pc:spChg>
        <pc:spChg chg="mod">
          <ac:chgData name="Louis Wang" userId="afff2e54-1287-4765-98d1-fc9729dc18f3" providerId="ADAL" clId="{5CA31268-2CC3-400D-8FE9-FC0A25D84331}" dt="2021-05-19T11:01:12.117" v="334"/>
          <ac:spMkLst>
            <pc:docMk/>
            <pc:sldMk cId="380451916" sldId="1776"/>
            <ac:spMk id="8" creationId="{AD9CC9EA-0330-4C27-B9AE-812D8CD7FD8B}"/>
          </ac:spMkLst>
        </pc:spChg>
        <pc:spChg chg="mod">
          <ac:chgData name="Louis Wang" userId="afff2e54-1287-4765-98d1-fc9729dc18f3" providerId="ADAL" clId="{5CA31268-2CC3-400D-8FE9-FC0A25D84331}" dt="2021-05-19T11:04:53.681" v="413" actId="20577"/>
          <ac:spMkLst>
            <pc:docMk/>
            <pc:sldMk cId="380451916" sldId="1776"/>
            <ac:spMk id="12" creationId="{3B4670CA-38A3-432F-A8B6-B991A8508951}"/>
          </ac:spMkLst>
        </pc:spChg>
        <pc:spChg chg="mod">
          <ac:chgData name="Louis Wang" userId="afff2e54-1287-4765-98d1-fc9729dc18f3" providerId="ADAL" clId="{5CA31268-2CC3-400D-8FE9-FC0A25D84331}" dt="2021-05-19T11:05:18.242" v="415" actId="20577"/>
          <ac:spMkLst>
            <pc:docMk/>
            <pc:sldMk cId="380451916" sldId="1776"/>
            <ac:spMk id="13" creationId="{4139255E-B75E-4339-983E-014F407EC512}"/>
          </ac:spMkLst>
        </pc:spChg>
        <pc:spChg chg="mod">
          <ac:chgData name="Louis Wang" userId="afff2e54-1287-4765-98d1-fc9729dc18f3" providerId="ADAL" clId="{5CA31268-2CC3-400D-8FE9-FC0A25D84331}" dt="2021-05-19T11:01:48.508" v="356" actId="20577"/>
          <ac:spMkLst>
            <pc:docMk/>
            <pc:sldMk cId="380451916" sldId="1776"/>
            <ac:spMk id="14" creationId="{B212E10E-8B04-4476-A0EA-639C0E7A09D7}"/>
          </ac:spMkLst>
        </pc:spChg>
        <pc:spChg chg="mod">
          <ac:chgData name="Louis Wang" userId="afff2e54-1287-4765-98d1-fc9729dc18f3" providerId="ADAL" clId="{5CA31268-2CC3-400D-8FE9-FC0A25D84331}" dt="2021-05-19T11:01:23.156" v="348" actId="20577"/>
          <ac:spMkLst>
            <pc:docMk/>
            <pc:sldMk cId="380451916" sldId="1776"/>
            <ac:spMk id="15" creationId="{61189174-8FD2-44D9-A16F-A69534A44545}"/>
          </ac:spMkLst>
        </pc:spChg>
        <pc:spChg chg="mod">
          <ac:chgData name="Louis Wang" userId="afff2e54-1287-4765-98d1-fc9729dc18f3" providerId="ADAL" clId="{5CA31268-2CC3-400D-8FE9-FC0A25D84331}" dt="2021-05-19T11:02:28.571" v="368" actId="20577"/>
          <ac:spMkLst>
            <pc:docMk/>
            <pc:sldMk cId="380451916" sldId="1776"/>
            <ac:spMk id="16" creationId="{DF21A5AB-2302-4F37-A016-84036D68DD9F}"/>
          </ac:spMkLst>
        </pc:spChg>
        <pc:spChg chg="mod">
          <ac:chgData name="Louis Wang" userId="afff2e54-1287-4765-98d1-fc9729dc18f3" providerId="ADAL" clId="{5CA31268-2CC3-400D-8FE9-FC0A25D84331}" dt="2021-05-19T11:02:10.068" v="361" actId="113"/>
          <ac:spMkLst>
            <pc:docMk/>
            <pc:sldMk cId="380451916" sldId="1776"/>
            <ac:spMk id="17" creationId="{D9E20385-A84D-48C3-971D-2FB5BA14365A}"/>
          </ac:spMkLst>
        </pc:spChg>
        <pc:spChg chg="mod">
          <ac:chgData name="Louis Wang" userId="afff2e54-1287-4765-98d1-fc9729dc18f3" providerId="ADAL" clId="{5CA31268-2CC3-400D-8FE9-FC0A25D84331}" dt="2021-05-19T11:07:10.227" v="438" actId="20577"/>
          <ac:spMkLst>
            <pc:docMk/>
            <pc:sldMk cId="380451916" sldId="1776"/>
            <ac:spMk id="18" creationId="{09322E1D-151F-4C76-8ED5-95299D9A40D0}"/>
          </ac:spMkLst>
        </pc:spChg>
        <pc:spChg chg="mod">
          <ac:chgData name="Louis Wang" userId="afff2e54-1287-4765-98d1-fc9729dc18f3" providerId="ADAL" clId="{5CA31268-2CC3-400D-8FE9-FC0A25D84331}" dt="2021-05-19T11:03:55.402" v="401" actId="20577"/>
          <ac:spMkLst>
            <pc:docMk/>
            <pc:sldMk cId="380451916" sldId="1776"/>
            <ac:spMk id="19" creationId="{F9F885B5-1E56-4F6A-8ACE-0FFC4C8D0396}"/>
          </ac:spMkLst>
        </pc:spChg>
        <pc:spChg chg="mod">
          <ac:chgData name="Louis Wang" userId="afff2e54-1287-4765-98d1-fc9729dc18f3" providerId="ADAL" clId="{5CA31268-2CC3-400D-8FE9-FC0A25D84331}" dt="2021-05-19T11:16:08.256" v="486" actId="20577"/>
          <ac:spMkLst>
            <pc:docMk/>
            <pc:sldMk cId="380451916" sldId="1776"/>
            <ac:spMk id="20" creationId="{EDE608FB-2113-41EB-88FC-45BE2695FE8C}"/>
          </ac:spMkLst>
        </pc:spChg>
        <pc:spChg chg="mod">
          <ac:chgData name="Louis Wang" userId="afff2e54-1287-4765-98d1-fc9729dc18f3" providerId="ADAL" clId="{5CA31268-2CC3-400D-8FE9-FC0A25D84331}" dt="2021-05-19T11:03:59.805" v="404"/>
          <ac:spMkLst>
            <pc:docMk/>
            <pc:sldMk cId="380451916" sldId="1776"/>
            <ac:spMk id="21" creationId="{B4128149-6F0E-4486-920B-D71E8982D610}"/>
          </ac:spMkLst>
        </pc:spChg>
        <pc:spChg chg="mod">
          <ac:chgData name="Louis Wang" userId="afff2e54-1287-4765-98d1-fc9729dc18f3" providerId="ADAL" clId="{5CA31268-2CC3-400D-8FE9-FC0A25D84331}" dt="2021-05-19T11:03:00.800" v="393" actId="20577"/>
          <ac:spMkLst>
            <pc:docMk/>
            <pc:sldMk cId="380451916" sldId="1776"/>
            <ac:spMk id="22" creationId="{0ED6EC28-76E4-4902-A418-2E4A3C560BB5}"/>
          </ac:spMkLst>
        </pc:spChg>
        <pc:spChg chg="mod ord">
          <ac:chgData name="Louis Wang" userId="afff2e54-1287-4765-98d1-fc9729dc18f3" providerId="ADAL" clId="{5CA31268-2CC3-400D-8FE9-FC0A25D84331}" dt="2021-05-19T10:58:49.204" v="309" actId="167"/>
          <ac:spMkLst>
            <pc:docMk/>
            <pc:sldMk cId="380451916" sldId="1776"/>
            <ac:spMk id="33" creationId="{4CF22DA2-C58A-4B04-AF57-6BD1EEE25C24}"/>
          </ac:spMkLst>
        </pc:spChg>
        <pc:spChg chg="mod">
          <ac:chgData name="Louis Wang" userId="afff2e54-1287-4765-98d1-fc9729dc18f3" providerId="ADAL" clId="{5CA31268-2CC3-400D-8FE9-FC0A25D84331}" dt="2021-05-19T14:12:02.479" v="1343"/>
          <ac:spMkLst>
            <pc:docMk/>
            <pc:sldMk cId="380451916" sldId="1776"/>
            <ac:spMk id="34" creationId="{60D774BF-4360-4C90-9E0D-ED48C0CA3654}"/>
          </ac:spMkLst>
        </pc:spChg>
        <pc:spChg chg="mod">
          <ac:chgData name="Louis Wang" userId="afff2e54-1287-4765-98d1-fc9729dc18f3" providerId="ADAL" clId="{5CA31268-2CC3-400D-8FE9-FC0A25D84331}" dt="2021-05-19T10:58:19.981" v="302" actId="1076"/>
          <ac:spMkLst>
            <pc:docMk/>
            <pc:sldMk cId="380451916" sldId="1776"/>
            <ac:spMk id="35" creationId="{2A59E733-EE7B-4EC8-BA9F-B49AA1046ED8}"/>
          </ac:spMkLst>
        </pc:spChg>
        <pc:spChg chg="mod">
          <ac:chgData name="Louis Wang" userId="afff2e54-1287-4765-98d1-fc9729dc18f3" providerId="ADAL" clId="{5CA31268-2CC3-400D-8FE9-FC0A25D84331}" dt="2021-05-19T10:58:49.573" v="310" actId="1076"/>
          <ac:spMkLst>
            <pc:docMk/>
            <pc:sldMk cId="380451916" sldId="1776"/>
            <ac:spMk id="36" creationId="{3E8F1C8F-F5F9-482B-BD06-1972C9C32C6C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38" creationId="{332B1DB1-BE26-4E98-BBC9-49640C3D937A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40" creationId="{AD9CC9EA-0330-4C27-B9AE-812D8CD7FD8B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44" creationId="{3B4670CA-38A3-432F-A8B6-B991A8508951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45" creationId="{4139255E-B75E-4339-983E-014F407EC512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46" creationId="{B212E10E-8B04-4476-A0EA-639C0E7A09D7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47" creationId="{61189174-8FD2-44D9-A16F-A69534A44545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48" creationId="{DF21A5AB-2302-4F37-A016-84036D68DD9F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49" creationId="{D9E20385-A84D-48C3-971D-2FB5BA14365A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50" creationId="{09322E1D-151F-4C76-8ED5-95299D9A40D0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51" creationId="{F9F885B5-1E56-4F6A-8ACE-0FFC4C8D0396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52" creationId="{EDE608FB-2113-41EB-88FC-45BE2695FE8C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53" creationId="{B4128149-6F0E-4486-920B-D71E8982D610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54" creationId="{0ED6EC28-76E4-4902-A418-2E4A3C560BB5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55" creationId="{B1F25BE0-7F55-47AD-8236-AD0990400872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58" creationId="{8DCA19CC-103E-4F8B-AAEA-1F31D40F52F3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61" creationId="{CE5DDA3A-4BD3-4086-9FCA-11BA686332E2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62" creationId="{014CF0DA-3B08-4B1C-81E8-2537B16FFAC2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63" creationId="{ADAA2E40-821C-4056-B8CA-C82BE8DBA5CA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64" creationId="{8D47FEEB-2297-41CF-BFDD-4A2309F5AD05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65" creationId="{4CF22DA2-C58A-4B04-AF57-6BD1EEE25C24}"/>
          </ac:spMkLst>
        </pc:spChg>
        <pc:spChg chg="add mod">
          <ac:chgData name="Louis Wang" userId="afff2e54-1287-4765-98d1-fc9729dc18f3" providerId="ADAL" clId="{5CA31268-2CC3-400D-8FE9-FC0A25D84331}" dt="2021-05-19T14:12:02.676" v="1349"/>
          <ac:spMkLst>
            <pc:docMk/>
            <pc:sldMk cId="380451916" sldId="1776"/>
            <ac:spMk id="66" creationId="{60D774BF-4360-4C90-9E0D-ED48C0CA3654}"/>
          </ac:spMkLst>
        </pc:spChg>
        <pc:spChg chg="add mod">
          <ac:chgData name="Louis Wang" userId="afff2e54-1287-4765-98d1-fc9729dc18f3" providerId="ADAL" clId="{5CA31268-2CC3-400D-8FE9-FC0A25D84331}" dt="2021-05-19T14:12:02.674" v="1347"/>
          <ac:spMkLst>
            <pc:docMk/>
            <pc:sldMk cId="380451916" sldId="1776"/>
            <ac:spMk id="67" creationId="{2A59E733-EE7B-4EC8-BA9F-B49AA1046ED8}"/>
          </ac:spMkLst>
        </pc:spChg>
        <pc:spChg chg="add mod">
          <ac:chgData name="Louis Wang" userId="afff2e54-1287-4765-98d1-fc9729dc18f3" providerId="ADAL" clId="{5CA31268-2CC3-400D-8FE9-FC0A25D84331}" dt="2021-05-19T14:12:29.506" v="1351"/>
          <ac:spMkLst>
            <pc:docMk/>
            <pc:sldMk cId="380451916" sldId="1776"/>
            <ac:spMk id="68" creationId="{3E8F1C8F-F5F9-482B-BD06-1972C9C32C6C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70" creationId="{332B1DB1-BE26-4E98-BBC9-49640C3D937A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72" creationId="{AD9CC9EA-0330-4C27-B9AE-812D8CD7FD8B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76" creationId="{3B4670CA-38A3-432F-A8B6-B991A8508951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77" creationId="{4139255E-B75E-4339-983E-014F407EC512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78" creationId="{B212E10E-8B04-4476-A0EA-639C0E7A09D7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79" creationId="{61189174-8FD2-44D9-A16F-A69534A44545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80" creationId="{DF21A5AB-2302-4F37-A016-84036D68DD9F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81" creationId="{D9E20385-A84D-48C3-971D-2FB5BA14365A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82" creationId="{09322E1D-151F-4C76-8ED5-95299D9A40D0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83" creationId="{F9F885B5-1E56-4F6A-8ACE-0FFC4C8D0396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84" creationId="{EDE608FB-2113-41EB-88FC-45BE2695FE8C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85" creationId="{B4128149-6F0E-4486-920B-D71E8982D610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86" creationId="{0ED6EC28-76E4-4902-A418-2E4A3C560BB5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87" creationId="{B1F25BE0-7F55-47AD-8236-AD0990400872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90" creationId="{8DCA19CC-103E-4F8B-AAEA-1F31D40F52F3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93" creationId="{CE5DDA3A-4BD3-4086-9FCA-11BA686332E2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94" creationId="{014CF0DA-3B08-4B1C-81E8-2537B16FFAC2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95" creationId="{ADAA2E40-821C-4056-B8CA-C82BE8DBA5CA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96" creationId="{8D47FEEB-2297-41CF-BFDD-4A2309F5AD05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97" creationId="{4CF22DA2-C58A-4B04-AF57-6BD1EEE25C24}"/>
          </ac:spMkLst>
        </pc:spChg>
        <pc:spChg chg="add mod">
          <ac:chgData name="Louis Wang" userId="afff2e54-1287-4765-98d1-fc9729dc18f3" providerId="ADAL" clId="{5CA31268-2CC3-400D-8FE9-FC0A25D84331}" dt="2021-05-19T14:13:41.977" v="1359"/>
          <ac:spMkLst>
            <pc:docMk/>
            <pc:sldMk cId="380451916" sldId="1776"/>
            <ac:spMk id="98" creationId="{60D774BF-4360-4C90-9E0D-ED48C0CA3654}"/>
          </ac:spMkLst>
        </pc:spChg>
        <pc:spChg chg="add mod">
          <ac:chgData name="Louis Wang" userId="afff2e54-1287-4765-98d1-fc9729dc18f3" providerId="ADAL" clId="{5CA31268-2CC3-400D-8FE9-FC0A25D84331}" dt="2021-05-19T14:12:29.634" v="1355"/>
          <ac:spMkLst>
            <pc:docMk/>
            <pc:sldMk cId="380451916" sldId="1776"/>
            <ac:spMk id="99" creationId="{2A59E733-EE7B-4EC8-BA9F-B49AA1046ED8}"/>
          </ac:spMkLst>
        </pc:spChg>
        <pc:spChg chg="add mod">
          <ac:chgData name="Louis Wang" userId="afff2e54-1287-4765-98d1-fc9729dc18f3" providerId="ADAL" clId="{5CA31268-2CC3-400D-8FE9-FC0A25D84331}" dt="2021-05-19T14:12:29.637" v="1357"/>
          <ac:spMkLst>
            <pc:docMk/>
            <pc:sldMk cId="380451916" sldId="1776"/>
            <ac:spMk id="100" creationId="{3E8F1C8F-F5F9-482B-BD06-1972C9C32C6C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02" creationId="{332B1DB1-BE26-4E98-BBC9-49640C3D937A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04" creationId="{AD9CC9EA-0330-4C27-B9AE-812D8CD7FD8B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08" creationId="{3B4670CA-38A3-432F-A8B6-B991A8508951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09" creationId="{4139255E-B75E-4339-983E-014F407EC512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10" creationId="{B212E10E-8B04-4476-A0EA-639C0E7A09D7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11" creationId="{61189174-8FD2-44D9-A16F-A69534A44545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12" creationId="{DF21A5AB-2302-4F37-A016-84036D68DD9F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13" creationId="{D9E20385-A84D-48C3-971D-2FB5BA14365A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14" creationId="{09322E1D-151F-4C76-8ED5-95299D9A40D0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15" creationId="{F9F885B5-1E56-4F6A-8ACE-0FFC4C8D0396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16" creationId="{EDE608FB-2113-41EB-88FC-45BE2695FE8C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17" creationId="{B4128149-6F0E-4486-920B-D71E8982D610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18" creationId="{0ED6EC28-76E4-4902-A418-2E4A3C560BB5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19" creationId="{B1F25BE0-7F55-47AD-8236-AD0990400872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22" creationId="{8DCA19CC-103E-4F8B-AAEA-1F31D40F52F3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25" creationId="{CE5DDA3A-4BD3-4086-9FCA-11BA686332E2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26" creationId="{014CF0DA-3B08-4B1C-81E8-2537B16FFAC2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27" creationId="{ADAA2E40-821C-4056-B8CA-C82BE8DBA5CA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28" creationId="{8D47FEEB-2297-41CF-BFDD-4A2309F5AD05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29" creationId="{4CF22DA2-C58A-4B04-AF57-6BD1EEE25C24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30" creationId="{60D774BF-4360-4C90-9E0D-ED48C0CA3654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31" creationId="{2A59E733-EE7B-4EC8-BA9F-B49AA1046ED8}"/>
          </ac:spMkLst>
        </pc:spChg>
        <pc:spChg chg="add mod">
          <ac:chgData name="Louis Wang" userId="afff2e54-1287-4765-98d1-fc9729dc18f3" providerId="ADAL" clId="{5CA31268-2CC3-400D-8FE9-FC0A25D84331}" dt="2021-05-19T14:14:37.806" v="1368" actId="1076"/>
          <ac:spMkLst>
            <pc:docMk/>
            <pc:sldMk cId="380451916" sldId="1776"/>
            <ac:spMk id="132" creationId="{3E8F1C8F-F5F9-482B-BD06-1972C9C32C6C}"/>
          </ac:spMkLst>
        </pc:spChg>
        <pc:grpChg chg="del mod">
          <ac:chgData name="Louis Wang" userId="afff2e54-1287-4765-98d1-fc9729dc18f3" providerId="ADAL" clId="{5CA31268-2CC3-400D-8FE9-FC0A25D84331}" dt="2021-05-19T14:12:02.648" v="1344"/>
          <ac:grpSpMkLst>
            <pc:docMk/>
            <pc:sldMk cId="380451916" sldId="1776"/>
            <ac:grpSpMk id="5" creationId="{86454B10-C929-44F0-AB0D-598E75A440E4}"/>
          </ac:grpSpMkLst>
        </pc:grpChg>
        <pc:grpChg chg="add del mod">
          <ac:chgData name="Louis Wang" userId="afff2e54-1287-4765-98d1-fc9729dc18f3" providerId="ADAL" clId="{5CA31268-2CC3-400D-8FE9-FC0A25D84331}" dt="2021-05-19T14:12:29.601" v="1352"/>
          <ac:grpSpMkLst>
            <pc:docMk/>
            <pc:sldMk cId="380451916" sldId="1776"/>
            <ac:grpSpMk id="37" creationId="{86454B10-C929-44F0-AB0D-598E75A440E4}"/>
          </ac:grpSpMkLst>
        </pc:grpChg>
        <pc:grpChg chg="add mod">
          <ac:chgData name="Louis Wang" userId="afff2e54-1287-4765-98d1-fc9729dc18f3" providerId="ADAL" clId="{5CA31268-2CC3-400D-8FE9-FC0A25D84331}" dt="2021-05-19T14:12:02.674" v="1347"/>
          <ac:grpSpMkLst>
            <pc:docMk/>
            <pc:sldMk cId="380451916" sldId="1776"/>
            <ac:grpSpMk id="42" creationId="{7C4544B3-A9B2-4CC8-B5CA-538A0F3A315D}"/>
          </ac:grpSpMkLst>
        </pc:grpChg>
        <pc:grpChg chg="add mod">
          <ac:chgData name="Louis Wang" userId="afff2e54-1287-4765-98d1-fc9729dc18f3" providerId="ADAL" clId="{5CA31268-2CC3-400D-8FE9-FC0A25D84331}" dt="2021-05-19T14:12:02.674" v="1347"/>
          <ac:grpSpMkLst>
            <pc:docMk/>
            <pc:sldMk cId="380451916" sldId="1776"/>
            <ac:grpSpMk id="56" creationId="{4ADB92B3-305D-4F73-8DEB-2B1E5C1196AF}"/>
          </ac:grpSpMkLst>
        </pc:grpChg>
        <pc:grpChg chg="add mod">
          <ac:chgData name="Louis Wang" userId="afff2e54-1287-4765-98d1-fc9729dc18f3" providerId="ADAL" clId="{5CA31268-2CC3-400D-8FE9-FC0A25D84331}" dt="2021-05-19T14:12:02.674" v="1347"/>
          <ac:grpSpMkLst>
            <pc:docMk/>
            <pc:sldMk cId="380451916" sldId="1776"/>
            <ac:grpSpMk id="57" creationId="{663BF52F-3D54-43C1-B885-496C53BEBD62}"/>
          </ac:grpSpMkLst>
        </pc:grpChg>
        <pc:grpChg chg="add mod">
          <ac:chgData name="Louis Wang" userId="afff2e54-1287-4765-98d1-fc9729dc18f3" providerId="ADAL" clId="{5CA31268-2CC3-400D-8FE9-FC0A25D84331}" dt="2021-05-19T14:12:02.674" v="1347"/>
          <ac:grpSpMkLst>
            <pc:docMk/>
            <pc:sldMk cId="380451916" sldId="1776"/>
            <ac:grpSpMk id="59" creationId="{567C0B89-67F7-4081-84FA-14A2073DDA7C}"/>
          </ac:grpSpMkLst>
        </pc:grpChg>
        <pc:grpChg chg="add mod">
          <ac:chgData name="Louis Wang" userId="afff2e54-1287-4765-98d1-fc9729dc18f3" providerId="ADAL" clId="{5CA31268-2CC3-400D-8FE9-FC0A25D84331}" dt="2021-05-19T14:12:02.674" v="1347"/>
          <ac:grpSpMkLst>
            <pc:docMk/>
            <pc:sldMk cId="380451916" sldId="1776"/>
            <ac:grpSpMk id="60" creationId="{00567F19-0026-43DC-ADDF-46BE285A0EF2}"/>
          </ac:grpSpMkLst>
        </pc:grpChg>
        <pc:grpChg chg="add del mod">
          <ac:chgData name="Louis Wang" userId="afff2e54-1287-4765-98d1-fc9729dc18f3" providerId="ADAL" clId="{5CA31268-2CC3-400D-8FE9-FC0A25D84331}" dt="2021-05-19T14:13:42.067" v="1360"/>
          <ac:grpSpMkLst>
            <pc:docMk/>
            <pc:sldMk cId="380451916" sldId="1776"/>
            <ac:grpSpMk id="69" creationId="{86454B10-C929-44F0-AB0D-598E75A440E4}"/>
          </ac:grpSpMkLst>
        </pc:grpChg>
        <pc:grpChg chg="add mod">
          <ac:chgData name="Louis Wang" userId="afff2e54-1287-4765-98d1-fc9729dc18f3" providerId="ADAL" clId="{5CA31268-2CC3-400D-8FE9-FC0A25D84331}" dt="2021-05-19T14:12:29.634" v="1355"/>
          <ac:grpSpMkLst>
            <pc:docMk/>
            <pc:sldMk cId="380451916" sldId="1776"/>
            <ac:grpSpMk id="74" creationId="{7C4544B3-A9B2-4CC8-B5CA-538A0F3A315D}"/>
          </ac:grpSpMkLst>
        </pc:grpChg>
        <pc:grpChg chg="add mod">
          <ac:chgData name="Louis Wang" userId="afff2e54-1287-4765-98d1-fc9729dc18f3" providerId="ADAL" clId="{5CA31268-2CC3-400D-8FE9-FC0A25D84331}" dt="2021-05-19T14:12:29.634" v="1355"/>
          <ac:grpSpMkLst>
            <pc:docMk/>
            <pc:sldMk cId="380451916" sldId="1776"/>
            <ac:grpSpMk id="88" creationId="{4ADB92B3-305D-4F73-8DEB-2B1E5C1196AF}"/>
          </ac:grpSpMkLst>
        </pc:grpChg>
        <pc:grpChg chg="add mod">
          <ac:chgData name="Louis Wang" userId="afff2e54-1287-4765-98d1-fc9729dc18f3" providerId="ADAL" clId="{5CA31268-2CC3-400D-8FE9-FC0A25D84331}" dt="2021-05-19T14:12:29.634" v="1355"/>
          <ac:grpSpMkLst>
            <pc:docMk/>
            <pc:sldMk cId="380451916" sldId="1776"/>
            <ac:grpSpMk id="89" creationId="{663BF52F-3D54-43C1-B885-496C53BEBD62}"/>
          </ac:grpSpMkLst>
        </pc:grpChg>
        <pc:grpChg chg="add mod">
          <ac:chgData name="Louis Wang" userId="afff2e54-1287-4765-98d1-fc9729dc18f3" providerId="ADAL" clId="{5CA31268-2CC3-400D-8FE9-FC0A25D84331}" dt="2021-05-19T14:12:29.634" v="1355"/>
          <ac:grpSpMkLst>
            <pc:docMk/>
            <pc:sldMk cId="380451916" sldId="1776"/>
            <ac:grpSpMk id="91" creationId="{567C0B89-67F7-4081-84FA-14A2073DDA7C}"/>
          </ac:grpSpMkLst>
        </pc:grpChg>
        <pc:grpChg chg="add mod">
          <ac:chgData name="Louis Wang" userId="afff2e54-1287-4765-98d1-fc9729dc18f3" providerId="ADAL" clId="{5CA31268-2CC3-400D-8FE9-FC0A25D84331}" dt="2021-05-19T14:12:29.634" v="1355"/>
          <ac:grpSpMkLst>
            <pc:docMk/>
            <pc:sldMk cId="380451916" sldId="1776"/>
            <ac:grpSpMk id="92" creationId="{00567F19-0026-43DC-ADDF-46BE285A0EF2}"/>
          </ac:grpSpMkLst>
        </pc:grpChg>
        <pc:grpChg chg="add mod">
          <ac:chgData name="Louis Wang" userId="afff2e54-1287-4765-98d1-fc9729dc18f3" providerId="ADAL" clId="{5CA31268-2CC3-400D-8FE9-FC0A25D84331}" dt="2021-05-19T14:14:37.806" v="1368" actId="1076"/>
          <ac:grpSpMkLst>
            <pc:docMk/>
            <pc:sldMk cId="380451916" sldId="1776"/>
            <ac:grpSpMk id="101" creationId="{86454B10-C929-44F0-AB0D-598E75A440E4}"/>
          </ac:grpSpMkLst>
        </pc:grpChg>
        <pc:grpChg chg="add mod">
          <ac:chgData name="Louis Wang" userId="afff2e54-1287-4765-98d1-fc9729dc18f3" providerId="ADAL" clId="{5CA31268-2CC3-400D-8FE9-FC0A25D84331}" dt="2021-05-19T14:14:37.806" v="1368" actId="1076"/>
          <ac:grpSpMkLst>
            <pc:docMk/>
            <pc:sldMk cId="380451916" sldId="1776"/>
            <ac:grpSpMk id="106" creationId="{7C4544B3-A9B2-4CC8-B5CA-538A0F3A315D}"/>
          </ac:grpSpMkLst>
        </pc:grpChg>
        <pc:grpChg chg="add mod">
          <ac:chgData name="Louis Wang" userId="afff2e54-1287-4765-98d1-fc9729dc18f3" providerId="ADAL" clId="{5CA31268-2CC3-400D-8FE9-FC0A25D84331}" dt="2021-05-19T14:14:37.806" v="1368" actId="1076"/>
          <ac:grpSpMkLst>
            <pc:docMk/>
            <pc:sldMk cId="380451916" sldId="1776"/>
            <ac:grpSpMk id="120" creationId="{4ADB92B3-305D-4F73-8DEB-2B1E5C1196AF}"/>
          </ac:grpSpMkLst>
        </pc:grpChg>
        <pc:grpChg chg="add mod">
          <ac:chgData name="Louis Wang" userId="afff2e54-1287-4765-98d1-fc9729dc18f3" providerId="ADAL" clId="{5CA31268-2CC3-400D-8FE9-FC0A25D84331}" dt="2021-05-19T14:14:37.806" v="1368" actId="1076"/>
          <ac:grpSpMkLst>
            <pc:docMk/>
            <pc:sldMk cId="380451916" sldId="1776"/>
            <ac:grpSpMk id="121" creationId="{663BF52F-3D54-43C1-B885-496C53BEBD62}"/>
          </ac:grpSpMkLst>
        </pc:grpChg>
        <pc:grpChg chg="add mod">
          <ac:chgData name="Louis Wang" userId="afff2e54-1287-4765-98d1-fc9729dc18f3" providerId="ADAL" clId="{5CA31268-2CC3-400D-8FE9-FC0A25D84331}" dt="2021-05-19T14:14:37.806" v="1368" actId="1076"/>
          <ac:grpSpMkLst>
            <pc:docMk/>
            <pc:sldMk cId="380451916" sldId="1776"/>
            <ac:grpSpMk id="123" creationId="{567C0B89-67F7-4081-84FA-14A2073DDA7C}"/>
          </ac:grpSpMkLst>
        </pc:grpChg>
        <pc:grpChg chg="add mod">
          <ac:chgData name="Louis Wang" userId="afff2e54-1287-4765-98d1-fc9729dc18f3" providerId="ADAL" clId="{5CA31268-2CC3-400D-8FE9-FC0A25D84331}" dt="2021-05-19T14:14:37.806" v="1368" actId="1076"/>
          <ac:grpSpMkLst>
            <pc:docMk/>
            <pc:sldMk cId="380451916" sldId="1776"/>
            <ac:grpSpMk id="124" creationId="{00567F19-0026-43DC-ADDF-46BE285A0EF2}"/>
          </ac:grpSpMkLst>
        </pc:grpChg>
        <pc:cxnChg chg="add mod">
          <ac:chgData name="Louis Wang" userId="afff2e54-1287-4765-98d1-fc9729dc18f3" providerId="ADAL" clId="{5CA31268-2CC3-400D-8FE9-FC0A25D84331}" dt="2021-05-19T14:12:02.674" v="1347"/>
          <ac:cxnSpMkLst>
            <pc:docMk/>
            <pc:sldMk cId="380451916" sldId="1776"/>
            <ac:cxnSpMk id="39" creationId="{FDEBBD67-5C1F-4123-9872-265540E13260}"/>
          </ac:cxnSpMkLst>
        </pc:cxnChg>
        <pc:cxnChg chg="add mod">
          <ac:chgData name="Louis Wang" userId="afff2e54-1287-4765-98d1-fc9729dc18f3" providerId="ADAL" clId="{5CA31268-2CC3-400D-8FE9-FC0A25D84331}" dt="2021-05-19T14:12:02.674" v="1347"/>
          <ac:cxnSpMkLst>
            <pc:docMk/>
            <pc:sldMk cId="380451916" sldId="1776"/>
            <ac:cxnSpMk id="41" creationId="{177B02E0-E3DF-47F4-B3E4-6117584371B2}"/>
          </ac:cxnSpMkLst>
        </pc:cxnChg>
        <pc:cxnChg chg="add mod">
          <ac:chgData name="Louis Wang" userId="afff2e54-1287-4765-98d1-fc9729dc18f3" providerId="ADAL" clId="{5CA31268-2CC3-400D-8FE9-FC0A25D84331}" dt="2021-05-19T14:12:02.674" v="1347"/>
          <ac:cxnSpMkLst>
            <pc:docMk/>
            <pc:sldMk cId="380451916" sldId="1776"/>
            <ac:cxnSpMk id="43" creationId="{9BA78DD3-A38E-420C-A2D5-378D1903F268}"/>
          </ac:cxnSpMkLst>
        </pc:cxnChg>
        <pc:cxnChg chg="add mod">
          <ac:chgData name="Louis Wang" userId="afff2e54-1287-4765-98d1-fc9729dc18f3" providerId="ADAL" clId="{5CA31268-2CC3-400D-8FE9-FC0A25D84331}" dt="2021-05-19T14:12:29.634" v="1355"/>
          <ac:cxnSpMkLst>
            <pc:docMk/>
            <pc:sldMk cId="380451916" sldId="1776"/>
            <ac:cxnSpMk id="71" creationId="{FDEBBD67-5C1F-4123-9872-265540E13260}"/>
          </ac:cxnSpMkLst>
        </pc:cxnChg>
        <pc:cxnChg chg="add mod">
          <ac:chgData name="Louis Wang" userId="afff2e54-1287-4765-98d1-fc9729dc18f3" providerId="ADAL" clId="{5CA31268-2CC3-400D-8FE9-FC0A25D84331}" dt="2021-05-19T14:12:29.634" v="1355"/>
          <ac:cxnSpMkLst>
            <pc:docMk/>
            <pc:sldMk cId="380451916" sldId="1776"/>
            <ac:cxnSpMk id="73" creationId="{177B02E0-E3DF-47F4-B3E4-6117584371B2}"/>
          </ac:cxnSpMkLst>
        </pc:cxnChg>
        <pc:cxnChg chg="add mod">
          <ac:chgData name="Louis Wang" userId="afff2e54-1287-4765-98d1-fc9729dc18f3" providerId="ADAL" clId="{5CA31268-2CC3-400D-8FE9-FC0A25D84331}" dt="2021-05-19T14:12:29.634" v="1355"/>
          <ac:cxnSpMkLst>
            <pc:docMk/>
            <pc:sldMk cId="380451916" sldId="1776"/>
            <ac:cxnSpMk id="75" creationId="{9BA78DD3-A38E-420C-A2D5-378D1903F268}"/>
          </ac:cxnSpMkLst>
        </pc:cxnChg>
        <pc:cxnChg chg="add mod">
          <ac:chgData name="Louis Wang" userId="afff2e54-1287-4765-98d1-fc9729dc18f3" providerId="ADAL" clId="{5CA31268-2CC3-400D-8FE9-FC0A25D84331}" dt="2021-05-19T14:14:37.806" v="1368" actId="1076"/>
          <ac:cxnSpMkLst>
            <pc:docMk/>
            <pc:sldMk cId="380451916" sldId="1776"/>
            <ac:cxnSpMk id="103" creationId="{FDEBBD67-5C1F-4123-9872-265540E13260}"/>
          </ac:cxnSpMkLst>
        </pc:cxnChg>
        <pc:cxnChg chg="add mod">
          <ac:chgData name="Louis Wang" userId="afff2e54-1287-4765-98d1-fc9729dc18f3" providerId="ADAL" clId="{5CA31268-2CC3-400D-8FE9-FC0A25D84331}" dt="2021-05-19T14:14:37.806" v="1368" actId="1076"/>
          <ac:cxnSpMkLst>
            <pc:docMk/>
            <pc:sldMk cId="380451916" sldId="1776"/>
            <ac:cxnSpMk id="105" creationId="{177B02E0-E3DF-47F4-B3E4-6117584371B2}"/>
          </ac:cxnSpMkLst>
        </pc:cxnChg>
        <pc:cxnChg chg="add mod">
          <ac:chgData name="Louis Wang" userId="afff2e54-1287-4765-98d1-fc9729dc18f3" providerId="ADAL" clId="{5CA31268-2CC3-400D-8FE9-FC0A25D84331}" dt="2021-05-19T14:14:37.806" v="1368" actId="1076"/>
          <ac:cxnSpMkLst>
            <pc:docMk/>
            <pc:sldMk cId="380451916" sldId="1776"/>
            <ac:cxnSpMk id="107" creationId="{9BA78DD3-A38E-420C-A2D5-378D1903F268}"/>
          </ac:cxnSpMkLst>
        </pc:cxnChg>
      </pc:sldChg>
      <pc:sldChg chg="del">
        <pc:chgData name="Louis Wang" userId="afff2e54-1287-4765-98d1-fc9729dc18f3" providerId="ADAL" clId="{5CA31268-2CC3-400D-8FE9-FC0A25D84331}" dt="2021-05-19T15:00:32.767" v="1412" actId="2696"/>
        <pc:sldMkLst>
          <pc:docMk/>
          <pc:sldMk cId="545778957" sldId="1777"/>
        </pc:sldMkLst>
      </pc:sldChg>
      <pc:sldChg chg="del">
        <pc:chgData name="Louis Wang" userId="afff2e54-1287-4765-98d1-fc9729dc18f3" providerId="ADAL" clId="{5CA31268-2CC3-400D-8FE9-FC0A25D84331}" dt="2021-05-19T15:00:32.767" v="1412" actId="2696"/>
        <pc:sldMkLst>
          <pc:docMk/>
          <pc:sldMk cId="329752134" sldId="1778"/>
        </pc:sldMkLst>
      </pc:sldChg>
      <pc:sldChg chg="del">
        <pc:chgData name="Louis Wang" userId="afff2e54-1287-4765-98d1-fc9729dc18f3" providerId="ADAL" clId="{5CA31268-2CC3-400D-8FE9-FC0A25D84331}" dt="2021-05-19T15:00:32.767" v="1412" actId="2696"/>
        <pc:sldMkLst>
          <pc:docMk/>
          <pc:sldMk cId="3915218043" sldId="1779"/>
        </pc:sldMkLst>
      </pc:sldChg>
      <pc:sldChg chg="del">
        <pc:chgData name="Louis Wang" userId="afff2e54-1287-4765-98d1-fc9729dc18f3" providerId="ADAL" clId="{5CA31268-2CC3-400D-8FE9-FC0A25D84331}" dt="2021-05-19T15:00:32.767" v="1412" actId="2696"/>
        <pc:sldMkLst>
          <pc:docMk/>
          <pc:sldMk cId="2562601572" sldId="1780"/>
        </pc:sldMkLst>
      </pc:sldChg>
      <pc:sldChg chg="del">
        <pc:chgData name="Louis Wang" userId="afff2e54-1287-4765-98d1-fc9729dc18f3" providerId="ADAL" clId="{5CA31268-2CC3-400D-8FE9-FC0A25D84331}" dt="2021-05-19T15:00:32.767" v="1412" actId="2696"/>
        <pc:sldMkLst>
          <pc:docMk/>
          <pc:sldMk cId="329989085" sldId="1781"/>
        </pc:sldMkLst>
      </pc:sldChg>
      <pc:sldChg chg="del">
        <pc:chgData name="Louis Wang" userId="afff2e54-1287-4765-98d1-fc9729dc18f3" providerId="ADAL" clId="{5CA31268-2CC3-400D-8FE9-FC0A25D84331}" dt="2021-05-19T15:00:32.767" v="1412" actId="2696"/>
        <pc:sldMkLst>
          <pc:docMk/>
          <pc:sldMk cId="3962855674" sldId="1782"/>
        </pc:sldMkLst>
      </pc:sldChg>
      <pc:sldChg chg="del">
        <pc:chgData name="Louis Wang" userId="afff2e54-1287-4765-98d1-fc9729dc18f3" providerId="ADAL" clId="{5CA31268-2CC3-400D-8FE9-FC0A25D84331}" dt="2021-05-19T15:00:32.767" v="1412" actId="2696"/>
        <pc:sldMkLst>
          <pc:docMk/>
          <pc:sldMk cId="1237192661" sldId="1783"/>
        </pc:sldMkLst>
      </pc:sldChg>
      <pc:sldChg chg="del">
        <pc:chgData name="Louis Wang" userId="afff2e54-1287-4765-98d1-fc9729dc18f3" providerId="ADAL" clId="{5CA31268-2CC3-400D-8FE9-FC0A25D84331}" dt="2021-05-19T01:54:03.554" v="123" actId="2696"/>
        <pc:sldMkLst>
          <pc:docMk/>
          <pc:sldMk cId="3837123043" sldId="1784"/>
        </pc:sldMkLst>
      </pc:sldChg>
      <pc:sldChg chg="del">
        <pc:chgData name="Louis Wang" userId="afff2e54-1287-4765-98d1-fc9729dc18f3" providerId="ADAL" clId="{5CA31268-2CC3-400D-8FE9-FC0A25D84331}" dt="2021-05-19T01:54:03.554" v="123" actId="2696"/>
        <pc:sldMkLst>
          <pc:docMk/>
          <pc:sldMk cId="125732029" sldId="1785"/>
        </pc:sldMkLst>
      </pc:sldChg>
      <pc:sldChg chg="modSp ord">
        <pc:chgData name="Louis Wang" userId="afff2e54-1287-4765-98d1-fc9729dc18f3" providerId="ADAL" clId="{5CA31268-2CC3-400D-8FE9-FC0A25D84331}" dt="2021-05-18T12:33:50.753" v="46" actId="1076"/>
        <pc:sldMkLst>
          <pc:docMk/>
          <pc:sldMk cId="361164894" sldId="1786"/>
        </pc:sldMkLst>
        <pc:picChg chg="mod">
          <ac:chgData name="Louis Wang" userId="afff2e54-1287-4765-98d1-fc9729dc18f3" providerId="ADAL" clId="{5CA31268-2CC3-400D-8FE9-FC0A25D84331}" dt="2021-05-18T12:33:50.753" v="46" actId="1076"/>
          <ac:picMkLst>
            <pc:docMk/>
            <pc:sldMk cId="361164894" sldId="1786"/>
            <ac:picMk id="6148" creationId="{247A9A54-9B69-4D4A-8199-0F5D8534CBFB}"/>
          </ac:picMkLst>
        </pc:picChg>
      </pc:sldChg>
      <pc:sldChg chg="addSp delSp modSp add del mod ord">
        <pc:chgData name="Louis Wang" userId="afff2e54-1287-4765-98d1-fc9729dc18f3" providerId="ADAL" clId="{5CA31268-2CC3-400D-8FE9-FC0A25D84331}" dt="2021-05-18T12:34:13.669" v="50" actId="2696"/>
        <pc:sldMkLst>
          <pc:docMk/>
          <pc:sldMk cId="815733923" sldId="1787"/>
        </pc:sldMkLst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21" creationId="{144E19C6-CBFD-49B0-B3CF-9AA1C325D448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25" creationId="{3AB91DDF-7624-4993-84A4-77F48CACCA9A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26" creationId="{D665B562-0B4B-4AED-9723-31FA70C11CA9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27" creationId="{1BC6D9AB-6F94-4C99-8CC8-7EDD0099A97F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28" creationId="{E850732B-FC92-4EAF-9E40-94F082FE3A59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29" creationId="{CE4F66C0-3904-49AA-B441-21259A6A38AC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30" creationId="{46763443-ECB3-4649-A309-64B1068069FD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31" creationId="{A713FBAD-4A74-44C5-B6FF-A56940957A54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32" creationId="{9F151978-4E2B-4995-ADAB-45882A4A6164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33" creationId="{6536A953-5227-41F4-8199-995311AD7290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34" creationId="{FD3F5CE6-AFE7-4EED-A10F-87DCB98C624C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35" creationId="{63E124EC-B127-4A1E-A5BE-5B63816DA858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36" creationId="{7BFB78C5-9E0E-4679-82B1-9221C666D8B6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37" creationId="{0092FF16-35F0-4823-B024-1FBF39A7775C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38" creationId="{76629EAF-E716-478A-AC74-D9C6B2917485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39" creationId="{F69DED1B-96AA-4F72-9F46-F202BB35F19B}"/>
          </ac:spMkLst>
        </pc:spChg>
        <pc:spChg chg="mod">
          <ac:chgData name="Louis Wang" userId="afff2e54-1287-4765-98d1-fc9729dc18f3" providerId="ADAL" clId="{5CA31268-2CC3-400D-8FE9-FC0A25D84331}" dt="2021-05-18T12:33:39.733" v="44"/>
          <ac:spMkLst>
            <pc:docMk/>
            <pc:sldMk cId="815733923" sldId="1787"/>
            <ac:spMk id="40" creationId="{A9F7BADA-E776-4139-A579-DC90539746BE}"/>
          </ac:spMkLst>
        </pc:spChg>
        <pc:grpChg chg="mod">
          <ac:chgData name="Louis Wang" userId="afff2e54-1287-4765-98d1-fc9729dc18f3" providerId="ADAL" clId="{5CA31268-2CC3-400D-8FE9-FC0A25D84331}" dt="2021-05-18T12:33:39.733" v="44"/>
          <ac:grpSpMkLst>
            <pc:docMk/>
            <pc:sldMk cId="815733923" sldId="1787"/>
            <ac:grpSpMk id="2" creationId="{2AE8C63F-852C-4FFA-A944-17AD94634D58}"/>
          </ac:grpSpMkLst>
        </pc:grpChg>
        <pc:grpChg chg="mod">
          <ac:chgData name="Louis Wang" userId="afff2e54-1287-4765-98d1-fc9729dc18f3" providerId="ADAL" clId="{5CA31268-2CC3-400D-8FE9-FC0A25D84331}" dt="2021-05-18T12:33:39.733" v="44"/>
          <ac:grpSpMkLst>
            <pc:docMk/>
            <pc:sldMk cId="815733923" sldId="1787"/>
            <ac:grpSpMk id="3" creationId="{00000000-0000-0000-0000-000000000000}"/>
          </ac:grpSpMkLst>
        </pc:grpChg>
        <pc:picChg chg="add del mod">
          <ac:chgData name="Louis Wang" userId="afff2e54-1287-4765-98d1-fc9729dc18f3" providerId="ADAL" clId="{5CA31268-2CC3-400D-8FE9-FC0A25D84331}" dt="2021-05-18T12:34:10.853" v="49" actId="478"/>
          <ac:picMkLst>
            <pc:docMk/>
            <pc:sldMk cId="815733923" sldId="1787"/>
            <ac:picMk id="22" creationId="{21F0C10A-D347-46D4-AFF9-A374F4086F8A}"/>
          </ac:picMkLst>
        </pc:picChg>
      </pc:sldChg>
      <pc:sldChg chg="addSp delSp modSp new mod ord">
        <pc:chgData name="Louis Wang" userId="afff2e54-1287-4765-98d1-fc9729dc18f3" providerId="ADAL" clId="{5CA31268-2CC3-400D-8FE9-FC0A25D84331}" dt="2021-05-19T01:51:30.261" v="80" actId="20577"/>
        <pc:sldMkLst>
          <pc:docMk/>
          <pc:sldMk cId="2805936426" sldId="1787"/>
        </pc:sldMkLst>
        <pc:spChg chg="mod">
          <ac:chgData name="Louis Wang" userId="afff2e54-1287-4765-98d1-fc9729dc18f3" providerId="ADAL" clId="{5CA31268-2CC3-400D-8FE9-FC0A25D84331}" dt="2021-05-19T01:51:30.261" v="80" actId="20577"/>
          <ac:spMkLst>
            <pc:docMk/>
            <pc:sldMk cId="2805936426" sldId="1787"/>
            <ac:spMk id="2" creationId="{5DE9B6BA-067D-47EA-A601-A120AAFF271E}"/>
          </ac:spMkLst>
        </pc:spChg>
        <pc:spChg chg="del">
          <ac:chgData name="Louis Wang" userId="afff2e54-1287-4765-98d1-fc9729dc18f3" providerId="ADAL" clId="{5CA31268-2CC3-400D-8FE9-FC0A25D84331}" dt="2021-05-19T01:47:42.559" v="57" actId="478"/>
          <ac:spMkLst>
            <pc:docMk/>
            <pc:sldMk cId="2805936426" sldId="1787"/>
            <ac:spMk id="3" creationId="{62BACD8C-2F2F-4DDB-AC66-04DD50A8A2F5}"/>
          </ac:spMkLst>
        </pc:spChg>
        <pc:picChg chg="add mod">
          <ac:chgData name="Louis Wang" userId="afff2e54-1287-4765-98d1-fc9729dc18f3" providerId="ADAL" clId="{5CA31268-2CC3-400D-8FE9-FC0A25D84331}" dt="2021-05-19T01:51:24.536" v="64" actId="1076"/>
          <ac:picMkLst>
            <pc:docMk/>
            <pc:sldMk cId="2805936426" sldId="1787"/>
            <ac:picMk id="1026" creationId="{6C27CB70-2852-4DDC-832A-59A4BBD3297F}"/>
          </ac:picMkLst>
        </pc:picChg>
      </pc:sldChg>
      <pc:sldChg chg="addSp delSp modSp new mod">
        <pc:chgData name="Louis Wang" userId="afff2e54-1287-4765-98d1-fc9729dc18f3" providerId="ADAL" clId="{5CA31268-2CC3-400D-8FE9-FC0A25D84331}" dt="2021-05-19T01:58:07.133" v="161" actId="478"/>
        <pc:sldMkLst>
          <pc:docMk/>
          <pc:sldMk cId="3524113493" sldId="1788"/>
        </pc:sldMkLst>
        <pc:spChg chg="mod">
          <ac:chgData name="Louis Wang" userId="afff2e54-1287-4765-98d1-fc9729dc18f3" providerId="ADAL" clId="{5CA31268-2CC3-400D-8FE9-FC0A25D84331}" dt="2021-05-19T01:52:03.605" v="122" actId="20577"/>
          <ac:spMkLst>
            <pc:docMk/>
            <pc:sldMk cId="3524113493" sldId="1788"/>
            <ac:spMk id="2" creationId="{E520B073-3B1C-4354-9D35-D0789D831D99}"/>
          </ac:spMkLst>
        </pc:spChg>
        <pc:spChg chg="del">
          <ac:chgData name="Louis Wang" userId="afff2e54-1287-4765-98d1-fc9729dc18f3" providerId="ADAL" clId="{5CA31268-2CC3-400D-8FE9-FC0A25D84331}" dt="2021-05-19T01:58:07.133" v="161" actId="478"/>
          <ac:spMkLst>
            <pc:docMk/>
            <pc:sldMk cId="3524113493" sldId="1788"/>
            <ac:spMk id="3" creationId="{A610D558-3770-4817-AD4F-D87C81E0D403}"/>
          </ac:spMkLst>
        </pc:spChg>
        <pc:picChg chg="add mod">
          <ac:chgData name="Louis Wang" userId="afff2e54-1287-4765-98d1-fc9729dc18f3" providerId="ADAL" clId="{5CA31268-2CC3-400D-8FE9-FC0A25D84331}" dt="2021-05-19T01:51:38.348" v="81" actId="1076"/>
          <ac:picMkLst>
            <pc:docMk/>
            <pc:sldMk cId="3524113493" sldId="1788"/>
            <ac:picMk id="2050" creationId="{B1A1AF3A-1123-43A7-9F12-D8EADDA55847}"/>
          </ac:picMkLst>
        </pc:picChg>
      </pc:sldChg>
      <pc:sldChg chg="addSp delSp modSp new mod">
        <pc:chgData name="Louis Wang" userId="afff2e54-1287-4765-98d1-fc9729dc18f3" providerId="ADAL" clId="{5CA31268-2CC3-400D-8FE9-FC0A25D84331}" dt="2021-05-19T01:57:53.764" v="160" actId="20577"/>
        <pc:sldMkLst>
          <pc:docMk/>
          <pc:sldMk cId="479957337" sldId="1789"/>
        </pc:sldMkLst>
        <pc:spChg chg="mod">
          <ac:chgData name="Louis Wang" userId="afff2e54-1287-4765-98d1-fc9729dc18f3" providerId="ADAL" clId="{5CA31268-2CC3-400D-8FE9-FC0A25D84331}" dt="2021-05-19T01:57:53.764" v="160" actId="20577"/>
          <ac:spMkLst>
            <pc:docMk/>
            <pc:sldMk cId="479957337" sldId="1789"/>
            <ac:spMk id="2" creationId="{79B7E19B-D008-4315-924B-5661F2477C1F}"/>
          </ac:spMkLst>
        </pc:spChg>
        <pc:spChg chg="del">
          <ac:chgData name="Louis Wang" userId="afff2e54-1287-4765-98d1-fc9729dc18f3" providerId="ADAL" clId="{5CA31268-2CC3-400D-8FE9-FC0A25D84331}" dt="2021-05-19T01:55:52.181" v="129" actId="478"/>
          <ac:spMkLst>
            <pc:docMk/>
            <pc:sldMk cId="479957337" sldId="1789"/>
            <ac:spMk id="3" creationId="{DABD6ED3-88E9-42D7-85D1-634B220F16FE}"/>
          </ac:spMkLst>
        </pc:spChg>
        <pc:picChg chg="add mod">
          <ac:chgData name="Louis Wang" userId="afff2e54-1287-4765-98d1-fc9729dc18f3" providerId="ADAL" clId="{5CA31268-2CC3-400D-8FE9-FC0A25D84331}" dt="2021-05-19T01:56:10.742" v="132" actId="1076"/>
          <ac:picMkLst>
            <pc:docMk/>
            <pc:sldMk cId="479957337" sldId="1789"/>
            <ac:picMk id="5" creationId="{5CB891BF-EC80-454B-AA3C-2C41A823B38A}"/>
          </ac:picMkLst>
        </pc:picChg>
      </pc:sldChg>
      <pc:sldChg chg="modSp new del mod ord">
        <pc:chgData name="Louis Wang" userId="afff2e54-1287-4765-98d1-fc9729dc18f3" providerId="ADAL" clId="{5CA31268-2CC3-400D-8FE9-FC0A25D84331}" dt="2021-05-19T11:05:29.175" v="420" actId="47"/>
        <pc:sldMkLst>
          <pc:docMk/>
          <pc:sldMk cId="3847322279" sldId="1790"/>
        </pc:sldMkLst>
        <pc:spChg chg="mod">
          <ac:chgData name="Louis Wang" userId="afff2e54-1287-4765-98d1-fc9729dc18f3" providerId="ADAL" clId="{5CA31268-2CC3-400D-8FE9-FC0A25D84331}" dt="2021-05-19T10:34:46.299" v="263" actId="20577"/>
          <ac:spMkLst>
            <pc:docMk/>
            <pc:sldMk cId="3847322279" sldId="1790"/>
            <ac:spMk id="2" creationId="{9D90A45A-766E-45BF-A695-7E0CC59F591A}"/>
          </ac:spMkLst>
        </pc:spChg>
      </pc:sldChg>
      <pc:sldChg chg="addSp delSp modSp add del mod">
        <pc:chgData name="Louis Wang" userId="afff2e54-1287-4765-98d1-fc9729dc18f3" providerId="ADAL" clId="{5CA31268-2CC3-400D-8FE9-FC0A25D84331}" dt="2021-05-19T11:14:01.239" v="474" actId="2696"/>
        <pc:sldMkLst>
          <pc:docMk/>
          <pc:sldMk cId="1310992266" sldId="1791"/>
        </pc:sldMkLst>
        <pc:spChg chg="mod">
          <ac:chgData name="Louis Wang" userId="afff2e54-1287-4765-98d1-fc9729dc18f3" providerId="ADAL" clId="{5CA31268-2CC3-400D-8FE9-FC0A25D84331}" dt="2021-05-19T11:00:53.323" v="329" actId="113"/>
          <ac:spMkLst>
            <pc:docMk/>
            <pc:sldMk cId="1310992266" sldId="1791"/>
            <ac:spMk id="2" creationId="{24BF9CE6-F2B1-4AB7-971C-617A61ED30E7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6" creationId="{C35129F1-60F4-4218-AEC3-4B3FEF92A160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7" creationId="{B2E62F8C-1939-460F-A490-F8986C9FBC9A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8" creationId="{913C1DCD-E088-4261-80FE-5F36E53A2637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9" creationId="{BFFFD48C-6E6E-4025-B102-DB9FD11B1EB9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14" creationId="{72CCC47E-FD99-405B-BF42-D947548519B3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15" creationId="{7C3F077D-3F69-40E1-AD01-31AD04B1A632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16" creationId="{96E5D12B-81DB-4F8C-AC18-6CEF58346B71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17" creationId="{126745F4-5845-4EFC-892D-46D0A71C7439}"/>
          </ac:spMkLst>
        </pc:spChg>
        <pc:spChg chg="mod">
          <ac:chgData name="Louis Wang" userId="afff2e54-1287-4765-98d1-fc9729dc18f3" providerId="ADAL" clId="{5CA31268-2CC3-400D-8FE9-FC0A25D84331}" dt="2021-05-19T10:50:16.198" v="276" actId="20577"/>
          <ac:spMkLst>
            <pc:docMk/>
            <pc:sldMk cId="1310992266" sldId="1791"/>
            <ac:spMk id="19" creationId="{F647734C-44ED-4FDF-965F-30B370AF5124}"/>
          </ac:spMkLst>
        </pc:spChg>
        <pc:spChg chg="mod">
          <ac:chgData name="Louis Wang" userId="afff2e54-1287-4765-98d1-fc9729dc18f3" providerId="ADAL" clId="{5CA31268-2CC3-400D-8FE9-FC0A25D84331}" dt="2021-05-19T10:50:39.028" v="277"/>
          <ac:spMkLst>
            <pc:docMk/>
            <pc:sldMk cId="1310992266" sldId="1791"/>
            <ac:spMk id="20" creationId="{980A0069-DD69-4DC5-A86F-E64442EE1B56}"/>
          </ac:spMkLst>
        </pc:spChg>
        <pc:spChg chg="del mod">
          <ac:chgData name="Louis Wang" userId="afff2e54-1287-4765-98d1-fc9729dc18f3" providerId="ADAL" clId="{5CA31268-2CC3-400D-8FE9-FC0A25D84331}" dt="2021-05-19T10:50:46.110" v="278" actId="478"/>
          <ac:spMkLst>
            <pc:docMk/>
            <pc:sldMk cId="1310992266" sldId="1791"/>
            <ac:spMk id="21" creationId="{B1868AAF-D774-4536-956D-AE3A0B646878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23" creationId="{9526B590-5148-438A-B156-B185623224C8}"/>
          </ac:spMkLst>
        </pc:spChg>
        <pc:spChg chg="mod">
          <ac:chgData name="Louis Wang" userId="afff2e54-1287-4765-98d1-fc9729dc18f3" providerId="ADAL" clId="{5CA31268-2CC3-400D-8FE9-FC0A25D84331}" dt="2021-05-19T10:51:26.739" v="280"/>
          <ac:spMkLst>
            <pc:docMk/>
            <pc:sldMk cId="1310992266" sldId="1791"/>
            <ac:spMk id="24" creationId="{8BE0778A-998B-4CA1-A4F7-95E9D25430A9}"/>
          </ac:spMkLst>
        </pc:spChg>
        <pc:spChg chg="del mod">
          <ac:chgData name="Louis Wang" userId="afff2e54-1287-4765-98d1-fc9729dc18f3" providerId="ADAL" clId="{5CA31268-2CC3-400D-8FE9-FC0A25D84331}" dt="2021-05-19T10:50:50.735" v="279" actId="478"/>
          <ac:spMkLst>
            <pc:docMk/>
            <pc:sldMk cId="1310992266" sldId="1791"/>
            <ac:spMk id="25" creationId="{CC354A0B-C3CA-4F8C-B8D2-BADB753F6B59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27" creationId="{52112831-EB50-455F-BFE2-EF7CEC999D6B}"/>
          </ac:spMkLst>
        </pc:spChg>
        <pc:spChg chg="mod">
          <ac:chgData name="Louis Wang" userId="afff2e54-1287-4765-98d1-fc9729dc18f3" providerId="ADAL" clId="{5CA31268-2CC3-400D-8FE9-FC0A25D84331}" dt="2021-05-19T10:53:20.412" v="281"/>
          <ac:spMkLst>
            <pc:docMk/>
            <pc:sldMk cId="1310992266" sldId="1791"/>
            <ac:spMk id="28" creationId="{C40C2418-5D2C-42B2-A185-579759720AF9}"/>
          </ac:spMkLst>
        </pc:spChg>
        <pc:spChg chg="del mod">
          <ac:chgData name="Louis Wang" userId="afff2e54-1287-4765-98d1-fc9729dc18f3" providerId="ADAL" clId="{5CA31268-2CC3-400D-8FE9-FC0A25D84331}" dt="2021-05-19T10:53:23.574" v="282" actId="478"/>
          <ac:spMkLst>
            <pc:docMk/>
            <pc:sldMk cId="1310992266" sldId="1791"/>
            <ac:spMk id="29" creationId="{D34C8B06-5A35-4082-B269-A65FF3160308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31" creationId="{4AD2F94D-F06D-443D-BD18-896FD5F14F68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32" creationId="{4A6431A1-6F9C-4E39-9DBC-88BE00D8A631}"/>
          </ac:spMkLst>
        </pc:spChg>
        <pc:spChg chg="mod">
          <ac:chgData name="Louis Wang" userId="afff2e54-1287-4765-98d1-fc9729dc18f3" providerId="ADAL" clId="{5CA31268-2CC3-400D-8FE9-FC0A25D84331}" dt="2021-05-19T10:50:01.889" v="273"/>
          <ac:spMkLst>
            <pc:docMk/>
            <pc:sldMk cId="1310992266" sldId="1791"/>
            <ac:spMk id="33" creationId="{FD01CC17-37B0-43DE-AE70-ECC1A469C59A}"/>
          </ac:spMkLst>
        </pc:spChg>
        <pc:grpChg chg="add mod">
          <ac:chgData name="Louis Wang" userId="afff2e54-1287-4765-98d1-fc9729dc18f3" providerId="ADAL" clId="{5CA31268-2CC3-400D-8FE9-FC0A25D84331}" dt="2021-05-19T10:50:01.889" v="273"/>
          <ac:grpSpMkLst>
            <pc:docMk/>
            <pc:sldMk cId="1310992266" sldId="1791"/>
            <ac:grpSpMk id="5" creationId="{6B809444-A79A-4FE5-8D0D-EB1F5D0CC683}"/>
          </ac:grpSpMkLst>
        </pc:grpChg>
        <pc:grpChg chg="mod">
          <ac:chgData name="Louis Wang" userId="afff2e54-1287-4765-98d1-fc9729dc18f3" providerId="ADAL" clId="{5CA31268-2CC3-400D-8FE9-FC0A25D84331}" dt="2021-05-19T10:50:01.889" v="273"/>
          <ac:grpSpMkLst>
            <pc:docMk/>
            <pc:sldMk cId="1310992266" sldId="1791"/>
            <ac:grpSpMk id="10" creationId="{976D87DA-77E0-43FB-97B5-1831C8D02596}"/>
          </ac:grpSpMkLst>
        </pc:grpChg>
        <pc:grpChg chg="mod">
          <ac:chgData name="Louis Wang" userId="afff2e54-1287-4765-98d1-fc9729dc18f3" providerId="ADAL" clId="{5CA31268-2CC3-400D-8FE9-FC0A25D84331}" dt="2021-05-19T10:50:01.889" v="273"/>
          <ac:grpSpMkLst>
            <pc:docMk/>
            <pc:sldMk cId="1310992266" sldId="1791"/>
            <ac:grpSpMk id="11" creationId="{57ACDA23-019E-4C94-8425-9C1A7AC929D8}"/>
          </ac:grpSpMkLst>
        </pc:grpChg>
        <pc:grpChg chg="mod">
          <ac:chgData name="Louis Wang" userId="afff2e54-1287-4765-98d1-fc9729dc18f3" providerId="ADAL" clId="{5CA31268-2CC3-400D-8FE9-FC0A25D84331}" dt="2021-05-19T10:50:01.889" v="273"/>
          <ac:grpSpMkLst>
            <pc:docMk/>
            <pc:sldMk cId="1310992266" sldId="1791"/>
            <ac:grpSpMk id="12" creationId="{5B257324-C46C-4F25-9204-007A321565E1}"/>
          </ac:grpSpMkLst>
        </pc:grpChg>
        <pc:grpChg chg="mod">
          <ac:chgData name="Louis Wang" userId="afff2e54-1287-4765-98d1-fc9729dc18f3" providerId="ADAL" clId="{5CA31268-2CC3-400D-8FE9-FC0A25D84331}" dt="2021-05-19T10:50:01.889" v="273"/>
          <ac:grpSpMkLst>
            <pc:docMk/>
            <pc:sldMk cId="1310992266" sldId="1791"/>
            <ac:grpSpMk id="13" creationId="{BB4D3D6E-67E2-4097-A60C-57E931415E39}"/>
          </ac:grpSpMkLst>
        </pc:grpChg>
        <pc:grpChg chg="del mod">
          <ac:chgData name="Louis Wang" userId="afff2e54-1287-4765-98d1-fc9729dc18f3" providerId="ADAL" clId="{5CA31268-2CC3-400D-8FE9-FC0A25D84331}" dt="2021-05-19T10:50:46.110" v="278" actId="478"/>
          <ac:grpSpMkLst>
            <pc:docMk/>
            <pc:sldMk cId="1310992266" sldId="1791"/>
            <ac:grpSpMk id="18" creationId="{13EB7159-8B2A-487D-93DA-18283432AA46}"/>
          </ac:grpSpMkLst>
        </pc:grpChg>
        <pc:grpChg chg="del mod">
          <ac:chgData name="Louis Wang" userId="afff2e54-1287-4765-98d1-fc9729dc18f3" providerId="ADAL" clId="{5CA31268-2CC3-400D-8FE9-FC0A25D84331}" dt="2021-05-19T10:50:50.735" v="279" actId="478"/>
          <ac:grpSpMkLst>
            <pc:docMk/>
            <pc:sldMk cId="1310992266" sldId="1791"/>
            <ac:grpSpMk id="22" creationId="{C4EF46DA-080B-43BB-81AF-464D61070EE1}"/>
          </ac:grpSpMkLst>
        </pc:grpChg>
        <pc:grpChg chg="del mod">
          <ac:chgData name="Louis Wang" userId="afff2e54-1287-4765-98d1-fc9729dc18f3" providerId="ADAL" clId="{5CA31268-2CC3-400D-8FE9-FC0A25D84331}" dt="2021-05-19T10:53:23.574" v="282" actId="478"/>
          <ac:grpSpMkLst>
            <pc:docMk/>
            <pc:sldMk cId="1310992266" sldId="1791"/>
            <ac:grpSpMk id="26" creationId="{4CCFBDFD-D324-49D6-B563-F26BF3D576C9}"/>
          </ac:grpSpMkLst>
        </pc:grpChg>
        <pc:grpChg chg="mod">
          <ac:chgData name="Louis Wang" userId="afff2e54-1287-4765-98d1-fc9729dc18f3" providerId="ADAL" clId="{5CA31268-2CC3-400D-8FE9-FC0A25D84331}" dt="2021-05-19T10:50:01.889" v="273"/>
          <ac:grpSpMkLst>
            <pc:docMk/>
            <pc:sldMk cId="1310992266" sldId="1791"/>
            <ac:grpSpMk id="30" creationId="{4C457475-4C4D-40EB-9654-9AEED36D1C6D}"/>
          </ac:grpSpMkLst>
        </pc:grpChg>
      </pc:sldChg>
      <pc:sldChg chg="addSp delSp modSp new mod modShow">
        <pc:chgData name="Louis Wang" userId="afff2e54-1287-4765-98d1-fc9729dc18f3" providerId="ADAL" clId="{5CA31268-2CC3-400D-8FE9-FC0A25D84331}" dt="2021-05-19T14:20:34.588" v="1369" actId="729"/>
        <pc:sldMkLst>
          <pc:docMk/>
          <pc:sldMk cId="3754017521" sldId="1792"/>
        </pc:sldMkLst>
        <pc:spChg chg="del mod">
          <ac:chgData name="Louis Wang" userId="afff2e54-1287-4765-98d1-fc9729dc18f3" providerId="ADAL" clId="{5CA31268-2CC3-400D-8FE9-FC0A25D84331}" dt="2021-05-19T11:13:40.989" v="473"/>
          <ac:spMkLst>
            <pc:docMk/>
            <pc:sldMk cId="3754017521" sldId="1792"/>
            <ac:spMk id="2" creationId="{368FB275-47B7-4FC2-96AE-0EA62A7C9CCF}"/>
          </ac:spMkLst>
        </pc:spChg>
        <pc:spChg chg="del">
          <ac:chgData name="Louis Wang" userId="afff2e54-1287-4765-98d1-fc9729dc18f3" providerId="ADAL" clId="{5CA31268-2CC3-400D-8FE9-FC0A25D84331}" dt="2021-05-19T11:11:06.009" v="458" actId="478"/>
          <ac:spMkLst>
            <pc:docMk/>
            <pc:sldMk cId="3754017521" sldId="1792"/>
            <ac:spMk id="3" creationId="{B96FBE3D-1429-47E2-AE8A-E4747224D12E}"/>
          </ac:spMkLst>
        </pc:spChg>
        <pc:spChg chg="add mod">
          <ac:chgData name="Louis Wang" userId="afff2e54-1287-4765-98d1-fc9729dc18f3" providerId="ADAL" clId="{5CA31268-2CC3-400D-8FE9-FC0A25D84331}" dt="2021-05-19T11:13:40.989" v="473"/>
          <ac:spMkLst>
            <pc:docMk/>
            <pc:sldMk cId="3754017521" sldId="1792"/>
            <ac:spMk id="7" creationId="{61E2914C-5367-450B-A2A2-BF564C054996}"/>
          </ac:spMkLst>
        </pc:spChg>
        <pc:picChg chg="add mod">
          <ac:chgData name="Louis Wang" userId="afff2e54-1287-4765-98d1-fc9729dc18f3" providerId="ADAL" clId="{5CA31268-2CC3-400D-8FE9-FC0A25D84331}" dt="2021-05-19T11:11:00.670" v="457" actId="1076"/>
          <ac:picMkLst>
            <pc:docMk/>
            <pc:sldMk cId="3754017521" sldId="1792"/>
            <ac:picMk id="6" creationId="{32E01C66-DFF4-46BC-A4D6-22EB8AFF79E9}"/>
          </ac:picMkLst>
        </pc:picChg>
      </pc:sldChg>
      <pc:sldChg chg="addSp delSp modSp new mod ord">
        <pc:chgData name="Louis Wang" userId="afff2e54-1287-4765-98d1-fc9729dc18f3" providerId="ADAL" clId="{5CA31268-2CC3-400D-8FE9-FC0A25D84331}" dt="2021-05-19T11:12:32.198" v="469"/>
        <pc:sldMkLst>
          <pc:docMk/>
          <pc:sldMk cId="3676393404" sldId="1793"/>
        </pc:sldMkLst>
        <pc:spChg chg="del">
          <ac:chgData name="Louis Wang" userId="afff2e54-1287-4765-98d1-fc9729dc18f3" providerId="ADAL" clId="{5CA31268-2CC3-400D-8FE9-FC0A25D84331}" dt="2021-05-19T11:12:32.198" v="469"/>
          <ac:spMkLst>
            <pc:docMk/>
            <pc:sldMk cId="3676393404" sldId="1793"/>
            <ac:spMk id="2" creationId="{4F350813-78C9-41DB-85C9-C0E49A118D0B}"/>
          </ac:spMkLst>
        </pc:spChg>
        <pc:spChg chg="del">
          <ac:chgData name="Louis Wang" userId="afff2e54-1287-4765-98d1-fc9729dc18f3" providerId="ADAL" clId="{5CA31268-2CC3-400D-8FE9-FC0A25D84331}" dt="2021-05-19T11:12:15.040" v="466" actId="478"/>
          <ac:spMkLst>
            <pc:docMk/>
            <pc:sldMk cId="3676393404" sldId="1793"/>
            <ac:spMk id="3" creationId="{25A9DAFA-6A9E-4DEF-8830-5E2588D4402E}"/>
          </ac:spMkLst>
        </pc:spChg>
        <pc:spChg chg="add del mod">
          <ac:chgData name="Louis Wang" userId="afff2e54-1287-4765-98d1-fc9729dc18f3" providerId="ADAL" clId="{5CA31268-2CC3-400D-8FE9-FC0A25D84331}" dt="2021-05-19T11:12:30.689" v="468"/>
          <ac:spMkLst>
            <pc:docMk/>
            <pc:sldMk cId="3676393404" sldId="1793"/>
            <ac:spMk id="6" creationId="{23519CE5-660A-4F5B-AC50-893C92987504}"/>
          </ac:spMkLst>
        </pc:spChg>
        <pc:spChg chg="add mod">
          <ac:chgData name="Louis Wang" userId="afff2e54-1287-4765-98d1-fc9729dc18f3" providerId="ADAL" clId="{5CA31268-2CC3-400D-8FE9-FC0A25D84331}" dt="2021-05-19T11:12:32.198" v="469"/>
          <ac:spMkLst>
            <pc:docMk/>
            <pc:sldMk cId="3676393404" sldId="1793"/>
            <ac:spMk id="7" creationId="{2643C900-3A1E-4F6E-8353-9C7316841E36}"/>
          </ac:spMkLst>
        </pc:spChg>
        <pc:picChg chg="add mod">
          <ac:chgData name="Louis Wang" userId="afff2e54-1287-4765-98d1-fc9729dc18f3" providerId="ADAL" clId="{5CA31268-2CC3-400D-8FE9-FC0A25D84331}" dt="2021-05-19T11:12:11.587" v="465" actId="1076"/>
          <ac:picMkLst>
            <pc:docMk/>
            <pc:sldMk cId="3676393404" sldId="1793"/>
            <ac:picMk id="5" creationId="{DAB2046F-57D6-426F-B070-E53199B2F0AB}"/>
          </ac:picMkLst>
        </pc:picChg>
      </pc:sldChg>
      <pc:sldChg chg="addSp modSp add del mod modShow">
        <pc:chgData name="Louis Wang" userId="afff2e54-1287-4765-98d1-fc9729dc18f3" providerId="ADAL" clId="{5CA31268-2CC3-400D-8FE9-FC0A25D84331}" dt="2021-05-19T15:00:32.767" v="1412" actId="2696"/>
        <pc:sldMkLst>
          <pc:docMk/>
          <pc:sldMk cId="2300559129" sldId="1794"/>
        </pc:sldMkLst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13" creationId="{AFA71294-9B93-4EA1-8E6D-846449B99FD7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16" creationId="{2B3E6AD6-6A28-4753-B6E6-BC348E3C649D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17" creationId="{6956A0F5-8032-4DA1-84E4-F5C724998A35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19" creationId="{BB4CA5C7-5F4D-42AA-8F8D-2044F9B62877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20" creationId="{2BA99FC6-E143-466D-BA13-75BD33F45AAD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21" creationId="{6ECDA187-5B4B-4E07-BA2C-29BA7D749F45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23" creationId="{3C09D24C-D4EC-4EB2-94A4-4B3069D3BA74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27" creationId="{2BEB3D57-DD75-4750-AE43-BB876429E6EB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28" creationId="{7C5974FE-155D-4496-96A3-DB5C89B77547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29" creationId="{882626C2-61A0-4DDE-B8AF-98F437229510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30" creationId="{B28BAEB8-22B4-438B-A204-FDE9201E7019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31" creationId="{1F364860-CA46-493B-860A-95C99DBF7A94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33" creationId="{400A1803-6BE8-48AF-AE81-64C4FA24F043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37" creationId="{A36935F2-03AF-4DFD-87DC-855694C02592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38" creationId="{666EFF12-A19B-4A4F-A8C2-E0CF3CAE4D12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39" creationId="{89BDBA28-1F0F-4E00-866C-C75092EDCFC6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40" creationId="{2D9DC657-8A96-43BA-8540-3E2624B665B7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41" creationId="{FF6D4881-7639-48DC-8712-1E6595114167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43" creationId="{54AC6B12-73E5-4FD5-8F11-F70FB3E84189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47" creationId="{B7E13026-7096-4433-B6AC-9E7BDC8F8BF7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48" creationId="{9EDCE3A8-72E4-4396-985B-17C2544366AD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49" creationId="{DCD8165A-2517-4372-9D96-A4208A7AB2A5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50" creationId="{97ED197C-FAFC-4DF8-B16A-D47E01E0EB5A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51" creationId="{34468994-29F0-46EB-8F62-FAA3F14E45A6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53" creationId="{3075B007-4644-4F86-B29E-0505FFA23626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57" creationId="{1BD4641F-0E40-43B1-B294-872A338F18CE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58" creationId="{173ACDE4-F3C6-4E73-9281-85382EC6B946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59" creationId="{1E0AE7F3-D7A5-47C5-ABF5-14B1B36532EE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60" creationId="{562EEE8E-7328-4743-AED9-1C3EF8C8CD0A}"/>
          </ac:spMkLst>
        </pc:spChg>
        <pc:spChg chg="mod">
          <ac:chgData name="Louis Wang" userId="afff2e54-1287-4765-98d1-fc9729dc18f3" providerId="ADAL" clId="{5CA31268-2CC3-400D-8FE9-FC0A25D84331}" dt="2021-05-19T11:27:46.088" v="556"/>
          <ac:spMkLst>
            <pc:docMk/>
            <pc:sldMk cId="2300559129" sldId="1794"/>
            <ac:spMk id="61" creationId="{8EFD49DF-244F-43ED-90BE-F7AEB7D39F19}"/>
          </ac:spMkLst>
        </pc:spChg>
        <pc:grpChg chg="add 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5" creationId="{5D6AC742-734B-41BC-BEB1-CE6D89CADF00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7" creationId="{8F33D240-B9E2-4192-B8A1-D5981CA56302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8" creationId="{EFC55B5E-A380-4930-B085-B7478DF71785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9" creationId="{3C5B622D-6982-4817-9589-AFE64B92BEA7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10" creationId="{BD38735D-33C1-4321-8CE6-DA4A881D076D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11" creationId="{B2D207A9-9D8B-4A9D-89F6-1AAE9C8A1A26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12" creationId="{4F54D0B5-42DC-4DC7-A000-5603D219FDFB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14" creationId="{A01A1C20-99B7-4B81-9905-E1A9BC9F30CE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15" creationId="{007A6B49-B60B-4799-AC26-A0B4989F5B71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22" creationId="{52920D7D-18C6-4732-9618-E21FE82AAF32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24" creationId="{4229EF57-9F8D-4C19-B840-8FE5E3693956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25" creationId="{EA4489D0-586D-402D-95DF-5D41A6472213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32" creationId="{D98A1974-0BF0-40DA-B75D-68736B19905E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34" creationId="{1B20C429-4639-45F1-8C9F-CCC613AFA322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35" creationId="{9E3C17CB-4CB4-4680-BD4D-411ACF8E1C43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42" creationId="{13AF399E-8B3D-4825-9B38-AB778ABCC13B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44" creationId="{97E1E596-2658-492F-90BF-056B6C9E73C7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45" creationId="{753021E5-BF3F-4B47-AA5C-C7A04ECE90F8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52" creationId="{6C6ACA25-EC6C-4651-AF41-837C5E5A99B5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54" creationId="{DAC7EF6F-25BE-4851-A839-E7783290B147}"/>
          </ac:grpSpMkLst>
        </pc:grpChg>
        <pc:grpChg chg="mod">
          <ac:chgData name="Louis Wang" userId="afff2e54-1287-4765-98d1-fc9729dc18f3" providerId="ADAL" clId="{5CA31268-2CC3-400D-8FE9-FC0A25D84331}" dt="2021-05-19T11:27:46.088" v="556"/>
          <ac:grpSpMkLst>
            <pc:docMk/>
            <pc:sldMk cId="2300559129" sldId="1794"/>
            <ac:grpSpMk id="55" creationId="{E5F1CEEC-73BF-4EE2-881B-40C3F429C03C}"/>
          </ac:grpSpMkLst>
        </pc:grpChg>
        <pc:cxnChg chg="mod">
          <ac:chgData name="Louis Wang" userId="afff2e54-1287-4765-98d1-fc9729dc18f3" providerId="ADAL" clId="{5CA31268-2CC3-400D-8FE9-FC0A25D84331}" dt="2021-05-19T11:27:46.088" v="556"/>
          <ac:cxnSpMkLst>
            <pc:docMk/>
            <pc:sldMk cId="2300559129" sldId="1794"/>
            <ac:cxnSpMk id="6" creationId="{0E30F195-C51B-44A6-95B1-F31A7E23A89D}"/>
          </ac:cxnSpMkLst>
        </pc:cxnChg>
        <pc:cxnChg chg="mod">
          <ac:chgData name="Louis Wang" userId="afff2e54-1287-4765-98d1-fc9729dc18f3" providerId="ADAL" clId="{5CA31268-2CC3-400D-8FE9-FC0A25D84331}" dt="2021-05-19T11:27:46.088" v="556"/>
          <ac:cxnSpMkLst>
            <pc:docMk/>
            <pc:sldMk cId="2300559129" sldId="1794"/>
            <ac:cxnSpMk id="18" creationId="{D60B6503-4BE2-47A9-AF4B-17D4A639DE86}"/>
          </ac:cxnSpMkLst>
        </pc:cxnChg>
        <pc:cxnChg chg="mod">
          <ac:chgData name="Louis Wang" userId="afff2e54-1287-4765-98d1-fc9729dc18f3" providerId="ADAL" clId="{5CA31268-2CC3-400D-8FE9-FC0A25D84331}" dt="2021-05-19T11:27:46.088" v="556"/>
          <ac:cxnSpMkLst>
            <pc:docMk/>
            <pc:sldMk cId="2300559129" sldId="1794"/>
            <ac:cxnSpMk id="26" creationId="{BAEBA44C-A3D2-491F-8BA5-676EF47DB782}"/>
          </ac:cxnSpMkLst>
        </pc:cxnChg>
        <pc:cxnChg chg="mod">
          <ac:chgData name="Louis Wang" userId="afff2e54-1287-4765-98d1-fc9729dc18f3" providerId="ADAL" clId="{5CA31268-2CC3-400D-8FE9-FC0A25D84331}" dt="2021-05-19T11:27:46.088" v="556"/>
          <ac:cxnSpMkLst>
            <pc:docMk/>
            <pc:sldMk cId="2300559129" sldId="1794"/>
            <ac:cxnSpMk id="36" creationId="{67094519-B589-411C-B14E-015EB7AA16A3}"/>
          </ac:cxnSpMkLst>
        </pc:cxnChg>
        <pc:cxnChg chg="mod">
          <ac:chgData name="Louis Wang" userId="afff2e54-1287-4765-98d1-fc9729dc18f3" providerId="ADAL" clId="{5CA31268-2CC3-400D-8FE9-FC0A25D84331}" dt="2021-05-19T11:27:46.088" v="556"/>
          <ac:cxnSpMkLst>
            <pc:docMk/>
            <pc:sldMk cId="2300559129" sldId="1794"/>
            <ac:cxnSpMk id="46" creationId="{6C2722DF-5D4A-4FEB-B210-27051C74CA5C}"/>
          </ac:cxnSpMkLst>
        </pc:cxnChg>
        <pc:cxnChg chg="mod">
          <ac:chgData name="Louis Wang" userId="afff2e54-1287-4765-98d1-fc9729dc18f3" providerId="ADAL" clId="{5CA31268-2CC3-400D-8FE9-FC0A25D84331}" dt="2021-05-19T11:27:46.088" v="556"/>
          <ac:cxnSpMkLst>
            <pc:docMk/>
            <pc:sldMk cId="2300559129" sldId="1794"/>
            <ac:cxnSpMk id="56" creationId="{859A4123-2F86-4D48-A430-7B920B479D5F}"/>
          </ac:cxnSpMkLst>
        </pc:cxnChg>
      </pc:sldChg>
      <pc:sldChg chg="addSp delSp modSp add del mod ord">
        <pc:chgData name="Louis Wang" userId="afff2e54-1287-4765-98d1-fc9729dc18f3" providerId="ADAL" clId="{5CA31268-2CC3-400D-8FE9-FC0A25D84331}" dt="2021-05-19T12:34:30.034" v="965" actId="47"/>
        <pc:sldMkLst>
          <pc:docMk/>
          <pc:sldMk cId="78461184" sldId="1795"/>
        </pc:sldMkLst>
        <pc:spChg chg="mod">
          <ac:chgData name="Louis Wang" userId="afff2e54-1287-4765-98d1-fc9729dc18f3" providerId="ADAL" clId="{5CA31268-2CC3-400D-8FE9-FC0A25D84331}" dt="2021-05-19T11:35:48.206" v="655"/>
          <ac:spMkLst>
            <pc:docMk/>
            <pc:sldMk cId="78461184" sldId="1795"/>
            <ac:spMk id="2" creationId="{F50CC61D-05BF-440E-BE16-D059D6D0B95F}"/>
          </ac:spMkLst>
        </pc:spChg>
        <pc:spChg chg="del">
          <ac:chgData name="Louis Wang" userId="afff2e54-1287-4765-98d1-fc9729dc18f3" providerId="ADAL" clId="{5CA31268-2CC3-400D-8FE9-FC0A25D84331}" dt="2021-05-19T11:33:44.898" v="641" actId="478"/>
          <ac:spMkLst>
            <pc:docMk/>
            <pc:sldMk cId="78461184" sldId="1795"/>
            <ac:spMk id="3" creationId="{2500FA7A-F273-4B96-935B-3F871BECC167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6" creationId="{E7B40EE2-48D6-48EA-9598-443990DE5F44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7" creationId="{BC9C1EF1-108A-42C2-8420-A5D7F6A06319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8" creationId="{3D7F5A97-0A8D-48B7-B921-CFC575A2824B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9" creationId="{76A8E2B0-F6BD-487C-85B8-D00E1102566C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10" creationId="{8C5D6B7D-B7A0-4EFE-9A78-A10F01A69CFA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11" creationId="{C088B99B-0082-490A-ADD8-BAF1F827FDC1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12" creationId="{3ABD15F1-47B5-47C5-9B09-9A6A236DBE05}"/>
          </ac:spMkLst>
        </pc:spChg>
        <pc:spChg chg="mod">
          <ac:chgData name="Louis Wang" userId="afff2e54-1287-4765-98d1-fc9729dc18f3" providerId="ADAL" clId="{5CA31268-2CC3-400D-8FE9-FC0A25D84331}" dt="2021-05-19T11:29:03.337" v="568"/>
          <ac:spMkLst>
            <pc:docMk/>
            <pc:sldMk cId="78461184" sldId="1795"/>
            <ac:spMk id="13" creationId="{9A5CD64C-87E9-413E-A686-F38D79C99872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14" creationId="{97189BE5-9C60-42AF-A193-289C43A3B08A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15" creationId="{458BE198-B7E1-4B4E-938C-D0E646A2FA41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16" creationId="{E65DA0B3-516B-43FA-B5D8-47F885A37B1E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17" creationId="{E85DFEC8-50AD-4131-8BC5-4454EEFCD397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18" creationId="{F3047867-B2A3-42E3-B47C-B21C7903051B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19" creationId="{19E5D389-1347-430C-BD7A-4E8181920405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20" creationId="{885C5FD3-B154-438E-B41A-786550781531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21" creationId="{8DFAB1CE-33CC-4C69-83FA-62F4161EF668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22" creationId="{DF40176A-8D1A-4500-8148-260ED56F4735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23" creationId="{E2549933-B5DC-4DBF-A55D-BB29532D6C1A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24" creationId="{D01DC7D0-F57E-4749-85E7-1273C8517BCB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25" creationId="{F88EAA53-9925-4BA7-A49E-48B0DAB1765C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26" creationId="{F527F65B-60A4-4867-97E6-A51884883929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27" creationId="{AA08EDEA-5F8D-48E2-8636-F7D43EE70010}"/>
          </ac:spMkLst>
        </pc:spChg>
        <pc:spChg chg="mod">
          <ac:chgData name="Louis Wang" userId="afff2e54-1287-4765-98d1-fc9729dc18f3" providerId="ADAL" clId="{5CA31268-2CC3-400D-8FE9-FC0A25D84331}" dt="2021-05-19T11:28:22.539" v="566"/>
          <ac:spMkLst>
            <pc:docMk/>
            <pc:sldMk cId="78461184" sldId="1795"/>
            <ac:spMk id="28" creationId="{5AD3B26D-4BB4-46EA-9CD9-381D5B07D554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30" creationId="{E7B40EE2-48D6-48EA-9598-443990DE5F44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31" creationId="{BC9C1EF1-108A-42C2-8420-A5D7F6A06319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32" creationId="{3D7F5A97-0A8D-48B7-B921-CFC575A2824B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33" creationId="{76A8E2B0-F6BD-487C-85B8-D00E1102566C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34" creationId="{8C5D6B7D-B7A0-4EFE-9A78-A10F01A69CFA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35" creationId="{C088B99B-0082-490A-ADD8-BAF1F827FDC1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36" creationId="{3ABD15F1-47B5-47C5-9B09-9A6A236DBE05}"/>
          </ac:spMkLst>
        </pc:spChg>
        <pc:spChg chg="add mod">
          <ac:chgData name="Louis Wang" userId="afff2e54-1287-4765-98d1-fc9729dc18f3" providerId="ADAL" clId="{5CA31268-2CC3-400D-8FE9-FC0A25D84331}" dt="2021-05-19T11:29:04.697" v="578" actId="27636"/>
          <ac:spMkLst>
            <pc:docMk/>
            <pc:sldMk cId="78461184" sldId="1795"/>
            <ac:spMk id="37" creationId="{9A5CD64C-87E9-413E-A686-F38D79C99872}"/>
          </ac:spMkLst>
        </pc:spChg>
        <pc:spChg chg="add mod">
          <ac:chgData name="Louis Wang" userId="afff2e54-1287-4765-98d1-fc9729dc18f3" providerId="ADAL" clId="{5CA31268-2CC3-400D-8FE9-FC0A25D84331}" dt="2021-05-19T11:29:10.300" v="580"/>
          <ac:spMkLst>
            <pc:docMk/>
            <pc:sldMk cId="78461184" sldId="1795"/>
            <ac:spMk id="38" creationId="{97189BE5-9C60-42AF-A193-289C43A3B08A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39" creationId="{458BE198-B7E1-4B4E-938C-D0E646A2FA41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40" creationId="{E65DA0B3-516B-43FA-B5D8-47F885A37B1E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41" creationId="{E85DFEC8-50AD-4131-8BC5-4454EEFCD397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42" creationId="{F3047867-B2A3-42E3-B47C-B21C7903051B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43" creationId="{19E5D389-1347-430C-BD7A-4E8181920405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44" creationId="{885C5FD3-B154-438E-B41A-786550781531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45" creationId="{8DFAB1CE-33CC-4C69-83FA-62F4161EF668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46" creationId="{DF40176A-8D1A-4500-8148-260ED56F4735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47" creationId="{E2549933-B5DC-4DBF-A55D-BB29532D6C1A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48" creationId="{D01DC7D0-F57E-4749-85E7-1273C8517BCB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49" creationId="{F88EAA53-9925-4BA7-A49E-48B0DAB1765C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50" creationId="{F527F65B-60A4-4867-97E6-A51884883929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51" creationId="{AA08EDEA-5F8D-48E2-8636-F7D43EE70010}"/>
          </ac:spMkLst>
        </pc:spChg>
        <pc:spChg chg="add mod">
          <ac:chgData name="Louis Wang" userId="afff2e54-1287-4765-98d1-fc9729dc18f3" providerId="ADAL" clId="{5CA31268-2CC3-400D-8FE9-FC0A25D84331}" dt="2021-05-19T11:29:04.543" v="575"/>
          <ac:spMkLst>
            <pc:docMk/>
            <pc:sldMk cId="78461184" sldId="1795"/>
            <ac:spMk id="52" creationId="{5AD3B26D-4BB4-46EA-9CD9-381D5B07D554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54" creationId="{E7B40EE2-48D6-48EA-9598-443990DE5F44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55" creationId="{BC9C1EF1-108A-42C2-8420-A5D7F6A06319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56" creationId="{3D7F5A97-0A8D-48B7-B921-CFC575A2824B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57" creationId="{76A8E2B0-F6BD-487C-85B8-D00E1102566C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58" creationId="{8C5D6B7D-B7A0-4EFE-9A78-A10F01A69CFA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59" creationId="{C088B99B-0082-490A-ADD8-BAF1F827FDC1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60" creationId="{3ABD15F1-47B5-47C5-9B09-9A6A236DBE05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61" creationId="{9A5CD64C-87E9-413E-A686-F38D79C99872}"/>
          </ac:spMkLst>
        </pc:spChg>
        <pc:spChg chg="add mod">
          <ac:chgData name="Louis Wang" userId="afff2e54-1287-4765-98d1-fc9729dc18f3" providerId="ADAL" clId="{5CA31268-2CC3-400D-8FE9-FC0A25D84331}" dt="2021-05-19T11:29:10.587" v="590" actId="27636"/>
          <ac:spMkLst>
            <pc:docMk/>
            <pc:sldMk cId="78461184" sldId="1795"/>
            <ac:spMk id="62" creationId="{97189BE5-9C60-42AF-A193-289C43A3B08A}"/>
          </ac:spMkLst>
        </pc:spChg>
        <pc:spChg chg="add mod">
          <ac:chgData name="Louis Wang" userId="afff2e54-1287-4765-98d1-fc9729dc18f3" providerId="ADAL" clId="{5CA31268-2CC3-400D-8FE9-FC0A25D84331}" dt="2021-05-19T11:29:16.371" v="592"/>
          <ac:spMkLst>
            <pc:docMk/>
            <pc:sldMk cId="78461184" sldId="1795"/>
            <ac:spMk id="63" creationId="{458BE198-B7E1-4B4E-938C-D0E646A2FA41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64" creationId="{E65DA0B3-516B-43FA-B5D8-47F885A37B1E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65" creationId="{E85DFEC8-50AD-4131-8BC5-4454EEFCD397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66" creationId="{F3047867-B2A3-42E3-B47C-B21C7903051B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67" creationId="{19E5D389-1347-430C-BD7A-4E8181920405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68" creationId="{885C5FD3-B154-438E-B41A-786550781531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69" creationId="{8DFAB1CE-33CC-4C69-83FA-62F4161EF668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70" creationId="{DF40176A-8D1A-4500-8148-260ED56F4735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71" creationId="{E2549933-B5DC-4DBF-A55D-BB29532D6C1A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72" creationId="{D01DC7D0-F57E-4749-85E7-1273C8517BCB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73" creationId="{F88EAA53-9925-4BA7-A49E-48B0DAB1765C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74" creationId="{F527F65B-60A4-4867-97E6-A51884883929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75" creationId="{AA08EDEA-5F8D-48E2-8636-F7D43EE70010}"/>
          </ac:spMkLst>
        </pc:spChg>
        <pc:spChg chg="add mod">
          <ac:chgData name="Louis Wang" userId="afff2e54-1287-4765-98d1-fc9729dc18f3" providerId="ADAL" clId="{5CA31268-2CC3-400D-8FE9-FC0A25D84331}" dt="2021-05-19T11:29:10.449" v="587"/>
          <ac:spMkLst>
            <pc:docMk/>
            <pc:sldMk cId="78461184" sldId="1795"/>
            <ac:spMk id="76" creationId="{5AD3B26D-4BB4-46EA-9CD9-381D5B07D554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78" creationId="{E7B40EE2-48D6-48EA-9598-443990DE5F44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79" creationId="{BC9C1EF1-108A-42C2-8420-A5D7F6A06319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80" creationId="{3D7F5A97-0A8D-48B7-B921-CFC575A2824B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81" creationId="{76A8E2B0-F6BD-487C-85B8-D00E1102566C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82" creationId="{8C5D6B7D-B7A0-4EFE-9A78-A10F01A69CFA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83" creationId="{C088B99B-0082-490A-ADD8-BAF1F827FDC1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84" creationId="{3ABD15F1-47B5-47C5-9B09-9A6A236DBE05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85" creationId="{9A5CD64C-87E9-413E-A686-F38D79C99872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86" creationId="{97189BE5-9C60-42AF-A193-289C43A3B08A}"/>
          </ac:spMkLst>
        </pc:spChg>
        <pc:spChg chg="add mod">
          <ac:chgData name="Louis Wang" userId="afff2e54-1287-4765-98d1-fc9729dc18f3" providerId="ADAL" clId="{5CA31268-2CC3-400D-8FE9-FC0A25D84331}" dt="2021-05-19T11:29:16.691" v="602" actId="27636"/>
          <ac:spMkLst>
            <pc:docMk/>
            <pc:sldMk cId="78461184" sldId="1795"/>
            <ac:spMk id="87" creationId="{458BE198-B7E1-4B4E-938C-D0E646A2FA41}"/>
          </ac:spMkLst>
        </pc:spChg>
        <pc:spChg chg="add mod">
          <ac:chgData name="Louis Wang" userId="afff2e54-1287-4765-98d1-fc9729dc18f3" providerId="ADAL" clId="{5CA31268-2CC3-400D-8FE9-FC0A25D84331}" dt="2021-05-19T11:29:21.818" v="604"/>
          <ac:spMkLst>
            <pc:docMk/>
            <pc:sldMk cId="78461184" sldId="1795"/>
            <ac:spMk id="88" creationId="{E65DA0B3-516B-43FA-B5D8-47F885A37B1E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89" creationId="{E85DFEC8-50AD-4131-8BC5-4454EEFCD397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90" creationId="{F3047867-B2A3-42E3-B47C-B21C7903051B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91" creationId="{19E5D389-1347-430C-BD7A-4E8181920405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92" creationId="{885C5FD3-B154-438E-B41A-786550781531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93" creationId="{8DFAB1CE-33CC-4C69-83FA-62F4161EF668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94" creationId="{DF40176A-8D1A-4500-8148-260ED56F4735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95" creationId="{E2549933-B5DC-4DBF-A55D-BB29532D6C1A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96" creationId="{D01DC7D0-F57E-4749-85E7-1273C8517BCB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97" creationId="{F88EAA53-9925-4BA7-A49E-48B0DAB1765C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98" creationId="{F527F65B-60A4-4867-97E6-A51884883929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99" creationId="{AA08EDEA-5F8D-48E2-8636-F7D43EE70010}"/>
          </ac:spMkLst>
        </pc:spChg>
        <pc:spChg chg="add mod">
          <ac:chgData name="Louis Wang" userId="afff2e54-1287-4765-98d1-fc9729dc18f3" providerId="ADAL" clId="{5CA31268-2CC3-400D-8FE9-FC0A25D84331}" dt="2021-05-19T11:29:16.503" v="599"/>
          <ac:spMkLst>
            <pc:docMk/>
            <pc:sldMk cId="78461184" sldId="1795"/>
            <ac:spMk id="100" creationId="{5AD3B26D-4BB4-46EA-9CD9-381D5B07D554}"/>
          </ac:spMkLst>
        </pc:spChg>
        <pc:spChg chg="add del mod">
          <ac:chgData name="Louis Wang" userId="afff2e54-1287-4765-98d1-fc9729dc18f3" providerId="ADAL" clId="{5CA31268-2CC3-400D-8FE9-FC0A25D84331}" dt="2021-05-19T11:41:11.945" v="662" actId="478"/>
          <ac:spMkLst>
            <pc:docMk/>
            <pc:sldMk cId="78461184" sldId="1795"/>
            <ac:spMk id="102" creationId="{E7B40EE2-48D6-48EA-9598-443990DE5F44}"/>
          </ac:spMkLst>
        </pc:spChg>
        <pc:spChg chg="add mod">
          <ac:chgData name="Louis Wang" userId="afff2e54-1287-4765-98d1-fc9729dc18f3" providerId="ADAL" clId="{5CA31268-2CC3-400D-8FE9-FC0A25D84331}" dt="2021-05-19T11:29:21.964" v="611"/>
          <ac:spMkLst>
            <pc:docMk/>
            <pc:sldMk cId="78461184" sldId="1795"/>
            <ac:spMk id="103" creationId="{BC9C1EF1-108A-42C2-8420-A5D7F6A06319}"/>
          </ac:spMkLst>
        </pc:spChg>
        <pc:spChg chg="add mod">
          <ac:chgData name="Louis Wang" userId="afff2e54-1287-4765-98d1-fc9729dc18f3" providerId="ADAL" clId="{5CA31268-2CC3-400D-8FE9-FC0A25D84331}" dt="2021-05-19T11:34:34.797" v="647"/>
          <ac:spMkLst>
            <pc:docMk/>
            <pc:sldMk cId="78461184" sldId="1795"/>
            <ac:spMk id="104" creationId="{3D7F5A97-0A8D-48B7-B921-CFC575A2824B}"/>
          </ac:spMkLst>
        </pc:spChg>
        <pc:spChg chg="add mod">
          <ac:chgData name="Louis Wang" userId="afff2e54-1287-4765-98d1-fc9729dc18f3" providerId="ADAL" clId="{5CA31268-2CC3-400D-8FE9-FC0A25D84331}" dt="2021-05-19T11:29:21.964" v="611"/>
          <ac:spMkLst>
            <pc:docMk/>
            <pc:sldMk cId="78461184" sldId="1795"/>
            <ac:spMk id="105" creationId="{76A8E2B0-F6BD-487C-85B8-D00E1102566C}"/>
          </ac:spMkLst>
        </pc:spChg>
        <pc:spChg chg="add mod">
          <ac:chgData name="Louis Wang" userId="afff2e54-1287-4765-98d1-fc9729dc18f3" providerId="ADAL" clId="{5CA31268-2CC3-400D-8FE9-FC0A25D84331}" dt="2021-05-19T11:29:21.964" v="611"/>
          <ac:spMkLst>
            <pc:docMk/>
            <pc:sldMk cId="78461184" sldId="1795"/>
            <ac:spMk id="106" creationId="{8C5D6B7D-B7A0-4EFE-9A78-A10F01A69CFA}"/>
          </ac:spMkLst>
        </pc:spChg>
        <pc:spChg chg="add mod">
          <ac:chgData name="Louis Wang" userId="afff2e54-1287-4765-98d1-fc9729dc18f3" providerId="ADAL" clId="{5CA31268-2CC3-400D-8FE9-FC0A25D84331}" dt="2021-05-19T11:29:21.964" v="611"/>
          <ac:spMkLst>
            <pc:docMk/>
            <pc:sldMk cId="78461184" sldId="1795"/>
            <ac:spMk id="107" creationId="{C088B99B-0082-490A-ADD8-BAF1F827FDC1}"/>
          </ac:spMkLst>
        </pc:spChg>
        <pc:spChg chg="add mod">
          <ac:chgData name="Louis Wang" userId="afff2e54-1287-4765-98d1-fc9729dc18f3" providerId="ADAL" clId="{5CA31268-2CC3-400D-8FE9-FC0A25D84331}" dt="2021-05-19T11:29:21.964" v="611"/>
          <ac:spMkLst>
            <pc:docMk/>
            <pc:sldMk cId="78461184" sldId="1795"/>
            <ac:spMk id="108" creationId="{3ABD15F1-47B5-47C5-9B09-9A6A236DBE05}"/>
          </ac:spMkLst>
        </pc:spChg>
        <pc:spChg chg="add mod">
          <ac:chgData name="Louis Wang" userId="afff2e54-1287-4765-98d1-fc9729dc18f3" providerId="ADAL" clId="{5CA31268-2CC3-400D-8FE9-FC0A25D84331}" dt="2021-05-19T11:29:21.964" v="611"/>
          <ac:spMkLst>
            <pc:docMk/>
            <pc:sldMk cId="78461184" sldId="1795"/>
            <ac:spMk id="109" creationId="{9A5CD64C-87E9-413E-A686-F38D79C99872}"/>
          </ac:spMkLst>
        </pc:spChg>
        <pc:spChg chg="add mod">
          <ac:chgData name="Louis Wang" userId="afff2e54-1287-4765-98d1-fc9729dc18f3" providerId="ADAL" clId="{5CA31268-2CC3-400D-8FE9-FC0A25D84331}" dt="2021-05-19T11:29:21.964" v="611"/>
          <ac:spMkLst>
            <pc:docMk/>
            <pc:sldMk cId="78461184" sldId="1795"/>
            <ac:spMk id="110" creationId="{97189BE5-9C60-42AF-A193-289C43A3B08A}"/>
          </ac:spMkLst>
        </pc:spChg>
        <pc:spChg chg="add mod">
          <ac:chgData name="Louis Wang" userId="afff2e54-1287-4765-98d1-fc9729dc18f3" providerId="ADAL" clId="{5CA31268-2CC3-400D-8FE9-FC0A25D84331}" dt="2021-05-19T11:29:21.964" v="611"/>
          <ac:spMkLst>
            <pc:docMk/>
            <pc:sldMk cId="78461184" sldId="1795"/>
            <ac:spMk id="111" creationId="{458BE198-B7E1-4B4E-938C-D0E646A2FA41}"/>
          </ac:spMkLst>
        </pc:spChg>
        <pc:spChg chg="add mod">
          <ac:chgData name="Louis Wang" userId="afff2e54-1287-4765-98d1-fc9729dc18f3" providerId="ADAL" clId="{5CA31268-2CC3-400D-8FE9-FC0A25D84331}" dt="2021-05-19T11:29:22.082" v="614" actId="27636"/>
          <ac:spMkLst>
            <pc:docMk/>
            <pc:sldMk cId="78461184" sldId="1795"/>
            <ac:spMk id="112" creationId="{E65DA0B3-516B-43FA-B5D8-47F885A37B1E}"/>
          </ac:spMkLst>
        </pc:spChg>
        <pc:spChg chg="add mod">
          <ac:chgData name="Louis Wang" userId="afff2e54-1287-4765-98d1-fc9729dc18f3" providerId="ADAL" clId="{5CA31268-2CC3-400D-8FE9-FC0A25D84331}" dt="2021-05-19T11:29:55.471" v="618" actId="27636"/>
          <ac:spMkLst>
            <pc:docMk/>
            <pc:sldMk cId="78461184" sldId="1795"/>
            <ac:spMk id="113" creationId="{E85DFEC8-50AD-4131-8BC5-4454EEFCD397}"/>
          </ac:spMkLst>
        </pc:spChg>
        <pc:spChg chg="add mod">
          <ac:chgData name="Louis Wang" userId="afff2e54-1287-4765-98d1-fc9729dc18f3" providerId="ADAL" clId="{5CA31268-2CC3-400D-8FE9-FC0A25D84331}" dt="2021-05-19T11:33:36.254" v="640"/>
          <ac:spMkLst>
            <pc:docMk/>
            <pc:sldMk cId="78461184" sldId="1795"/>
            <ac:spMk id="114" creationId="{F3047867-B2A3-42E3-B47C-B21C7903051B}"/>
          </ac:spMkLst>
        </pc:spChg>
        <pc:spChg chg="add del mod">
          <ac:chgData name="Louis Wang" userId="afff2e54-1287-4765-98d1-fc9729dc18f3" providerId="ADAL" clId="{5CA31268-2CC3-400D-8FE9-FC0A25D84331}" dt="2021-05-19T11:33:19.505" v="634" actId="478"/>
          <ac:spMkLst>
            <pc:docMk/>
            <pc:sldMk cId="78461184" sldId="1795"/>
            <ac:spMk id="115" creationId="{19E5D389-1347-430C-BD7A-4E8181920405}"/>
          </ac:spMkLst>
        </pc:spChg>
        <pc:spChg chg="add del mod">
          <ac:chgData name="Louis Wang" userId="afff2e54-1287-4765-98d1-fc9729dc18f3" providerId="ADAL" clId="{5CA31268-2CC3-400D-8FE9-FC0A25D84331}" dt="2021-05-19T11:31:09.210" v="625" actId="27636"/>
          <ac:spMkLst>
            <pc:docMk/>
            <pc:sldMk cId="78461184" sldId="1795"/>
            <ac:spMk id="116" creationId="{885C5FD3-B154-438E-B41A-786550781531}"/>
          </ac:spMkLst>
        </pc:spChg>
        <pc:spChg chg="add mod">
          <ac:chgData name="Louis Wang" userId="afff2e54-1287-4765-98d1-fc9729dc18f3" providerId="ADAL" clId="{5CA31268-2CC3-400D-8FE9-FC0A25D84331}" dt="2021-05-19T11:40:11.077" v="659"/>
          <ac:spMkLst>
            <pc:docMk/>
            <pc:sldMk cId="78461184" sldId="1795"/>
            <ac:spMk id="117" creationId="{8DFAB1CE-33CC-4C69-83FA-62F4161EF668}"/>
          </ac:spMkLst>
        </pc:spChg>
        <pc:spChg chg="add del mod">
          <ac:chgData name="Louis Wang" userId="afff2e54-1287-4765-98d1-fc9729dc18f3" providerId="ADAL" clId="{5CA31268-2CC3-400D-8FE9-FC0A25D84331}" dt="2021-05-19T11:40:02.594" v="657" actId="478"/>
          <ac:spMkLst>
            <pc:docMk/>
            <pc:sldMk cId="78461184" sldId="1795"/>
            <ac:spMk id="118" creationId="{DF40176A-8D1A-4500-8148-260ED56F4735}"/>
          </ac:spMkLst>
        </pc:spChg>
        <pc:spChg chg="add mod">
          <ac:chgData name="Louis Wang" userId="afff2e54-1287-4765-98d1-fc9729dc18f3" providerId="ADAL" clId="{5CA31268-2CC3-400D-8FE9-FC0A25D84331}" dt="2021-05-19T11:31:26.734" v="627" actId="14100"/>
          <ac:spMkLst>
            <pc:docMk/>
            <pc:sldMk cId="78461184" sldId="1795"/>
            <ac:spMk id="119" creationId="{E2549933-B5DC-4DBF-A55D-BB29532D6C1A}"/>
          </ac:spMkLst>
        </pc:spChg>
        <pc:spChg chg="add mod">
          <ac:chgData name="Louis Wang" userId="afff2e54-1287-4765-98d1-fc9729dc18f3" providerId="ADAL" clId="{5CA31268-2CC3-400D-8FE9-FC0A25D84331}" dt="2021-05-19T11:29:21.964" v="611"/>
          <ac:spMkLst>
            <pc:docMk/>
            <pc:sldMk cId="78461184" sldId="1795"/>
            <ac:spMk id="120" creationId="{D01DC7D0-F57E-4749-85E7-1273C8517BCB}"/>
          </ac:spMkLst>
        </pc:spChg>
        <pc:spChg chg="add del mod">
          <ac:chgData name="Louis Wang" userId="afff2e54-1287-4765-98d1-fc9729dc18f3" providerId="ADAL" clId="{5CA31268-2CC3-400D-8FE9-FC0A25D84331}" dt="2021-05-19T11:40:36.089" v="660" actId="478"/>
          <ac:spMkLst>
            <pc:docMk/>
            <pc:sldMk cId="78461184" sldId="1795"/>
            <ac:spMk id="121" creationId="{F88EAA53-9925-4BA7-A49E-48B0DAB1765C}"/>
          </ac:spMkLst>
        </pc:spChg>
        <pc:spChg chg="add mod">
          <ac:chgData name="Louis Wang" userId="afff2e54-1287-4765-98d1-fc9729dc18f3" providerId="ADAL" clId="{5CA31268-2CC3-400D-8FE9-FC0A25D84331}" dt="2021-05-19T11:31:49.092" v="631" actId="27636"/>
          <ac:spMkLst>
            <pc:docMk/>
            <pc:sldMk cId="78461184" sldId="1795"/>
            <ac:spMk id="122" creationId="{F527F65B-60A4-4867-97E6-A51884883929}"/>
          </ac:spMkLst>
        </pc:spChg>
        <pc:spChg chg="add mod">
          <ac:chgData name="Louis Wang" userId="afff2e54-1287-4765-98d1-fc9729dc18f3" providerId="ADAL" clId="{5CA31268-2CC3-400D-8FE9-FC0A25D84331}" dt="2021-05-19T11:29:21.964" v="611"/>
          <ac:spMkLst>
            <pc:docMk/>
            <pc:sldMk cId="78461184" sldId="1795"/>
            <ac:spMk id="123" creationId="{AA08EDEA-5F8D-48E2-8636-F7D43EE70010}"/>
          </ac:spMkLst>
        </pc:spChg>
        <pc:spChg chg="add del mod">
          <ac:chgData name="Louis Wang" userId="afff2e54-1287-4765-98d1-fc9729dc18f3" providerId="ADAL" clId="{5CA31268-2CC3-400D-8FE9-FC0A25D84331}" dt="2021-05-19T11:40:37.930" v="661" actId="478"/>
          <ac:spMkLst>
            <pc:docMk/>
            <pc:sldMk cId="78461184" sldId="1795"/>
            <ac:spMk id="124" creationId="{5AD3B26D-4BB4-46EA-9CD9-381D5B07D554}"/>
          </ac:spMkLst>
        </pc:spChg>
        <pc:grpChg chg="add del mod">
          <ac:chgData name="Louis Wang" userId="afff2e54-1287-4765-98d1-fc9729dc18f3" providerId="ADAL" clId="{5CA31268-2CC3-400D-8FE9-FC0A25D84331}" dt="2021-05-19T11:29:04.517" v="570"/>
          <ac:grpSpMkLst>
            <pc:docMk/>
            <pc:sldMk cId="78461184" sldId="1795"/>
            <ac:grpSpMk id="5" creationId="{372B46F4-AAE2-4454-9539-A2B8E5C946C4}"/>
          </ac:grpSpMkLst>
        </pc:grpChg>
        <pc:grpChg chg="add del mod">
          <ac:chgData name="Louis Wang" userId="afff2e54-1287-4765-98d1-fc9729dc18f3" providerId="ADAL" clId="{5CA31268-2CC3-400D-8FE9-FC0A25D84331}" dt="2021-05-19T11:29:10.420" v="582"/>
          <ac:grpSpMkLst>
            <pc:docMk/>
            <pc:sldMk cId="78461184" sldId="1795"/>
            <ac:grpSpMk id="29" creationId="{372B46F4-AAE2-4454-9539-A2B8E5C946C4}"/>
          </ac:grpSpMkLst>
        </pc:grpChg>
        <pc:grpChg chg="add del mod">
          <ac:chgData name="Louis Wang" userId="afff2e54-1287-4765-98d1-fc9729dc18f3" providerId="ADAL" clId="{5CA31268-2CC3-400D-8FE9-FC0A25D84331}" dt="2021-05-19T11:29:16.469" v="594"/>
          <ac:grpSpMkLst>
            <pc:docMk/>
            <pc:sldMk cId="78461184" sldId="1795"/>
            <ac:grpSpMk id="53" creationId="{372B46F4-AAE2-4454-9539-A2B8E5C946C4}"/>
          </ac:grpSpMkLst>
        </pc:grpChg>
        <pc:grpChg chg="add del mod">
          <ac:chgData name="Louis Wang" userId="afff2e54-1287-4765-98d1-fc9729dc18f3" providerId="ADAL" clId="{5CA31268-2CC3-400D-8FE9-FC0A25D84331}" dt="2021-05-19T11:29:21.937" v="606"/>
          <ac:grpSpMkLst>
            <pc:docMk/>
            <pc:sldMk cId="78461184" sldId="1795"/>
            <ac:grpSpMk id="77" creationId="{372B46F4-AAE2-4454-9539-A2B8E5C946C4}"/>
          </ac:grpSpMkLst>
        </pc:grpChg>
        <pc:grpChg chg="add mod">
          <ac:chgData name="Louis Wang" userId="afff2e54-1287-4765-98d1-fc9729dc18f3" providerId="ADAL" clId="{5CA31268-2CC3-400D-8FE9-FC0A25D84331}" dt="2021-05-19T11:41:13.527" v="663" actId="1076"/>
          <ac:grpSpMkLst>
            <pc:docMk/>
            <pc:sldMk cId="78461184" sldId="1795"/>
            <ac:grpSpMk id="101" creationId="{372B46F4-AAE2-4454-9539-A2B8E5C946C4}"/>
          </ac:grpSpMkLst>
        </pc:grpChg>
      </pc:sldChg>
      <pc:sldChg chg="addSp delSp modSp add del mod modAnim">
        <pc:chgData name="Louis Wang" userId="afff2e54-1287-4765-98d1-fc9729dc18f3" providerId="ADAL" clId="{5CA31268-2CC3-400D-8FE9-FC0A25D84331}" dt="2021-05-19T15:05:23.200" v="1445" actId="47"/>
        <pc:sldMkLst>
          <pc:docMk/>
          <pc:sldMk cId="144928652" sldId="1796"/>
        </pc:sldMkLst>
        <pc:spChg chg="mod">
          <ac:chgData name="Louis Wang" userId="afff2e54-1287-4765-98d1-fc9729dc18f3" providerId="ADAL" clId="{5CA31268-2CC3-400D-8FE9-FC0A25D84331}" dt="2021-05-19T11:44:04.309" v="700"/>
          <ac:spMkLst>
            <pc:docMk/>
            <pc:sldMk cId="144928652" sldId="1796"/>
            <ac:spMk id="2" creationId="{9086F33F-C9E3-4F2E-B13F-301FB71B2F6E}"/>
          </ac:spMkLst>
        </pc:spChg>
        <pc:spChg chg="del">
          <ac:chgData name="Louis Wang" userId="afff2e54-1287-4765-98d1-fc9729dc18f3" providerId="ADAL" clId="{5CA31268-2CC3-400D-8FE9-FC0A25D84331}" dt="2021-05-19T11:44:26.497" v="706" actId="478"/>
          <ac:spMkLst>
            <pc:docMk/>
            <pc:sldMk cId="144928652" sldId="1796"/>
            <ac:spMk id="3" creationId="{1165BB33-0F32-43F3-9676-FDCBDD0D1204}"/>
          </ac:spMkLst>
        </pc:spChg>
        <pc:spChg chg="del mod">
          <ac:chgData name="Louis Wang" userId="afff2e54-1287-4765-98d1-fc9729dc18f3" providerId="ADAL" clId="{5CA31268-2CC3-400D-8FE9-FC0A25D84331}" dt="2021-05-19T11:44:23.848" v="705" actId="478"/>
          <ac:spMkLst>
            <pc:docMk/>
            <pc:sldMk cId="144928652" sldId="1796"/>
            <ac:spMk id="6" creationId="{0706B9BF-372F-49D3-BB05-E9BA84844B0E}"/>
          </ac:spMkLst>
        </pc:spChg>
        <pc:spChg chg="mod topLvl modCrop">
          <ac:chgData name="Louis Wang" userId="afff2e54-1287-4765-98d1-fc9729dc18f3" providerId="ADAL" clId="{5CA31268-2CC3-400D-8FE9-FC0A25D84331}" dt="2021-05-19T13:37:30.823" v="1329" actId="165"/>
          <ac:spMkLst>
            <pc:docMk/>
            <pc:sldMk cId="144928652" sldId="1796"/>
            <ac:spMk id="7" creationId="{01D0A987-3A3C-4F7B-B7AE-6DFD2083A839}"/>
          </ac:spMkLst>
        </pc:spChg>
        <pc:spChg chg="mod topLvl modCrop">
          <ac:chgData name="Louis Wang" userId="afff2e54-1287-4765-98d1-fc9729dc18f3" providerId="ADAL" clId="{5CA31268-2CC3-400D-8FE9-FC0A25D84331}" dt="2021-05-19T13:37:30.823" v="1329" actId="165"/>
          <ac:spMkLst>
            <pc:docMk/>
            <pc:sldMk cId="144928652" sldId="1796"/>
            <ac:spMk id="8" creationId="{BE8A4289-3922-4077-8DF8-51A5AA545945}"/>
          </ac:spMkLst>
        </pc:spChg>
        <pc:spChg chg="mod topLvl modCrop">
          <ac:chgData name="Louis Wang" userId="afff2e54-1287-4765-98d1-fc9729dc18f3" providerId="ADAL" clId="{5CA31268-2CC3-400D-8FE9-FC0A25D84331}" dt="2021-05-19T13:37:30.823" v="1329" actId="165"/>
          <ac:spMkLst>
            <pc:docMk/>
            <pc:sldMk cId="144928652" sldId="1796"/>
            <ac:spMk id="9" creationId="{51B0B2F7-4797-4546-8BAC-127D41AA8DE2}"/>
          </ac:spMkLst>
        </pc:spChg>
        <pc:spChg chg="mod topLvl">
          <ac:chgData name="Louis Wang" userId="afff2e54-1287-4765-98d1-fc9729dc18f3" providerId="ADAL" clId="{5CA31268-2CC3-400D-8FE9-FC0A25D84331}" dt="2021-05-19T13:37:30.823" v="1329" actId="165"/>
          <ac:spMkLst>
            <pc:docMk/>
            <pc:sldMk cId="144928652" sldId="1796"/>
            <ac:spMk id="10" creationId="{D742DF66-09DB-4512-AAB3-4E2E991C52F6}"/>
          </ac:spMkLst>
        </pc:spChg>
        <pc:spChg chg="del mod">
          <ac:chgData name="Louis Wang" userId="afff2e54-1287-4765-98d1-fc9729dc18f3" providerId="ADAL" clId="{5CA31268-2CC3-400D-8FE9-FC0A25D84331}" dt="2021-05-19T11:44:21.066" v="704" actId="478"/>
          <ac:spMkLst>
            <pc:docMk/>
            <pc:sldMk cId="144928652" sldId="1796"/>
            <ac:spMk id="11" creationId="{C30412FD-0DDE-4CFE-B5DE-48742985A028}"/>
          </ac:spMkLst>
        </pc:spChg>
        <pc:spChg chg="mod topLvl">
          <ac:chgData name="Louis Wang" userId="afff2e54-1287-4765-98d1-fc9729dc18f3" providerId="ADAL" clId="{5CA31268-2CC3-400D-8FE9-FC0A25D84331}" dt="2021-05-19T13:37:30.823" v="1329" actId="165"/>
          <ac:spMkLst>
            <pc:docMk/>
            <pc:sldMk cId="144928652" sldId="1796"/>
            <ac:spMk id="12" creationId="{6597703F-87E2-4EB5-940C-D13837759451}"/>
          </ac:spMkLst>
        </pc:spChg>
        <pc:spChg chg="mod topLvl">
          <ac:chgData name="Louis Wang" userId="afff2e54-1287-4765-98d1-fc9729dc18f3" providerId="ADAL" clId="{5CA31268-2CC3-400D-8FE9-FC0A25D84331}" dt="2021-05-19T13:37:30.823" v="1329" actId="165"/>
          <ac:spMkLst>
            <pc:docMk/>
            <pc:sldMk cId="144928652" sldId="1796"/>
            <ac:spMk id="13" creationId="{A89E37C9-BB57-4335-ADBD-87FAD8251829}"/>
          </ac:spMkLst>
        </pc:spChg>
        <pc:spChg chg="mod topLvl">
          <ac:chgData name="Louis Wang" userId="afff2e54-1287-4765-98d1-fc9729dc18f3" providerId="ADAL" clId="{5CA31268-2CC3-400D-8FE9-FC0A25D84331}" dt="2021-05-19T13:37:30.823" v="1329" actId="165"/>
          <ac:spMkLst>
            <pc:docMk/>
            <pc:sldMk cId="144928652" sldId="1796"/>
            <ac:spMk id="14" creationId="{1345DD23-D788-42DD-B075-FDB5B3BD65B0}"/>
          </ac:spMkLst>
        </pc:spChg>
        <pc:spChg chg="mod topLvl">
          <ac:chgData name="Louis Wang" userId="afff2e54-1287-4765-98d1-fc9729dc18f3" providerId="ADAL" clId="{5CA31268-2CC3-400D-8FE9-FC0A25D84331}" dt="2021-05-19T13:37:30.823" v="1329" actId="165"/>
          <ac:spMkLst>
            <pc:docMk/>
            <pc:sldMk cId="144928652" sldId="1796"/>
            <ac:spMk id="15" creationId="{51540850-7D80-49CD-A4A2-809534618A2F}"/>
          </ac:spMkLst>
        </pc:spChg>
        <pc:spChg chg="mod topLvl">
          <ac:chgData name="Louis Wang" userId="afff2e54-1287-4765-98d1-fc9729dc18f3" providerId="ADAL" clId="{5CA31268-2CC3-400D-8FE9-FC0A25D84331}" dt="2021-05-19T13:37:30.823" v="1329" actId="165"/>
          <ac:spMkLst>
            <pc:docMk/>
            <pc:sldMk cId="144928652" sldId="1796"/>
            <ac:spMk id="16" creationId="{A5BC23A0-E8F2-44F4-A92A-165DB3DCB166}"/>
          </ac:spMkLst>
        </pc:spChg>
        <pc:spChg chg="mod topLvl">
          <ac:chgData name="Louis Wang" userId="afff2e54-1287-4765-98d1-fc9729dc18f3" providerId="ADAL" clId="{5CA31268-2CC3-400D-8FE9-FC0A25D84331}" dt="2021-05-19T13:37:30.823" v="1329" actId="165"/>
          <ac:spMkLst>
            <pc:docMk/>
            <pc:sldMk cId="144928652" sldId="1796"/>
            <ac:spMk id="17" creationId="{C3B1800B-F1E7-4666-A918-2EB6D7F25899}"/>
          </ac:spMkLst>
        </pc:spChg>
        <pc:spChg chg="mod topLvl">
          <ac:chgData name="Louis Wang" userId="afff2e54-1287-4765-98d1-fc9729dc18f3" providerId="ADAL" clId="{5CA31268-2CC3-400D-8FE9-FC0A25D84331}" dt="2021-05-19T13:37:30.823" v="1329" actId="165"/>
          <ac:spMkLst>
            <pc:docMk/>
            <pc:sldMk cId="144928652" sldId="1796"/>
            <ac:spMk id="18" creationId="{FF91143C-91F0-4145-B862-72464B0BDE8B}"/>
          </ac:spMkLst>
        </pc:spChg>
        <pc:spChg chg="add mod">
          <ac:chgData name="Louis Wang" userId="afff2e54-1287-4765-98d1-fc9729dc18f3" providerId="ADAL" clId="{5CA31268-2CC3-400D-8FE9-FC0A25D84331}" dt="2021-05-19T11:44:36.491" v="715"/>
          <ac:spMkLst>
            <pc:docMk/>
            <pc:sldMk cId="144928652" sldId="1796"/>
            <ac:spMk id="20" creationId="{01D0A987-3A3C-4F7B-B7AE-6DFD2083A839}"/>
          </ac:spMkLst>
        </pc:spChg>
        <pc:spChg chg="add mod">
          <ac:chgData name="Louis Wang" userId="afff2e54-1287-4765-98d1-fc9729dc18f3" providerId="ADAL" clId="{5CA31268-2CC3-400D-8FE9-FC0A25D84331}" dt="2021-05-19T11:44:36.491" v="715"/>
          <ac:spMkLst>
            <pc:docMk/>
            <pc:sldMk cId="144928652" sldId="1796"/>
            <ac:spMk id="21" creationId="{BE8A4289-3922-4077-8DF8-51A5AA545945}"/>
          </ac:spMkLst>
        </pc:spChg>
        <pc:spChg chg="add mod">
          <ac:chgData name="Louis Wang" userId="afff2e54-1287-4765-98d1-fc9729dc18f3" providerId="ADAL" clId="{5CA31268-2CC3-400D-8FE9-FC0A25D84331}" dt="2021-05-19T11:44:36.491" v="715"/>
          <ac:spMkLst>
            <pc:docMk/>
            <pc:sldMk cId="144928652" sldId="1796"/>
            <ac:spMk id="22" creationId="{51B0B2F7-4797-4546-8BAC-127D41AA8DE2}"/>
          </ac:spMkLst>
        </pc:spChg>
        <pc:spChg chg="add mod">
          <ac:chgData name="Louis Wang" userId="afff2e54-1287-4765-98d1-fc9729dc18f3" providerId="ADAL" clId="{5CA31268-2CC3-400D-8FE9-FC0A25D84331}" dt="2021-05-19T11:44:36.491" v="715"/>
          <ac:spMkLst>
            <pc:docMk/>
            <pc:sldMk cId="144928652" sldId="1796"/>
            <ac:spMk id="23" creationId="{D742DF66-09DB-4512-AAB3-4E2E991C52F6}"/>
          </ac:spMkLst>
        </pc:spChg>
        <pc:spChg chg="add mod">
          <ac:chgData name="Louis Wang" userId="afff2e54-1287-4765-98d1-fc9729dc18f3" providerId="ADAL" clId="{5CA31268-2CC3-400D-8FE9-FC0A25D84331}" dt="2021-05-19T11:44:36.491" v="715"/>
          <ac:spMkLst>
            <pc:docMk/>
            <pc:sldMk cId="144928652" sldId="1796"/>
            <ac:spMk id="24" creationId="{6597703F-87E2-4EB5-940C-D13837759451}"/>
          </ac:spMkLst>
        </pc:spChg>
        <pc:spChg chg="add mod">
          <ac:chgData name="Louis Wang" userId="afff2e54-1287-4765-98d1-fc9729dc18f3" providerId="ADAL" clId="{5CA31268-2CC3-400D-8FE9-FC0A25D84331}" dt="2021-05-19T11:44:36.491" v="715"/>
          <ac:spMkLst>
            <pc:docMk/>
            <pc:sldMk cId="144928652" sldId="1796"/>
            <ac:spMk id="25" creationId="{A89E37C9-BB57-4335-ADBD-87FAD8251829}"/>
          </ac:spMkLst>
        </pc:spChg>
        <pc:spChg chg="add mod">
          <ac:chgData name="Louis Wang" userId="afff2e54-1287-4765-98d1-fc9729dc18f3" providerId="ADAL" clId="{5CA31268-2CC3-400D-8FE9-FC0A25D84331}" dt="2021-05-19T11:44:36.491" v="715"/>
          <ac:spMkLst>
            <pc:docMk/>
            <pc:sldMk cId="144928652" sldId="1796"/>
            <ac:spMk id="26" creationId="{1345DD23-D788-42DD-B075-FDB5B3BD65B0}"/>
          </ac:spMkLst>
        </pc:spChg>
        <pc:spChg chg="add mod">
          <ac:chgData name="Louis Wang" userId="afff2e54-1287-4765-98d1-fc9729dc18f3" providerId="ADAL" clId="{5CA31268-2CC3-400D-8FE9-FC0A25D84331}" dt="2021-05-19T11:44:36.491" v="715"/>
          <ac:spMkLst>
            <pc:docMk/>
            <pc:sldMk cId="144928652" sldId="1796"/>
            <ac:spMk id="27" creationId="{51540850-7D80-49CD-A4A2-809534618A2F}"/>
          </ac:spMkLst>
        </pc:spChg>
        <pc:spChg chg="add mod">
          <ac:chgData name="Louis Wang" userId="afff2e54-1287-4765-98d1-fc9729dc18f3" providerId="ADAL" clId="{5CA31268-2CC3-400D-8FE9-FC0A25D84331}" dt="2021-05-19T11:44:36.491" v="715"/>
          <ac:spMkLst>
            <pc:docMk/>
            <pc:sldMk cId="144928652" sldId="1796"/>
            <ac:spMk id="28" creationId="{A5BC23A0-E8F2-44F4-A92A-165DB3DCB166}"/>
          </ac:spMkLst>
        </pc:spChg>
        <pc:spChg chg="add mod">
          <ac:chgData name="Louis Wang" userId="afff2e54-1287-4765-98d1-fc9729dc18f3" providerId="ADAL" clId="{5CA31268-2CC3-400D-8FE9-FC0A25D84331}" dt="2021-05-19T11:44:36.491" v="715"/>
          <ac:spMkLst>
            <pc:docMk/>
            <pc:sldMk cId="144928652" sldId="1796"/>
            <ac:spMk id="29" creationId="{C3B1800B-F1E7-4666-A918-2EB6D7F25899}"/>
          </ac:spMkLst>
        </pc:spChg>
        <pc:spChg chg="add mod">
          <ac:chgData name="Louis Wang" userId="afff2e54-1287-4765-98d1-fc9729dc18f3" providerId="ADAL" clId="{5CA31268-2CC3-400D-8FE9-FC0A25D84331}" dt="2021-05-19T11:44:36.491" v="715"/>
          <ac:spMkLst>
            <pc:docMk/>
            <pc:sldMk cId="144928652" sldId="1796"/>
            <ac:spMk id="30" creationId="{FF91143C-91F0-4145-B862-72464B0BDE8B}"/>
          </ac:spMkLst>
        </pc:spChg>
        <pc:spChg chg="add del mod">
          <ac:chgData name="Louis Wang" userId="afff2e54-1287-4765-98d1-fc9729dc18f3" providerId="ADAL" clId="{5CA31268-2CC3-400D-8FE9-FC0A25D84331}" dt="2021-05-19T11:45:14.267" v="723"/>
          <ac:spMkLst>
            <pc:docMk/>
            <pc:sldMk cId="144928652" sldId="1796"/>
            <ac:spMk id="31" creationId="{6E71F558-055A-46CF-85BF-5549521709D6}"/>
          </ac:spMkLst>
        </pc:spChg>
        <pc:grpChg chg="add del mod">
          <ac:chgData name="Louis Wang" userId="afff2e54-1287-4765-98d1-fc9729dc18f3" providerId="ADAL" clId="{5CA31268-2CC3-400D-8FE9-FC0A25D84331}" dt="2021-05-19T13:37:30.823" v="1329" actId="165"/>
          <ac:grpSpMkLst>
            <pc:docMk/>
            <pc:sldMk cId="144928652" sldId="1796"/>
            <ac:grpSpMk id="5" creationId="{120071BA-7128-4885-A216-734F526093FF}"/>
          </ac:grpSpMkLst>
        </pc:grpChg>
        <pc:grpChg chg="add mod">
          <ac:chgData name="Louis Wang" userId="afff2e54-1287-4765-98d1-fc9729dc18f3" providerId="ADAL" clId="{5CA31268-2CC3-400D-8FE9-FC0A25D84331}" dt="2021-05-19T11:44:36.491" v="715"/>
          <ac:grpSpMkLst>
            <pc:docMk/>
            <pc:sldMk cId="144928652" sldId="1796"/>
            <ac:grpSpMk id="19" creationId="{120071BA-7128-4885-A216-734F526093FF}"/>
          </ac:grpSpMkLst>
        </pc:grpChg>
      </pc:sldChg>
      <pc:sldChg chg="addSp delSp modSp new mod">
        <pc:chgData name="Louis Wang" userId="afff2e54-1287-4765-98d1-fc9729dc18f3" providerId="ADAL" clId="{5CA31268-2CC3-400D-8FE9-FC0A25D84331}" dt="2021-05-19T12:05:18.602" v="861"/>
        <pc:sldMkLst>
          <pc:docMk/>
          <pc:sldMk cId="2692462510" sldId="1797"/>
        </pc:sldMkLst>
        <pc:spChg chg="mod">
          <ac:chgData name="Louis Wang" userId="afff2e54-1287-4765-98d1-fc9729dc18f3" providerId="ADAL" clId="{5CA31268-2CC3-400D-8FE9-FC0A25D84331}" dt="2021-05-19T12:05:18.602" v="861"/>
          <ac:spMkLst>
            <pc:docMk/>
            <pc:sldMk cId="2692462510" sldId="1797"/>
            <ac:spMk id="2" creationId="{9D4AF965-87EF-4D8B-A4F4-35F8C971E97F}"/>
          </ac:spMkLst>
        </pc:spChg>
        <pc:spChg chg="del">
          <ac:chgData name="Louis Wang" userId="afff2e54-1287-4765-98d1-fc9729dc18f3" providerId="ADAL" clId="{5CA31268-2CC3-400D-8FE9-FC0A25D84331}" dt="2021-05-19T11:54:06.737" v="828" actId="478"/>
          <ac:spMkLst>
            <pc:docMk/>
            <pc:sldMk cId="2692462510" sldId="1797"/>
            <ac:spMk id="3" creationId="{0143AE41-515C-4CB4-8B02-A23140C1B606}"/>
          </ac:spMkLst>
        </pc:spChg>
        <pc:spChg chg="add mod">
          <ac:chgData name="Louis Wang" userId="afff2e54-1287-4765-98d1-fc9729dc18f3" providerId="ADAL" clId="{5CA31268-2CC3-400D-8FE9-FC0A25D84331}" dt="2021-05-19T11:57:36.069" v="850"/>
          <ac:spMkLst>
            <pc:docMk/>
            <pc:sldMk cId="2692462510" sldId="1797"/>
            <ac:spMk id="10" creationId="{CE3AE138-5AA9-48F6-9C82-954806FDCCA2}"/>
          </ac:spMkLst>
        </pc:spChg>
        <pc:spChg chg="add mod">
          <ac:chgData name="Louis Wang" userId="afff2e54-1287-4765-98d1-fc9729dc18f3" providerId="ADAL" clId="{5CA31268-2CC3-400D-8FE9-FC0A25D84331}" dt="2021-05-19T11:57:44.196" v="853" actId="1076"/>
          <ac:spMkLst>
            <pc:docMk/>
            <pc:sldMk cId="2692462510" sldId="1797"/>
            <ac:spMk id="12" creationId="{49EDF17C-A6FA-4C8B-962D-518B3C8DE3B0}"/>
          </ac:spMkLst>
        </pc:spChg>
        <pc:picChg chg="add mod">
          <ac:chgData name="Louis Wang" userId="afff2e54-1287-4765-98d1-fc9729dc18f3" providerId="ADAL" clId="{5CA31268-2CC3-400D-8FE9-FC0A25D84331}" dt="2021-05-19T11:56:22.187" v="839" actId="1076"/>
          <ac:picMkLst>
            <pc:docMk/>
            <pc:sldMk cId="2692462510" sldId="1797"/>
            <ac:picMk id="6" creationId="{4D7306FE-5C1F-47A6-A137-B40365E66DB2}"/>
          </ac:picMkLst>
        </pc:picChg>
        <pc:picChg chg="add mod">
          <ac:chgData name="Louis Wang" userId="afff2e54-1287-4765-98d1-fc9729dc18f3" providerId="ADAL" clId="{5CA31268-2CC3-400D-8FE9-FC0A25D84331}" dt="2021-05-19T11:56:13.476" v="836" actId="14100"/>
          <ac:picMkLst>
            <pc:docMk/>
            <pc:sldMk cId="2692462510" sldId="1797"/>
            <ac:picMk id="8" creationId="{DC821938-6E2A-4C34-B2CE-EC625DF74471}"/>
          </ac:picMkLst>
        </pc:picChg>
      </pc:sldChg>
      <pc:sldChg chg="addSp delSp modSp new mod">
        <pc:chgData name="Louis Wang" userId="afff2e54-1287-4765-98d1-fc9729dc18f3" providerId="ADAL" clId="{5CA31268-2CC3-400D-8FE9-FC0A25D84331}" dt="2021-05-19T14:46:22.551" v="1385" actId="478"/>
        <pc:sldMkLst>
          <pc:docMk/>
          <pc:sldMk cId="4096687126" sldId="1798"/>
        </pc:sldMkLst>
        <pc:spChg chg="del">
          <ac:chgData name="Louis Wang" userId="afff2e54-1287-4765-98d1-fc9729dc18f3" providerId="ADAL" clId="{5CA31268-2CC3-400D-8FE9-FC0A25D84331}" dt="2021-05-19T11:56:54.271" v="841"/>
          <ac:spMkLst>
            <pc:docMk/>
            <pc:sldMk cId="4096687126" sldId="1798"/>
            <ac:spMk id="2" creationId="{B49424BC-AE6C-4FD6-83F9-E0537381C8EA}"/>
          </ac:spMkLst>
        </pc:spChg>
        <pc:spChg chg="del">
          <ac:chgData name="Louis Wang" userId="afff2e54-1287-4765-98d1-fc9729dc18f3" providerId="ADAL" clId="{5CA31268-2CC3-400D-8FE9-FC0A25D84331}" dt="2021-05-19T14:46:22.551" v="1385" actId="478"/>
          <ac:spMkLst>
            <pc:docMk/>
            <pc:sldMk cId="4096687126" sldId="1798"/>
            <ac:spMk id="3" creationId="{5B3F72D0-5265-4366-BF0E-9C0B4A6C0D6F}"/>
          </ac:spMkLst>
        </pc:spChg>
        <pc:spChg chg="add mod">
          <ac:chgData name="Louis Wang" userId="afff2e54-1287-4765-98d1-fc9729dc18f3" providerId="ADAL" clId="{5CA31268-2CC3-400D-8FE9-FC0A25D84331}" dt="2021-05-19T12:05:02.718" v="857" actId="20577"/>
          <ac:spMkLst>
            <pc:docMk/>
            <pc:sldMk cId="4096687126" sldId="1798"/>
            <ac:spMk id="5" creationId="{9A0BBE3B-D474-40F0-9A3A-69148CC05354}"/>
          </ac:spMkLst>
        </pc:spChg>
        <pc:picChg chg="add mod">
          <ac:chgData name="Louis Wang" userId="afff2e54-1287-4765-98d1-fc9729dc18f3" providerId="ADAL" clId="{5CA31268-2CC3-400D-8FE9-FC0A25D84331}" dt="2021-05-19T12:06:07.297" v="865" actId="1076"/>
          <ac:picMkLst>
            <pc:docMk/>
            <pc:sldMk cId="4096687126" sldId="1798"/>
            <ac:picMk id="7" creationId="{0369F44B-ABF9-4EC2-A0F7-15B99C96DDB7}"/>
          </ac:picMkLst>
        </pc:picChg>
      </pc:sldChg>
      <pc:sldChg chg="addSp delSp modSp new mod">
        <pc:chgData name="Louis Wang" userId="afff2e54-1287-4765-98d1-fc9729dc18f3" providerId="ADAL" clId="{5CA31268-2CC3-400D-8FE9-FC0A25D84331}" dt="2021-05-19T14:46:17.871" v="1384" actId="478"/>
        <pc:sldMkLst>
          <pc:docMk/>
          <pc:sldMk cId="3356172862" sldId="1799"/>
        </pc:sldMkLst>
        <pc:spChg chg="mod">
          <ac:chgData name="Louis Wang" userId="afff2e54-1287-4765-98d1-fc9729dc18f3" providerId="ADAL" clId="{5CA31268-2CC3-400D-8FE9-FC0A25D84331}" dt="2021-05-19T12:06:32.867" v="867"/>
          <ac:spMkLst>
            <pc:docMk/>
            <pc:sldMk cId="3356172862" sldId="1799"/>
            <ac:spMk id="2" creationId="{38DB1CD5-2891-43A9-BAEE-939CD6B13082}"/>
          </ac:spMkLst>
        </pc:spChg>
        <pc:spChg chg="del">
          <ac:chgData name="Louis Wang" userId="afff2e54-1287-4765-98d1-fc9729dc18f3" providerId="ADAL" clId="{5CA31268-2CC3-400D-8FE9-FC0A25D84331}" dt="2021-05-19T14:46:17.871" v="1384" actId="478"/>
          <ac:spMkLst>
            <pc:docMk/>
            <pc:sldMk cId="3356172862" sldId="1799"/>
            <ac:spMk id="3" creationId="{79E043F7-3679-439C-8664-361A227F528A}"/>
          </ac:spMkLst>
        </pc:spChg>
        <pc:picChg chg="add mod">
          <ac:chgData name="Louis Wang" userId="afff2e54-1287-4765-98d1-fc9729dc18f3" providerId="ADAL" clId="{5CA31268-2CC3-400D-8FE9-FC0A25D84331}" dt="2021-05-19T12:08:19.633" v="876" actId="1076"/>
          <ac:picMkLst>
            <pc:docMk/>
            <pc:sldMk cId="3356172862" sldId="1799"/>
            <ac:picMk id="6" creationId="{E3423B11-8CDE-4E67-ABEE-795FB8B9D05E}"/>
          </ac:picMkLst>
        </pc:picChg>
        <pc:picChg chg="add mod">
          <ac:chgData name="Louis Wang" userId="afff2e54-1287-4765-98d1-fc9729dc18f3" providerId="ADAL" clId="{5CA31268-2CC3-400D-8FE9-FC0A25D84331}" dt="2021-05-19T12:08:12.945" v="875" actId="14100"/>
          <ac:picMkLst>
            <pc:docMk/>
            <pc:sldMk cId="3356172862" sldId="1799"/>
            <ac:picMk id="8" creationId="{6685FA9E-6A59-40E3-A7A0-57EE6841ACF2}"/>
          </ac:picMkLst>
        </pc:picChg>
      </pc:sldChg>
      <pc:sldChg chg="addSp delSp modSp new mod">
        <pc:chgData name="Louis Wang" userId="afff2e54-1287-4765-98d1-fc9729dc18f3" providerId="ADAL" clId="{5CA31268-2CC3-400D-8FE9-FC0A25D84331}" dt="2021-05-19T14:46:45.541" v="1386" actId="478"/>
        <pc:sldMkLst>
          <pc:docMk/>
          <pc:sldMk cId="2315465529" sldId="1800"/>
        </pc:sldMkLst>
        <pc:spChg chg="mod">
          <ac:chgData name="Louis Wang" userId="afff2e54-1287-4765-98d1-fc9729dc18f3" providerId="ADAL" clId="{5CA31268-2CC3-400D-8FE9-FC0A25D84331}" dt="2021-05-19T12:22:30.718" v="933" actId="20577"/>
          <ac:spMkLst>
            <pc:docMk/>
            <pc:sldMk cId="2315465529" sldId="1800"/>
            <ac:spMk id="2" creationId="{AA395EF2-B0EB-4FDA-9D60-DC5E19D3C0F7}"/>
          </ac:spMkLst>
        </pc:spChg>
        <pc:spChg chg="del">
          <ac:chgData name="Louis Wang" userId="afff2e54-1287-4765-98d1-fc9729dc18f3" providerId="ADAL" clId="{5CA31268-2CC3-400D-8FE9-FC0A25D84331}" dt="2021-05-19T14:46:45.541" v="1386" actId="478"/>
          <ac:spMkLst>
            <pc:docMk/>
            <pc:sldMk cId="2315465529" sldId="1800"/>
            <ac:spMk id="3" creationId="{47273163-8AC3-4A74-95FD-BC3B7809225D}"/>
          </ac:spMkLst>
        </pc:spChg>
        <pc:picChg chg="add mod">
          <ac:chgData name="Louis Wang" userId="afff2e54-1287-4765-98d1-fc9729dc18f3" providerId="ADAL" clId="{5CA31268-2CC3-400D-8FE9-FC0A25D84331}" dt="2021-05-19T12:24:17.089" v="936" actId="1076"/>
          <ac:picMkLst>
            <pc:docMk/>
            <pc:sldMk cId="2315465529" sldId="1800"/>
            <ac:picMk id="6" creationId="{E85E198E-1E9B-4249-B336-826DAFFA4908}"/>
          </ac:picMkLst>
        </pc:picChg>
      </pc:sldChg>
      <pc:sldChg chg="addSp delSp modSp add mod ord modAnim">
        <pc:chgData name="Louis Wang" userId="afff2e54-1287-4765-98d1-fc9729dc18f3" providerId="ADAL" clId="{5CA31268-2CC3-400D-8FE9-FC0A25D84331}" dt="2021-05-19T13:40:35.391" v="1338"/>
        <pc:sldMkLst>
          <pc:docMk/>
          <pc:sldMk cId="1226429346" sldId="1801"/>
        </pc:sldMkLst>
        <pc:spChg chg="del">
          <ac:chgData name="Louis Wang" userId="afff2e54-1287-4765-98d1-fc9729dc18f3" providerId="ADAL" clId="{5CA31268-2CC3-400D-8FE9-FC0A25D84331}" dt="2021-05-19T12:13:13.464" v="892"/>
          <ac:spMkLst>
            <pc:docMk/>
            <pc:sldMk cId="1226429346" sldId="1801"/>
            <ac:spMk id="2" creationId="{92FE06A1-E35C-484C-BFC3-908FC32E8D20}"/>
          </ac:spMkLst>
        </pc:spChg>
        <pc:spChg chg="del">
          <ac:chgData name="Louis Wang" userId="afff2e54-1287-4765-98d1-fc9729dc18f3" providerId="ADAL" clId="{5CA31268-2CC3-400D-8FE9-FC0A25D84331}" dt="2021-05-19T12:16:07.512" v="928" actId="478"/>
          <ac:spMkLst>
            <pc:docMk/>
            <pc:sldMk cId="1226429346" sldId="1801"/>
            <ac:spMk id="3" creationId="{AD397D30-D48E-4D83-8196-DB63A56C14BD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6" creationId="{F4C21AC7-F9BE-4EAF-A9FC-F84FBDEF6E1E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9" creationId="{2FA9E34C-4F4C-4B24-A834-1C1C461B8B20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10" creationId="{0B78BCAA-6D3C-4FB3-B36A-06C2FFFA2A78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12" creationId="{67CDE133-C48F-4F02-9AF7-AB65922E32F5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13" creationId="{A18F4B19-7BFA-448B-A5F4-6CE5F43F5A61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15" creationId="{27258F90-C61C-4DD8-BB67-5B397A11D28B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16" creationId="{F60C0B7D-75F5-40CE-BDFE-300EFFA20B25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18" creationId="{F8E0029F-27D1-4C94-BBD2-7EB75399E659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19" creationId="{A2DD66D0-98EC-400A-A24B-73734B478BCC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21" creationId="{4FC02911-BC41-44C5-83B1-B42A4B98B8C0}"/>
          </ac:spMkLst>
        </pc:spChg>
        <pc:spChg chg="mod">
          <ac:chgData name="Louis Wang" userId="afff2e54-1287-4765-98d1-fc9729dc18f3" providerId="ADAL" clId="{5CA31268-2CC3-400D-8FE9-FC0A25D84331}" dt="2021-05-19T12:14:37.632" v="900"/>
          <ac:spMkLst>
            <pc:docMk/>
            <pc:sldMk cId="1226429346" sldId="1801"/>
            <ac:spMk id="22" creationId="{658BF03D-CB04-4A13-8FB7-DFCDB2214C09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23" creationId="{077F73AE-780C-4396-8BFA-1C9538990A11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25" creationId="{A031061E-1DC4-4E5C-906C-5A0534C30A56}"/>
          </ac:spMkLst>
        </pc:spChg>
        <pc:spChg chg="mod">
          <ac:chgData name="Louis Wang" userId="afff2e54-1287-4765-98d1-fc9729dc18f3" providerId="ADAL" clId="{5CA31268-2CC3-400D-8FE9-FC0A25D84331}" dt="2021-05-19T12:14:02.429" v="898" actId="14100"/>
          <ac:spMkLst>
            <pc:docMk/>
            <pc:sldMk cId="1226429346" sldId="1801"/>
            <ac:spMk id="26" creationId="{96447019-02D0-4F5D-83C3-BE0FEB6CBF65}"/>
          </ac:spMkLst>
        </pc:spChg>
        <pc:spChg chg="add mod">
          <ac:chgData name="Louis Wang" userId="afff2e54-1287-4765-98d1-fc9729dc18f3" providerId="ADAL" clId="{5CA31268-2CC3-400D-8FE9-FC0A25D84331}" dt="2021-05-19T12:13:13.464" v="892"/>
          <ac:spMkLst>
            <pc:docMk/>
            <pc:sldMk cId="1226429346" sldId="1801"/>
            <ac:spMk id="27" creationId="{DE7E2511-DD9E-4655-9657-9FA00E21285D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29" creationId="{F4C21AC7-F9BE-4EAF-A9FC-F84FBDEF6E1E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32" creationId="{2FA9E34C-4F4C-4B24-A834-1C1C461B8B20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33" creationId="{0B78BCAA-6D3C-4FB3-B36A-06C2FFFA2A78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35" creationId="{67CDE133-C48F-4F02-9AF7-AB65922E32F5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36" creationId="{A18F4B19-7BFA-448B-A5F4-6CE5F43F5A61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38" creationId="{27258F90-C61C-4DD8-BB67-5B397A11D28B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39" creationId="{F60C0B7D-75F5-40CE-BDFE-300EFFA20B25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41" creationId="{F8E0029F-27D1-4C94-BBD2-7EB75399E659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42" creationId="{A2DD66D0-98EC-400A-A24B-73734B478BCC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44" creationId="{4FC02911-BC41-44C5-83B1-B42A4B98B8C0}"/>
          </ac:spMkLst>
        </pc:spChg>
        <pc:spChg chg="add mod">
          <ac:chgData name="Louis Wang" userId="afff2e54-1287-4765-98d1-fc9729dc18f3" providerId="ADAL" clId="{5CA31268-2CC3-400D-8FE9-FC0A25D84331}" dt="2021-05-19T12:14:37.785" v="907"/>
          <ac:spMkLst>
            <pc:docMk/>
            <pc:sldMk cId="1226429346" sldId="1801"/>
            <ac:spMk id="45" creationId="{658BF03D-CB04-4A13-8FB7-DFCDB2214C09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46" creationId="{077F73AE-780C-4396-8BFA-1C9538990A11}"/>
          </ac:spMkLst>
        </pc:spChg>
        <pc:spChg chg="add mod">
          <ac:chgData name="Louis Wang" userId="afff2e54-1287-4765-98d1-fc9729dc18f3" providerId="ADAL" clId="{5CA31268-2CC3-400D-8FE9-FC0A25D84331}" dt="2021-05-19T12:14:37.783" v="905"/>
          <ac:spMkLst>
            <pc:docMk/>
            <pc:sldMk cId="1226429346" sldId="1801"/>
            <ac:spMk id="48" creationId="{A031061E-1DC4-4E5C-906C-5A0534C30A56}"/>
          </ac:spMkLst>
        </pc:spChg>
        <pc:spChg chg="add mod">
          <ac:chgData name="Louis Wang" userId="afff2e54-1287-4765-98d1-fc9729dc18f3" providerId="ADAL" clId="{5CA31268-2CC3-400D-8FE9-FC0A25D84331}" dt="2021-05-19T12:15:26.576" v="910"/>
          <ac:spMkLst>
            <pc:docMk/>
            <pc:sldMk cId="1226429346" sldId="1801"/>
            <ac:spMk id="49" creationId="{96447019-02D0-4F5D-83C3-BE0FEB6CBF65}"/>
          </ac:spMkLst>
        </pc:spChg>
        <pc:spChg chg="add mod topLvl">
          <ac:chgData name="Louis Wang" userId="afff2e54-1287-4765-98d1-fc9729dc18f3" providerId="ADAL" clId="{5CA31268-2CC3-400D-8FE9-FC0A25D84331}" dt="2021-05-19T13:40:29.579" v="1337" actId="165"/>
          <ac:spMkLst>
            <pc:docMk/>
            <pc:sldMk cId="1226429346" sldId="1801"/>
            <ac:spMk id="51" creationId="{F4C21AC7-F9BE-4EAF-A9FC-F84FBDEF6E1E}"/>
          </ac:spMkLst>
        </pc:spChg>
        <pc:spChg chg="add mod topLvl">
          <ac:chgData name="Louis Wang" userId="afff2e54-1287-4765-98d1-fc9729dc18f3" providerId="ADAL" clId="{5CA31268-2CC3-400D-8FE9-FC0A25D84331}" dt="2021-05-19T13:40:29.579" v="1337" actId="165"/>
          <ac:spMkLst>
            <pc:docMk/>
            <pc:sldMk cId="1226429346" sldId="1801"/>
            <ac:spMk id="54" creationId="{2FA9E34C-4F4C-4B24-A834-1C1C461B8B20}"/>
          </ac:spMkLst>
        </pc:spChg>
        <pc:spChg chg="add mod topLvl">
          <ac:chgData name="Louis Wang" userId="afff2e54-1287-4765-98d1-fc9729dc18f3" providerId="ADAL" clId="{5CA31268-2CC3-400D-8FE9-FC0A25D84331}" dt="2021-05-19T13:40:29.579" v="1337" actId="165"/>
          <ac:spMkLst>
            <pc:docMk/>
            <pc:sldMk cId="1226429346" sldId="1801"/>
            <ac:spMk id="55" creationId="{0B78BCAA-6D3C-4FB3-B36A-06C2FFFA2A78}"/>
          </ac:spMkLst>
        </pc:spChg>
        <pc:spChg chg="add mod topLvl">
          <ac:chgData name="Louis Wang" userId="afff2e54-1287-4765-98d1-fc9729dc18f3" providerId="ADAL" clId="{5CA31268-2CC3-400D-8FE9-FC0A25D84331}" dt="2021-05-19T13:40:29.579" v="1337" actId="165"/>
          <ac:spMkLst>
            <pc:docMk/>
            <pc:sldMk cId="1226429346" sldId="1801"/>
            <ac:spMk id="57" creationId="{67CDE133-C48F-4F02-9AF7-AB65922E32F5}"/>
          </ac:spMkLst>
        </pc:spChg>
        <pc:spChg chg="add mod topLvl">
          <ac:chgData name="Louis Wang" userId="afff2e54-1287-4765-98d1-fc9729dc18f3" providerId="ADAL" clId="{5CA31268-2CC3-400D-8FE9-FC0A25D84331}" dt="2021-05-19T13:40:29.579" v="1337" actId="165"/>
          <ac:spMkLst>
            <pc:docMk/>
            <pc:sldMk cId="1226429346" sldId="1801"/>
            <ac:spMk id="58" creationId="{A18F4B19-7BFA-448B-A5F4-6CE5F43F5A61}"/>
          </ac:spMkLst>
        </pc:spChg>
        <pc:spChg chg="add del mod">
          <ac:chgData name="Louis Wang" userId="afff2e54-1287-4765-98d1-fc9729dc18f3" providerId="ADAL" clId="{5CA31268-2CC3-400D-8FE9-FC0A25D84331}" dt="2021-05-19T12:15:58.205" v="925" actId="478"/>
          <ac:spMkLst>
            <pc:docMk/>
            <pc:sldMk cId="1226429346" sldId="1801"/>
            <ac:spMk id="60" creationId="{27258F90-C61C-4DD8-BB67-5B397A11D28B}"/>
          </ac:spMkLst>
        </pc:spChg>
        <pc:spChg chg="add del mod">
          <ac:chgData name="Louis Wang" userId="afff2e54-1287-4765-98d1-fc9729dc18f3" providerId="ADAL" clId="{5CA31268-2CC3-400D-8FE9-FC0A25D84331}" dt="2021-05-19T12:15:59.524" v="926" actId="478"/>
          <ac:spMkLst>
            <pc:docMk/>
            <pc:sldMk cId="1226429346" sldId="1801"/>
            <ac:spMk id="61" creationId="{F60C0B7D-75F5-40CE-BDFE-300EFFA20B25}"/>
          </ac:spMkLst>
        </pc:spChg>
        <pc:spChg chg="add del mod">
          <ac:chgData name="Louis Wang" userId="afff2e54-1287-4765-98d1-fc9729dc18f3" providerId="ADAL" clId="{5CA31268-2CC3-400D-8FE9-FC0A25D84331}" dt="2021-05-19T12:15:32.458" v="919" actId="478"/>
          <ac:spMkLst>
            <pc:docMk/>
            <pc:sldMk cId="1226429346" sldId="1801"/>
            <ac:spMk id="63" creationId="{F8E0029F-27D1-4C94-BBD2-7EB75399E659}"/>
          </ac:spMkLst>
        </pc:spChg>
        <pc:spChg chg="add del mod">
          <ac:chgData name="Louis Wang" userId="afff2e54-1287-4765-98d1-fc9729dc18f3" providerId="ADAL" clId="{5CA31268-2CC3-400D-8FE9-FC0A25D84331}" dt="2021-05-19T12:15:33.996" v="920" actId="478"/>
          <ac:spMkLst>
            <pc:docMk/>
            <pc:sldMk cId="1226429346" sldId="1801"/>
            <ac:spMk id="64" creationId="{A2DD66D0-98EC-400A-A24B-73734B478BCC}"/>
          </ac:spMkLst>
        </pc:spChg>
        <pc:spChg chg="add mod">
          <ac:chgData name="Louis Wang" userId="afff2e54-1287-4765-98d1-fc9729dc18f3" providerId="ADAL" clId="{5CA31268-2CC3-400D-8FE9-FC0A25D84331}" dt="2021-05-19T13:40:29.579" v="1337" actId="165"/>
          <ac:spMkLst>
            <pc:docMk/>
            <pc:sldMk cId="1226429346" sldId="1801"/>
            <ac:spMk id="66" creationId="{4FC02911-BC41-44C5-83B1-B42A4B98B8C0}"/>
          </ac:spMkLst>
        </pc:spChg>
        <pc:spChg chg="add mod">
          <ac:chgData name="Louis Wang" userId="afff2e54-1287-4765-98d1-fc9729dc18f3" providerId="ADAL" clId="{5CA31268-2CC3-400D-8FE9-FC0A25D84331}" dt="2021-05-19T13:40:29.579" v="1337" actId="165"/>
          <ac:spMkLst>
            <pc:docMk/>
            <pc:sldMk cId="1226429346" sldId="1801"/>
            <ac:spMk id="67" creationId="{658BF03D-CB04-4A13-8FB7-DFCDB2214C09}"/>
          </ac:spMkLst>
        </pc:spChg>
        <pc:spChg chg="add mod">
          <ac:chgData name="Louis Wang" userId="afff2e54-1287-4765-98d1-fc9729dc18f3" providerId="ADAL" clId="{5CA31268-2CC3-400D-8FE9-FC0A25D84331}" dt="2021-05-19T13:40:29.579" v="1337" actId="165"/>
          <ac:spMkLst>
            <pc:docMk/>
            <pc:sldMk cId="1226429346" sldId="1801"/>
            <ac:spMk id="68" creationId="{077F73AE-780C-4396-8BFA-1C9538990A11}"/>
          </ac:spMkLst>
        </pc:spChg>
        <pc:spChg chg="add mod">
          <ac:chgData name="Louis Wang" userId="afff2e54-1287-4765-98d1-fc9729dc18f3" providerId="ADAL" clId="{5CA31268-2CC3-400D-8FE9-FC0A25D84331}" dt="2021-05-19T13:40:29.579" v="1337" actId="165"/>
          <ac:spMkLst>
            <pc:docMk/>
            <pc:sldMk cId="1226429346" sldId="1801"/>
            <ac:spMk id="70" creationId="{A031061E-1DC4-4E5C-906C-5A0534C30A56}"/>
          </ac:spMkLst>
        </pc:spChg>
        <pc:spChg chg="add mod">
          <ac:chgData name="Louis Wang" userId="afff2e54-1287-4765-98d1-fc9729dc18f3" providerId="ADAL" clId="{5CA31268-2CC3-400D-8FE9-FC0A25D84331}" dt="2021-05-19T13:40:29.579" v="1337" actId="165"/>
          <ac:spMkLst>
            <pc:docMk/>
            <pc:sldMk cId="1226429346" sldId="1801"/>
            <ac:spMk id="71" creationId="{96447019-02D0-4F5D-83C3-BE0FEB6CBF65}"/>
          </ac:spMkLst>
        </pc:spChg>
        <pc:grpChg chg="add del mod">
          <ac:chgData name="Louis Wang" userId="afff2e54-1287-4765-98d1-fc9729dc18f3" providerId="ADAL" clId="{5CA31268-2CC3-400D-8FE9-FC0A25D84331}" dt="2021-05-19T12:14:37.764" v="901"/>
          <ac:grpSpMkLst>
            <pc:docMk/>
            <pc:sldMk cId="1226429346" sldId="1801"/>
            <ac:grpSpMk id="5" creationId="{4A36E520-14AE-4E7C-B386-58DF5689D03B}"/>
          </ac:grpSpMkLst>
        </pc:grpChg>
        <pc:grpChg chg="mod">
          <ac:chgData name="Louis Wang" userId="afff2e54-1287-4765-98d1-fc9729dc18f3" providerId="ADAL" clId="{5CA31268-2CC3-400D-8FE9-FC0A25D84331}" dt="2021-05-19T12:14:02.429" v="898" actId="14100"/>
          <ac:grpSpMkLst>
            <pc:docMk/>
            <pc:sldMk cId="1226429346" sldId="1801"/>
            <ac:grpSpMk id="7" creationId="{F11C06B8-58FD-4F6E-AC50-7A694ACC8A8A}"/>
          </ac:grpSpMkLst>
        </pc:grpChg>
        <pc:grpChg chg="mod">
          <ac:chgData name="Louis Wang" userId="afff2e54-1287-4765-98d1-fc9729dc18f3" providerId="ADAL" clId="{5CA31268-2CC3-400D-8FE9-FC0A25D84331}" dt="2021-05-19T12:14:02.429" v="898" actId="14100"/>
          <ac:grpSpMkLst>
            <pc:docMk/>
            <pc:sldMk cId="1226429346" sldId="1801"/>
            <ac:grpSpMk id="8" creationId="{E35AE502-7718-4321-B434-AC62223B43BB}"/>
          </ac:grpSpMkLst>
        </pc:grpChg>
        <pc:grpChg chg="mod">
          <ac:chgData name="Louis Wang" userId="afff2e54-1287-4765-98d1-fc9729dc18f3" providerId="ADAL" clId="{5CA31268-2CC3-400D-8FE9-FC0A25D84331}" dt="2021-05-19T12:14:02.429" v="898" actId="14100"/>
          <ac:grpSpMkLst>
            <pc:docMk/>
            <pc:sldMk cId="1226429346" sldId="1801"/>
            <ac:grpSpMk id="11" creationId="{F7B89405-DDB5-4CB5-9FFE-A7FB04153E4D}"/>
          </ac:grpSpMkLst>
        </pc:grpChg>
        <pc:grpChg chg="mod">
          <ac:chgData name="Louis Wang" userId="afff2e54-1287-4765-98d1-fc9729dc18f3" providerId="ADAL" clId="{5CA31268-2CC3-400D-8FE9-FC0A25D84331}" dt="2021-05-19T12:14:02.429" v="898" actId="14100"/>
          <ac:grpSpMkLst>
            <pc:docMk/>
            <pc:sldMk cId="1226429346" sldId="1801"/>
            <ac:grpSpMk id="14" creationId="{D02D6EF6-3C22-444A-9DAD-60A4B29FCF4C}"/>
          </ac:grpSpMkLst>
        </pc:grpChg>
        <pc:grpChg chg="mod">
          <ac:chgData name="Louis Wang" userId="afff2e54-1287-4765-98d1-fc9729dc18f3" providerId="ADAL" clId="{5CA31268-2CC3-400D-8FE9-FC0A25D84331}" dt="2021-05-19T12:14:02.429" v="898" actId="14100"/>
          <ac:grpSpMkLst>
            <pc:docMk/>
            <pc:sldMk cId="1226429346" sldId="1801"/>
            <ac:grpSpMk id="24" creationId="{904A6FDB-EF1B-43AF-9B09-936F55B2E0AA}"/>
          </ac:grpSpMkLst>
        </pc:grpChg>
        <pc:grpChg chg="add del mod">
          <ac:chgData name="Louis Wang" userId="afff2e54-1287-4765-98d1-fc9729dc18f3" providerId="ADAL" clId="{5CA31268-2CC3-400D-8FE9-FC0A25D84331}" dt="2021-05-19T12:15:26.695" v="911"/>
          <ac:grpSpMkLst>
            <pc:docMk/>
            <pc:sldMk cId="1226429346" sldId="1801"/>
            <ac:grpSpMk id="28" creationId="{4A36E520-14AE-4E7C-B386-58DF5689D03B}"/>
          </ac:grpSpMkLst>
        </pc:grpChg>
        <pc:grpChg chg="add mod">
          <ac:chgData name="Louis Wang" userId="afff2e54-1287-4765-98d1-fc9729dc18f3" providerId="ADAL" clId="{5CA31268-2CC3-400D-8FE9-FC0A25D84331}" dt="2021-05-19T12:14:37.783" v="905"/>
          <ac:grpSpMkLst>
            <pc:docMk/>
            <pc:sldMk cId="1226429346" sldId="1801"/>
            <ac:grpSpMk id="30" creationId="{F11C06B8-58FD-4F6E-AC50-7A694ACC8A8A}"/>
          </ac:grpSpMkLst>
        </pc:grpChg>
        <pc:grpChg chg="add mod">
          <ac:chgData name="Louis Wang" userId="afff2e54-1287-4765-98d1-fc9729dc18f3" providerId="ADAL" clId="{5CA31268-2CC3-400D-8FE9-FC0A25D84331}" dt="2021-05-19T12:14:37.783" v="905"/>
          <ac:grpSpMkLst>
            <pc:docMk/>
            <pc:sldMk cId="1226429346" sldId="1801"/>
            <ac:grpSpMk id="31" creationId="{E35AE502-7718-4321-B434-AC62223B43BB}"/>
          </ac:grpSpMkLst>
        </pc:grpChg>
        <pc:grpChg chg="add mod">
          <ac:chgData name="Louis Wang" userId="afff2e54-1287-4765-98d1-fc9729dc18f3" providerId="ADAL" clId="{5CA31268-2CC3-400D-8FE9-FC0A25D84331}" dt="2021-05-19T12:14:37.783" v="905"/>
          <ac:grpSpMkLst>
            <pc:docMk/>
            <pc:sldMk cId="1226429346" sldId="1801"/>
            <ac:grpSpMk id="34" creationId="{F7B89405-DDB5-4CB5-9FFE-A7FB04153E4D}"/>
          </ac:grpSpMkLst>
        </pc:grpChg>
        <pc:grpChg chg="add mod">
          <ac:chgData name="Louis Wang" userId="afff2e54-1287-4765-98d1-fc9729dc18f3" providerId="ADAL" clId="{5CA31268-2CC3-400D-8FE9-FC0A25D84331}" dt="2021-05-19T12:14:37.783" v="905"/>
          <ac:grpSpMkLst>
            <pc:docMk/>
            <pc:sldMk cId="1226429346" sldId="1801"/>
            <ac:grpSpMk id="37" creationId="{D02D6EF6-3C22-444A-9DAD-60A4B29FCF4C}"/>
          </ac:grpSpMkLst>
        </pc:grpChg>
        <pc:grpChg chg="add mod">
          <ac:chgData name="Louis Wang" userId="afff2e54-1287-4765-98d1-fc9729dc18f3" providerId="ADAL" clId="{5CA31268-2CC3-400D-8FE9-FC0A25D84331}" dt="2021-05-19T12:14:37.783" v="905"/>
          <ac:grpSpMkLst>
            <pc:docMk/>
            <pc:sldMk cId="1226429346" sldId="1801"/>
            <ac:grpSpMk id="47" creationId="{904A6FDB-EF1B-43AF-9B09-936F55B2E0AA}"/>
          </ac:grpSpMkLst>
        </pc:grpChg>
        <pc:grpChg chg="add del mod">
          <ac:chgData name="Louis Wang" userId="afff2e54-1287-4765-98d1-fc9729dc18f3" providerId="ADAL" clId="{5CA31268-2CC3-400D-8FE9-FC0A25D84331}" dt="2021-05-19T13:40:29.579" v="1337" actId="165"/>
          <ac:grpSpMkLst>
            <pc:docMk/>
            <pc:sldMk cId="1226429346" sldId="1801"/>
            <ac:grpSpMk id="50" creationId="{4A36E520-14AE-4E7C-B386-58DF5689D03B}"/>
          </ac:grpSpMkLst>
        </pc:grpChg>
        <pc:grpChg chg="add mod topLvl">
          <ac:chgData name="Louis Wang" userId="afff2e54-1287-4765-98d1-fc9729dc18f3" providerId="ADAL" clId="{5CA31268-2CC3-400D-8FE9-FC0A25D84331}" dt="2021-05-19T13:40:29.579" v="1337" actId="165"/>
          <ac:grpSpMkLst>
            <pc:docMk/>
            <pc:sldMk cId="1226429346" sldId="1801"/>
            <ac:grpSpMk id="52" creationId="{F11C06B8-58FD-4F6E-AC50-7A694ACC8A8A}"/>
          </ac:grpSpMkLst>
        </pc:grpChg>
        <pc:grpChg chg="add mod topLvl">
          <ac:chgData name="Louis Wang" userId="afff2e54-1287-4765-98d1-fc9729dc18f3" providerId="ADAL" clId="{5CA31268-2CC3-400D-8FE9-FC0A25D84331}" dt="2021-05-19T13:40:29.579" v="1337" actId="165"/>
          <ac:grpSpMkLst>
            <pc:docMk/>
            <pc:sldMk cId="1226429346" sldId="1801"/>
            <ac:grpSpMk id="53" creationId="{E35AE502-7718-4321-B434-AC62223B43BB}"/>
          </ac:grpSpMkLst>
        </pc:grpChg>
        <pc:grpChg chg="add del mod">
          <ac:chgData name="Louis Wang" userId="afff2e54-1287-4765-98d1-fc9729dc18f3" providerId="ADAL" clId="{5CA31268-2CC3-400D-8FE9-FC0A25D84331}" dt="2021-05-19T12:15:33.996" v="920" actId="478"/>
          <ac:grpSpMkLst>
            <pc:docMk/>
            <pc:sldMk cId="1226429346" sldId="1801"/>
            <ac:grpSpMk id="56" creationId="{F7B89405-DDB5-4CB5-9FFE-A7FB04153E4D}"/>
          </ac:grpSpMkLst>
        </pc:grpChg>
        <pc:grpChg chg="add del mod">
          <ac:chgData name="Louis Wang" userId="afff2e54-1287-4765-98d1-fc9729dc18f3" providerId="ADAL" clId="{5CA31268-2CC3-400D-8FE9-FC0A25D84331}" dt="2021-05-19T12:15:58.205" v="925" actId="478"/>
          <ac:grpSpMkLst>
            <pc:docMk/>
            <pc:sldMk cId="1226429346" sldId="1801"/>
            <ac:grpSpMk id="59" creationId="{D02D6EF6-3C22-444A-9DAD-60A4B29FCF4C}"/>
          </ac:grpSpMkLst>
        </pc:grpChg>
        <pc:grpChg chg="add mod">
          <ac:chgData name="Louis Wang" userId="afff2e54-1287-4765-98d1-fc9729dc18f3" providerId="ADAL" clId="{5CA31268-2CC3-400D-8FE9-FC0A25D84331}" dt="2021-05-19T13:40:29.579" v="1337" actId="165"/>
          <ac:grpSpMkLst>
            <pc:docMk/>
            <pc:sldMk cId="1226429346" sldId="1801"/>
            <ac:grpSpMk id="69" creationId="{904A6FDB-EF1B-43AF-9B09-936F55B2E0AA}"/>
          </ac:grpSpMkLst>
        </pc:grpChg>
        <pc:cxnChg chg="mod">
          <ac:chgData name="Louis Wang" userId="afff2e54-1287-4765-98d1-fc9729dc18f3" providerId="ADAL" clId="{5CA31268-2CC3-400D-8FE9-FC0A25D84331}" dt="2021-05-19T12:14:02.429" v="898" actId="14100"/>
          <ac:cxnSpMkLst>
            <pc:docMk/>
            <pc:sldMk cId="1226429346" sldId="1801"/>
            <ac:cxnSpMk id="17" creationId="{D194F558-6648-4F57-AA3C-2A1DB5E4824F}"/>
          </ac:cxnSpMkLst>
        </pc:cxnChg>
        <pc:cxnChg chg="mod">
          <ac:chgData name="Louis Wang" userId="afff2e54-1287-4765-98d1-fc9729dc18f3" providerId="ADAL" clId="{5CA31268-2CC3-400D-8FE9-FC0A25D84331}" dt="2021-05-19T12:14:02.429" v="898" actId="14100"/>
          <ac:cxnSpMkLst>
            <pc:docMk/>
            <pc:sldMk cId="1226429346" sldId="1801"/>
            <ac:cxnSpMk id="20" creationId="{6B519AC9-3CA6-4949-B943-C3F359CE64C7}"/>
          </ac:cxnSpMkLst>
        </pc:cxnChg>
        <pc:cxnChg chg="add mod">
          <ac:chgData name="Louis Wang" userId="afff2e54-1287-4765-98d1-fc9729dc18f3" providerId="ADAL" clId="{5CA31268-2CC3-400D-8FE9-FC0A25D84331}" dt="2021-05-19T12:14:37.783" v="905"/>
          <ac:cxnSpMkLst>
            <pc:docMk/>
            <pc:sldMk cId="1226429346" sldId="1801"/>
            <ac:cxnSpMk id="40" creationId="{D194F558-6648-4F57-AA3C-2A1DB5E4824F}"/>
          </ac:cxnSpMkLst>
        </pc:cxnChg>
        <pc:cxnChg chg="add mod">
          <ac:chgData name="Louis Wang" userId="afff2e54-1287-4765-98d1-fc9729dc18f3" providerId="ADAL" clId="{5CA31268-2CC3-400D-8FE9-FC0A25D84331}" dt="2021-05-19T12:14:37.783" v="905"/>
          <ac:cxnSpMkLst>
            <pc:docMk/>
            <pc:sldMk cId="1226429346" sldId="1801"/>
            <ac:cxnSpMk id="43" creationId="{6B519AC9-3CA6-4949-B943-C3F359CE64C7}"/>
          </ac:cxnSpMkLst>
        </pc:cxnChg>
        <pc:cxnChg chg="add del mod">
          <ac:chgData name="Louis Wang" userId="afff2e54-1287-4765-98d1-fc9729dc18f3" providerId="ADAL" clId="{5CA31268-2CC3-400D-8FE9-FC0A25D84331}" dt="2021-05-19T12:15:56.321" v="923" actId="478"/>
          <ac:cxnSpMkLst>
            <pc:docMk/>
            <pc:sldMk cId="1226429346" sldId="1801"/>
            <ac:cxnSpMk id="62" creationId="{D194F558-6648-4F57-AA3C-2A1DB5E4824F}"/>
          </ac:cxnSpMkLst>
        </pc:cxnChg>
        <pc:cxnChg chg="add del mod">
          <ac:chgData name="Louis Wang" userId="afff2e54-1287-4765-98d1-fc9729dc18f3" providerId="ADAL" clId="{5CA31268-2CC3-400D-8FE9-FC0A25D84331}" dt="2021-05-19T12:15:36.600" v="921" actId="478"/>
          <ac:cxnSpMkLst>
            <pc:docMk/>
            <pc:sldMk cId="1226429346" sldId="1801"/>
            <ac:cxnSpMk id="65" creationId="{6B519AC9-3CA6-4949-B943-C3F359CE64C7}"/>
          </ac:cxnSpMkLst>
        </pc:cxnChg>
      </pc:sldChg>
      <pc:sldChg chg="addSp delSp modSp new mod ord modShow">
        <pc:chgData name="Louis Wang" userId="afff2e54-1287-4765-98d1-fc9729dc18f3" providerId="ADAL" clId="{5CA31268-2CC3-400D-8FE9-FC0A25D84331}" dt="2021-05-19T14:49:41.763" v="1395"/>
        <pc:sldMkLst>
          <pc:docMk/>
          <pc:sldMk cId="3447451822" sldId="1802"/>
        </pc:sldMkLst>
        <pc:spChg chg="del mod">
          <ac:chgData name="Louis Wang" userId="afff2e54-1287-4765-98d1-fc9729dc18f3" providerId="ADAL" clId="{5CA31268-2CC3-400D-8FE9-FC0A25D84331}" dt="2021-05-19T14:49:41.763" v="1395"/>
          <ac:spMkLst>
            <pc:docMk/>
            <pc:sldMk cId="3447451822" sldId="1802"/>
            <ac:spMk id="2" creationId="{6B6EF318-6201-4A5F-B623-BFDF4AF7AD1D}"/>
          </ac:spMkLst>
        </pc:spChg>
        <pc:spChg chg="del">
          <ac:chgData name="Louis Wang" userId="afff2e54-1287-4765-98d1-fc9729dc18f3" providerId="ADAL" clId="{5CA31268-2CC3-400D-8FE9-FC0A25D84331}" dt="2021-05-19T14:30:07.991" v="1377" actId="478"/>
          <ac:spMkLst>
            <pc:docMk/>
            <pc:sldMk cId="3447451822" sldId="1802"/>
            <ac:spMk id="3" creationId="{CC4EBE1A-C7B2-4759-9D4E-71DCEBE4569C}"/>
          </ac:spMkLst>
        </pc:spChg>
        <pc:spChg chg="add del mod">
          <ac:chgData name="Louis Wang" userId="afff2e54-1287-4765-98d1-fc9729dc18f3" providerId="ADAL" clId="{5CA31268-2CC3-400D-8FE9-FC0A25D84331}" dt="2021-05-19T14:49:31.066" v="1391"/>
          <ac:spMkLst>
            <pc:docMk/>
            <pc:sldMk cId="3447451822" sldId="1802"/>
            <ac:spMk id="11" creationId="{F4537C13-2B36-43EB-BFA8-ADB4970BA46A}"/>
          </ac:spMkLst>
        </pc:spChg>
        <pc:spChg chg="add del mod">
          <ac:chgData name="Louis Wang" userId="afff2e54-1287-4765-98d1-fc9729dc18f3" providerId="ADAL" clId="{5CA31268-2CC3-400D-8FE9-FC0A25D84331}" dt="2021-05-19T14:49:39.851" v="1393"/>
          <ac:spMkLst>
            <pc:docMk/>
            <pc:sldMk cId="3447451822" sldId="1802"/>
            <ac:spMk id="12" creationId="{58184A44-786C-4984-93FA-07091B1BDB0B}"/>
          </ac:spMkLst>
        </pc:spChg>
        <pc:spChg chg="add mod">
          <ac:chgData name="Louis Wang" userId="afff2e54-1287-4765-98d1-fc9729dc18f3" providerId="ADAL" clId="{5CA31268-2CC3-400D-8FE9-FC0A25D84331}" dt="2021-05-19T14:49:41.763" v="1395"/>
          <ac:spMkLst>
            <pc:docMk/>
            <pc:sldMk cId="3447451822" sldId="1802"/>
            <ac:spMk id="13" creationId="{21EB578E-4CBE-4FC7-BCB6-08F431664691}"/>
          </ac:spMkLst>
        </pc:spChg>
        <pc:picChg chg="add del">
          <ac:chgData name="Louis Wang" userId="afff2e54-1287-4765-98d1-fc9729dc18f3" providerId="ADAL" clId="{5CA31268-2CC3-400D-8FE9-FC0A25D84331}" dt="2021-05-19T12:31:13.383" v="942" actId="478"/>
          <ac:picMkLst>
            <pc:docMk/>
            <pc:sldMk cId="3447451822" sldId="1802"/>
            <ac:picMk id="6" creationId="{9C62FD27-A9FD-446F-BF2F-314A26B1431C}"/>
          </ac:picMkLst>
        </pc:picChg>
        <pc:picChg chg="add mod">
          <ac:chgData name="Louis Wang" userId="afff2e54-1287-4765-98d1-fc9729dc18f3" providerId="ADAL" clId="{5CA31268-2CC3-400D-8FE9-FC0A25D84331}" dt="2021-05-19T12:31:46.389" v="944" actId="1076"/>
          <ac:picMkLst>
            <pc:docMk/>
            <pc:sldMk cId="3447451822" sldId="1802"/>
            <ac:picMk id="8" creationId="{94CF62FA-E7CF-4E6B-B8AF-08FC5DF103D7}"/>
          </ac:picMkLst>
        </pc:picChg>
        <pc:picChg chg="add mod">
          <ac:chgData name="Louis Wang" userId="afff2e54-1287-4765-98d1-fc9729dc18f3" providerId="ADAL" clId="{5CA31268-2CC3-400D-8FE9-FC0A25D84331}" dt="2021-05-19T12:32:08.551" v="946" actId="1076"/>
          <ac:picMkLst>
            <pc:docMk/>
            <pc:sldMk cId="3447451822" sldId="1802"/>
            <ac:picMk id="10" creationId="{96D83BFC-E2B6-437C-AEE0-AC417F968336}"/>
          </ac:picMkLst>
        </pc:picChg>
      </pc:sldChg>
      <pc:sldChg chg="new del">
        <pc:chgData name="Louis Wang" userId="afff2e54-1287-4765-98d1-fc9729dc18f3" providerId="ADAL" clId="{5CA31268-2CC3-400D-8FE9-FC0A25D84331}" dt="2021-05-19T12:33:51.495" v="960" actId="47"/>
        <pc:sldMkLst>
          <pc:docMk/>
          <pc:sldMk cId="1227337057" sldId="1803"/>
        </pc:sldMkLst>
      </pc:sldChg>
      <pc:sldChg chg="delSp modSp add mod modAnim">
        <pc:chgData name="Louis Wang" userId="afff2e54-1287-4765-98d1-fc9729dc18f3" providerId="ADAL" clId="{5CA31268-2CC3-400D-8FE9-FC0A25D84331}" dt="2021-05-19T15:04:47.751" v="1441" actId="18131"/>
        <pc:sldMkLst>
          <pc:docMk/>
          <pc:sldMk cId="1519884100" sldId="1803"/>
        </pc:sldMkLst>
        <pc:spChg chg="mod topLvl modCrop">
          <ac:chgData name="Louis Wang" userId="afff2e54-1287-4765-98d1-fc9729dc18f3" providerId="ADAL" clId="{5CA31268-2CC3-400D-8FE9-FC0A25D84331}" dt="2021-05-19T15:04:47.751" v="1441" actId="18131"/>
          <ac:spMkLst>
            <pc:docMk/>
            <pc:sldMk cId="1519884100" sldId="1803"/>
            <ac:spMk id="7" creationId="{01D0A987-3A3C-4F7B-B7AE-6DFD2083A839}"/>
          </ac:spMkLst>
        </pc:spChg>
        <pc:spChg chg="mod topLvl modCrop">
          <ac:chgData name="Louis Wang" userId="afff2e54-1287-4765-98d1-fc9729dc18f3" providerId="ADAL" clId="{5CA31268-2CC3-400D-8FE9-FC0A25D84331}" dt="2021-05-19T15:04:33.603" v="1436" actId="18131"/>
          <ac:spMkLst>
            <pc:docMk/>
            <pc:sldMk cId="1519884100" sldId="1803"/>
            <ac:spMk id="8" creationId="{BE8A4289-3922-4077-8DF8-51A5AA545945}"/>
          </ac:spMkLst>
        </pc:spChg>
        <pc:spChg chg="mod topLvl modCrop">
          <ac:chgData name="Louis Wang" userId="afff2e54-1287-4765-98d1-fc9729dc18f3" providerId="ADAL" clId="{5CA31268-2CC3-400D-8FE9-FC0A25D84331}" dt="2021-05-19T15:03:11.144" v="1421" actId="1037"/>
          <ac:spMkLst>
            <pc:docMk/>
            <pc:sldMk cId="1519884100" sldId="1803"/>
            <ac:spMk id="9" creationId="{51B0B2F7-4797-4546-8BAC-127D41AA8DE2}"/>
          </ac:spMkLst>
        </pc:spChg>
        <pc:spChg chg="mod topLvl">
          <ac:chgData name="Louis Wang" userId="afff2e54-1287-4765-98d1-fc9729dc18f3" providerId="ADAL" clId="{5CA31268-2CC3-400D-8FE9-FC0A25D84331}" dt="2021-05-19T13:39:05.080" v="1333" actId="165"/>
          <ac:spMkLst>
            <pc:docMk/>
            <pc:sldMk cId="1519884100" sldId="1803"/>
            <ac:spMk id="10" creationId="{D742DF66-09DB-4512-AAB3-4E2E991C52F6}"/>
          </ac:spMkLst>
        </pc:spChg>
        <pc:spChg chg="mod topLvl">
          <ac:chgData name="Louis Wang" userId="afff2e54-1287-4765-98d1-fc9729dc18f3" providerId="ADAL" clId="{5CA31268-2CC3-400D-8FE9-FC0A25D84331}" dt="2021-05-19T13:39:05.080" v="1333" actId="165"/>
          <ac:spMkLst>
            <pc:docMk/>
            <pc:sldMk cId="1519884100" sldId="1803"/>
            <ac:spMk id="12" creationId="{6597703F-87E2-4EB5-940C-D13837759451}"/>
          </ac:spMkLst>
        </pc:spChg>
        <pc:spChg chg="mod topLvl">
          <ac:chgData name="Louis Wang" userId="afff2e54-1287-4765-98d1-fc9729dc18f3" providerId="ADAL" clId="{5CA31268-2CC3-400D-8FE9-FC0A25D84331}" dt="2021-05-19T13:39:05.080" v="1333" actId="165"/>
          <ac:spMkLst>
            <pc:docMk/>
            <pc:sldMk cId="1519884100" sldId="1803"/>
            <ac:spMk id="13" creationId="{A89E37C9-BB57-4335-ADBD-87FAD8251829}"/>
          </ac:spMkLst>
        </pc:spChg>
        <pc:spChg chg="mod topLvl">
          <ac:chgData name="Louis Wang" userId="afff2e54-1287-4765-98d1-fc9729dc18f3" providerId="ADAL" clId="{5CA31268-2CC3-400D-8FE9-FC0A25D84331}" dt="2021-05-19T13:39:05.080" v="1333" actId="165"/>
          <ac:spMkLst>
            <pc:docMk/>
            <pc:sldMk cId="1519884100" sldId="1803"/>
            <ac:spMk id="14" creationId="{1345DD23-D788-42DD-B075-FDB5B3BD65B0}"/>
          </ac:spMkLst>
        </pc:spChg>
        <pc:spChg chg="mod topLvl">
          <ac:chgData name="Louis Wang" userId="afff2e54-1287-4765-98d1-fc9729dc18f3" providerId="ADAL" clId="{5CA31268-2CC3-400D-8FE9-FC0A25D84331}" dt="2021-05-19T13:39:05.080" v="1333" actId="165"/>
          <ac:spMkLst>
            <pc:docMk/>
            <pc:sldMk cId="1519884100" sldId="1803"/>
            <ac:spMk id="15" creationId="{51540850-7D80-49CD-A4A2-809534618A2F}"/>
          </ac:spMkLst>
        </pc:spChg>
        <pc:spChg chg="mod topLvl">
          <ac:chgData name="Louis Wang" userId="afff2e54-1287-4765-98d1-fc9729dc18f3" providerId="ADAL" clId="{5CA31268-2CC3-400D-8FE9-FC0A25D84331}" dt="2021-05-19T13:39:05.080" v="1333" actId="165"/>
          <ac:spMkLst>
            <pc:docMk/>
            <pc:sldMk cId="1519884100" sldId="1803"/>
            <ac:spMk id="16" creationId="{A5BC23A0-E8F2-44F4-A92A-165DB3DCB166}"/>
          </ac:spMkLst>
        </pc:spChg>
        <pc:spChg chg="mod topLvl">
          <ac:chgData name="Louis Wang" userId="afff2e54-1287-4765-98d1-fc9729dc18f3" providerId="ADAL" clId="{5CA31268-2CC3-400D-8FE9-FC0A25D84331}" dt="2021-05-19T13:39:05.080" v="1333" actId="165"/>
          <ac:spMkLst>
            <pc:docMk/>
            <pc:sldMk cId="1519884100" sldId="1803"/>
            <ac:spMk id="17" creationId="{C3B1800B-F1E7-4666-A918-2EB6D7F25899}"/>
          </ac:spMkLst>
        </pc:spChg>
        <pc:spChg chg="mod topLvl">
          <ac:chgData name="Louis Wang" userId="afff2e54-1287-4765-98d1-fc9729dc18f3" providerId="ADAL" clId="{5CA31268-2CC3-400D-8FE9-FC0A25D84331}" dt="2021-05-19T13:39:05.080" v="1333" actId="165"/>
          <ac:spMkLst>
            <pc:docMk/>
            <pc:sldMk cId="1519884100" sldId="1803"/>
            <ac:spMk id="18" creationId="{FF91143C-91F0-4145-B862-72464B0BDE8B}"/>
          </ac:spMkLst>
        </pc:spChg>
        <pc:grpChg chg="del">
          <ac:chgData name="Louis Wang" userId="afff2e54-1287-4765-98d1-fc9729dc18f3" providerId="ADAL" clId="{5CA31268-2CC3-400D-8FE9-FC0A25D84331}" dt="2021-05-19T13:39:05.080" v="1333" actId="165"/>
          <ac:grpSpMkLst>
            <pc:docMk/>
            <pc:sldMk cId="1519884100" sldId="1803"/>
            <ac:grpSpMk id="5" creationId="{120071BA-7128-4885-A216-734F526093FF}"/>
          </ac:grpSpMkLst>
        </pc:grpChg>
      </pc:sldChg>
      <pc:sldChg chg="delSp modSp add del modAnim">
        <pc:chgData name="Louis Wang" userId="afff2e54-1287-4765-98d1-fc9729dc18f3" providerId="ADAL" clId="{5CA31268-2CC3-400D-8FE9-FC0A25D84331}" dt="2021-05-19T15:05:14.706" v="1443" actId="47"/>
        <pc:sldMkLst>
          <pc:docMk/>
          <pc:sldMk cId="1369308023" sldId="1804"/>
        </pc:sldMkLst>
        <pc:spChg chg="mod topLvl">
          <ac:chgData name="Louis Wang" userId="afff2e54-1287-4765-98d1-fc9729dc18f3" providerId="ADAL" clId="{5CA31268-2CC3-400D-8FE9-FC0A25D84331}" dt="2021-05-19T13:39:28.786" v="1335" actId="165"/>
          <ac:spMkLst>
            <pc:docMk/>
            <pc:sldMk cId="1369308023" sldId="1804"/>
            <ac:spMk id="7" creationId="{01D0A987-3A3C-4F7B-B7AE-6DFD2083A839}"/>
          </ac:spMkLst>
        </pc:spChg>
        <pc:spChg chg="mod topLvl">
          <ac:chgData name="Louis Wang" userId="afff2e54-1287-4765-98d1-fc9729dc18f3" providerId="ADAL" clId="{5CA31268-2CC3-400D-8FE9-FC0A25D84331}" dt="2021-05-19T13:39:28.786" v="1335" actId="165"/>
          <ac:spMkLst>
            <pc:docMk/>
            <pc:sldMk cId="1369308023" sldId="1804"/>
            <ac:spMk id="8" creationId="{BE8A4289-3922-4077-8DF8-51A5AA545945}"/>
          </ac:spMkLst>
        </pc:spChg>
        <pc:spChg chg="mod topLvl">
          <ac:chgData name="Louis Wang" userId="afff2e54-1287-4765-98d1-fc9729dc18f3" providerId="ADAL" clId="{5CA31268-2CC3-400D-8FE9-FC0A25D84331}" dt="2021-05-19T13:39:28.786" v="1335" actId="165"/>
          <ac:spMkLst>
            <pc:docMk/>
            <pc:sldMk cId="1369308023" sldId="1804"/>
            <ac:spMk id="9" creationId="{51B0B2F7-4797-4546-8BAC-127D41AA8DE2}"/>
          </ac:spMkLst>
        </pc:spChg>
        <pc:spChg chg="mod topLvl">
          <ac:chgData name="Louis Wang" userId="afff2e54-1287-4765-98d1-fc9729dc18f3" providerId="ADAL" clId="{5CA31268-2CC3-400D-8FE9-FC0A25D84331}" dt="2021-05-19T13:39:28.786" v="1335" actId="165"/>
          <ac:spMkLst>
            <pc:docMk/>
            <pc:sldMk cId="1369308023" sldId="1804"/>
            <ac:spMk id="10" creationId="{D742DF66-09DB-4512-AAB3-4E2E991C52F6}"/>
          </ac:spMkLst>
        </pc:spChg>
        <pc:spChg chg="mod topLvl">
          <ac:chgData name="Louis Wang" userId="afff2e54-1287-4765-98d1-fc9729dc18f3" providerId="ADAL" clId="{5CA31268-2CC3-400D-8FE9-FC0A25D84331}" dt="2021-05-19T13:39:28.786" v="1335" actId="165"/>
          <ac:spMkLst>
            <pc:docMk/>
            <pc:sldMk cId="1369308023" sldId="1804"/>
            <ac:spMk id="12" creationId="{6597703F-87E2-4EB5-940C-D13837759451}"/>
          </ac:spMkLst>
        </pc:spChg>
        <pc:spChg chg="mod topLvl">
          <ac:chgData name="Louis Wang" userId="afff2e54-1287-4765-98d1-fc9729dc18f3" providerId="ADAL" clId="{5CA31268-2CC3-400D-8FE9-FC0A25D84331}" dt="2021-05-19T13:39:28.786" v="1335" actId="165"/>
          <ac:spMkLst>
            <pc:docMk/>
            <pc:sldMk cId="1369308023" sldId="1804"/>
            <ac:spMk id="13" creationId="{A89E37C9-BB57-4335-ADBD-87FAD8251829}"/>
          </ac:spMkLst>
        </pc:spChg>
        <pc:spChg chg="mod topLvl">
          <ac:chgData name="Louis Wang" userId="afff2e54-1287-4765-98d1-fc9729dc18f3" providerId="ADAL" clId="{5CA31268-2CC3-400D-8FE9-FC0A25D84331}" dt="2021-05-19T13:39:28.786" v="1335" actId="165"/>
          <ac:spMkLst>
            <pc:docMk/>
            <pc:sldMk cId="1369308023" sldId="1804"/>
            <ac:spMk id="14" creationId="{1345DD23-D788-42DD-B075-FDB5B3BD65B0}"/>
          </ac:spMkLst>
        </pc:spChg>
        <pc:spChg chg="mod topLvl">
          <ac:chgData name="Louis Wang" userId="afff2e54-1287-4765-98d1-fc9729dc18f3" providerId="ADAL" clId="{5CA31268-2CC3-400D-8FE9-FC0A25D84331}" dt="2021-05-19T13:39:28.786" v="1335" actId="165"/>
          <ac:spMkLst>
            <pc:docMk/>
            <pc:sldMk cId="1369308023" sldId="1804"/>
            <ac:spMk id="15" creationId="{51540850-7D80-49CD-A4A2-809534618A2F}"/>
          </ac:spMkLst>
        </pc:spChg>
        <pc:spChg chg="mod topLvl">
          <ac:chgData name="Louis Wang" userId="afff2e54-1287-4765-98d1-fc9729dc18f3" providerId="ADAL" clId="{5CA31268-2CC3-400D-8FE9-FC0A25D84331}" dt="2021-05-19T13:39:28.786" v="1335" actId="165"/>
          <ac:spMkLst>
            <pc:docMk/>
            <pc:sldMk cId="1369308023" sldId="1804"/>
            <ac:spMk id="16" creationId="{A5BC23A0-E8F2-44F4-A92A-165DB3DCB166}"/>
          </ac:spMkLst>
        </pc:spChg>
        <pc:spChg chg="mod topLvl">
          <ac:chgData name="Louis Wang" userId="afff2e54-1287-4765-98d1-fc9729dc18f3" providerId="ADAL" clId="{5CA31268-2CC3-400D-8FE9-FC0A25D84331}" dt="2021-05-19T13:39:28.786" v="1335" actId="165"/>
          <ac:spMkLst>
            <pc:docMk/>
            <pc:sldMk cId="1369308023" sldId="1804"/>
            <ac:spMk id="17" creationId="{C3B1800B-F1E7-4666-A918-2EB6D7F25899}"/>
          </ac:spMkLst>
        </pc:spChg>
        <pc:spChg chg="mod topLvl">
          <ac:chgData name="Louis Wang" userId="afff2e54-1287-4765-98d1-fc9729dc18f3" providerId="ADAL" clId="{5CA31268-2CC3-400D-8FE9-FC0A25D84331}" dt="2021-05-19T13:39:28.786" v="1335" actId="165"/>
          <ac:spMkLst>
            <pc:docMk/>
            <pc:sldMk cId="1369308023" sldId="1804"/>
            <ac:spMk id="18" creationId="{FF91143C-91F0-4145-B862-72464B0BDE8B}"/>
          </ac:spMkLst>
        </pc:spChg>
        <pc:grpChg chg="del">
          <ac:chgData name="Louis Wang" userId="afff2e54-1287-4765-98d1-fc9729dc18f3" providerId="ADAL" clId="{5CA31268-2CC3-400D-8FE9-FC0A25D84331}" dt="2021-05-19T13:39:28.786" v="1335" actId="165"/>
          <ac:grpSpMkLst>
            <pc:docMk/>
            <pc:sldMk cId="1369308023" sldId="1804"/>
            <ac:grpSpMk id="5" creationId="{120071BA-7128-4885-A216-734F526093FF}"/>
          </ac:grpSpMkLst>
        </pc:grpChg>
      </pc:sldChg>
      <pc:sldChg chg="delSp modSp add modAnim">
        <pc:chgData name="Louis Wang" userId="afff2e54-1287-4765-98d1-fc9729dc18f3" providerId="ADAL" clId="{5CA31268-2CC3-400D-8FE9-FC0A25D84331}" dt="2021-05-19T13:40:55.313" v="1340"/>
        <pc:sldMkLst>
          <pc:docMk/>
          <pc:sldMk cId="706255984" sldId="1805"/>
        </pc:sldMkLst>
        <pc:spChg chg="mod topLvl">
          <ac:chgData name="Louis Wang" userId="afff2e54-1287-4765-98d1-fc9729dc18f3" providerId="ADAL" clId="{5CA31268-2CC3-400D-8FE9-FC0A25D84331}" dt="2021-05-19T13:40:51.060" v="1339" actId="165"/>
          <ac:spMkLst>
            <pc:docMk/>
            <pc:sldMk cId="706255984" sldId="1805"/>
            <ac:spMk id="51" creationId="{F4C21AC7-F9BE-4EAF-A9FC-F84FBDEF6E1E}"/>
          </ac:spMkLst>
        </pc:spChg>
        <pc:spChg chg="mod topLvl">
          <ac:chgData name="Louis Wang" userId="afff2e54-1287-4765-98d1-fc9729dc18f3" providerId="ADAL" clId="{5CA31268-2CC3-400D-8FE9-FC0A25D84331}" dt="2021-05-19T13:40:51.060" v="1339" actId="165"/>
          <ac:spMkLst>
            <pc:docMk/>
            <pc:sldMk cId="706255984" sldId="1805"/>
            <ac:spMk id="54" creationId="{2FA9E34C-4F4C-4B24-A834-1C1C461B8B20}"/>
          </ac:spMkLst>
        </pc:spChg>
        <pc:spChg chg="mod topLvl">
          <ac:chgData name="Louis Wang" userId="afff2e54-1287-4765-98d1-fc9729dc18f3" providerId="ADAL" clId="{5CA31268-2CC3-400D-8FE9-FC0A25D84331}" dt="2021-05-19T13:40:51.060" v="1339" actId="165"/>
          <ac:spMkLst>
            <pc:docMk/>
            <pc:sldMk cId="706255984" sldId="1805"/>
            <ac:spMk id="55" creationId="{0B78BCAA-6D3C-4FB3-B36A-06C2FFFA2A78}"/>
          </ac:spMkLst>
        </pc:spChg>
        <pc:spChg chg="mod topLvl">
          <ac:chgData name="Louis Wang" userId="afff2e54-1287-4765-98d1-fc9729dc18f3" providerId="ADAL" clId="{5CA31268-2CC3-400D-8FE9-FC0A25D84331}" dt="2021-05-19T13:40:51.060" v="1339" actId="165"/>
          <ac:spMkLst>
            <pc:docMk/>
            <pc:sldMk cId="706255984" sldId="1805"/>
            <ac:spMk id="57" creationId="{67CDE133-C48F-4F02-9AF7-AB65922E32F5}"/>
          </ac:spMkLst>
        </pc:spChg>
        <pc:spChg chg="mod topLvl">
          <ac:chgData name="Louis Wang" userId="afff2e54-1287-4765-98d1-fc9729dc18f3" providerId="ADAL" clId="{5CA31268-2CC3-400D-8FE9-FC0A25D84331}" dt="2021-05-19T13:40:51.060" v="1339" actId="165"/>
          <ac:spMkLst>
            <pc:docMk/>
            <pc:sldMk cId="706255984" sldId="1805"/>
            <ac:spMk id="58" creationId="{A18F4B19-7BFA-448B-A5F4-6CE5F43F5A61}"/>
          </ac:spMkLst>
        </pc:spChg>
        <pc:spChg chg="mod">
          <ac:chgData name="Louis Wang" userId="afff2e54-1287-4765-98d1-fc9729dc18f3" providerId="ADAL" clId="{5CA31268-2CC3-400D-8FE9-FC0A25D84331}" dt="2021-05-19T13:40:51.060" v="1339" actId="165"/>
          <ac:spMkLst>
            <pc:docMk/>
            <pc:sldMk cId="706255984" sldId="1805"/>
            <ac:spMk id="66" creationId="{4FC02911-BC41-44C5-83B1-B42A4B98B8C0}"/>
          </ac:spMkLst>
        </pc:spChg>
        <pc:spChg chg="mod">
          <ac:chgData name="Louis Wang" userId="afff2e54-1287-4765-98d1-fc9729dc18f3" providerId="ADAL" clId="{5CA31268-2CC3-400D-8FE9-FC0A25D84331}" dt="2021-05-19T13:40:51.060" v="1339" actId="165"/>
          <ac:spMkLst>
            <pc:docMk/>
            <pc:sldMk cId="706255984" sldId="1805"/>
            <ac:spMk id="67" creationId="{658BF03D-CB04-4A13-8FB7-DFCDB2214C09}"/>
          </ac:spMkLst>
        </pc:spChg>
        <pc:spChg chg="mod">
          <ac:chgData name="Louis Wang" userId="afff2e54-1287-4765-98d1-fc9729dc18f3" providerId="ADAL" clId="{5CA31268-2CC3-400D-8FE9-FC0A25D84331}" dt="2021-05-19T13:40:51.060" v="1339" actId="165"/>
          <ac:spMkLst>
            <pc:docMk/>
            <pc:sldMk cId="706255984" sldId="1805"/>
            <ac:spMk id="68" creationId="{077F73AE-780C-4396-8BFA-1C9538990A11}"/>
          </ac:spMkLst>
        </pc:spChg>
        <pc:spChg chg="mod">
          <ac:chgData name="Louis Wang" userId="afff2e54-1287-4765-98d1-fc9729dc18f3" providerId="ADAL" clId="{5CA31268-2CC3-400D-8FE9-FC0A25D84331}" dt="2021-05-19T13:40:51.060" v="1339" actId="165"/>
          <ac:spMkLst>
            <pc:docMk/>
            <pc:sldMk cId="706255984" sldId="1805"/>
            <ac:spMk id="70" creationId="{A031061E-1DC4-4E5C-906C-5A0534C30A56}"/>
          </ac:spMkLst>
        </pc:spChg>
        <pc:spChg chg="mod">
          <ac:chgData name="Louis Wang" userId="afff2e54-1287-4765-98d1-fc9729dc18f3" providerId="ADAL" clId="{5CA31268-2CC3-400D-8FE9-FC0A25D84331}" dt="2021-05-19T13:40:51.060" v="1339" actId="165"/>
          <ac:spMkLst>
            <pc:docMk/>
            <pc:sldMk cId="706255984" sldId="1805"/>
            <ac:spMk id="71" creationId="{96447019-02D0-4F5D-83C3-BE0FEB6CBF65}"/>
          </ac:spMkLst>
        </pc:spChg>
        <pc:grpChg chg="del">
          <ac:chgData name="Louis Wang" userId="afff2e54-1287-4765-98d1-fc9729dc18f3" providerId="ADAL" clId="{5CA31268-2CC3-400D-8FE9-FC0A25D84331}" dt="2021-05-19T13:40:51.060" v="1339" actId="165"/>
          <ac:grpSpMkLst>
            <pc:docMk/>
            <pc:sldMk cId="706255984" sldId="1805"/>
            <ac:grpSpMk id="50" creationId="{4A36E520-14AE-4E7C-B386-58DF5689D03B}"/>
          </ac:grpSpMkLst>
        </pc:grpChg>
        <pc:grpChg chg="mod topLvl">
          <ac:chgData name="Louis Wang" userId="afff2e54-1287-4765-98d1-fc9729dc18f3" providerId="ADAL" clId="{5CA31268-2CC3-400D-8FE9-FC0A25D84331}" dt="2021-05-19T13:40:51.060" v="1339" actId="165"/>
          <ac:grpSpMkLst>
            <pc:docMk/>
            <pc:sldMk cId="706255984" sldId="1805"/>
            <ac:grpSpMk id="52" creationId="{F11C06B8-58FD-4F6E-AC50-7A694ACC8A8A}"/>
          </ac:grpSpMkLst>
        </pc:grpChg>
        <pc:grpChg chg="mod topLvl">
          <ac:chgData name="Louis Wang" userId="afff2e54-1287-4765-98d1-fc9729dc18f3" providerId="ADAL" clId="{5CA31268-2CC3-400D-8FE9-FC0A25D84331}" dt="2021-05-19T13:40:51.060" v="1339" actId="165"/>
          <ac:grpSpMkLst>
            <pc:docMk/>
            <pc:sldMk cId="706255984" sldId="1805"/>
            <ac:grpSpMk id="53" creationId="{E35AE502-7718-4321-B434-AC62223B43BB}"/>
          </ac:grpSpMkLst>
        </pc:grpChg>
        <pc:grpChg chg="mod">
          <ac:chgData name="Louis Wang" userId="afff2e54-1287-4765-98d1-fc9729dc18f3" providerId="ADAL" clId="{5CA31268-2CC3-400D-8FE9-FC0A25D84331}" dt="2021-05-19T13:40:51.060" v="1339" actId="165"/>
          <ac:grpSpMkLst>
            <pc:docMk/>
            <pc:sldMk cId="706255984" sldId="1805"/>
            <ac:grpSpMk id="69" creationId="{904A6FDB-EF1B-43AF-9B09-936F55B2E0AA}"/>
          </ac:grpSpMkLst>
        </pc:grpChg>
      </pc:sldChg>
      <pc:sldChg chg="addSp delSp modSp new mod">
        <pc:chgData name="Louis Wang" userId="afff2e54-1287-4765-98d1-fc9729dc18f3" providerId="ADAL" clId="{5CA31268-2CC3-400D-8FE9-FC0A25D84331}" dt="2021-05-19T15:07:29.790" v="1454"/>
        <pc:sldMkLst>
          <pc:docMk/>
          <pc:sldMk cId="1201372146" sldId="1806"/>
        </pc:sldMkLst>
        <pc:spChg chg="mod">
          <ac:chgData name="Louis Wang" userId="afff2e54-1287-4765-98d1-fc9729dc18f3" providerId="ADAL" clId="{5CA31268-2CC3-400D-8FE9-FC0A25D84331}" dt="2021-05-19T14:50:22.861" v="1396"/>
          <ac:spMkLst>
            <pc:docMk/>
            <pc:sldMk cId="1201372146" sldId="1806"/>
            <ac:spMk id="2" creationId="{6543400F-8D23-4F4D-8D6E-4C787521E851}"/>
          </ac:spMkLst>
        </pc:spChg>
        <pc:spChg chg="del">
          <ac:chgData name="Louis Wang" userId="afff2e54-1287-4765-98d1-fc9729dc18f3" providerId="ADAL" clId="{5CA31268-2CC3-400D-8FE9-FC0A25D84331}" dt="2021-05-19T14:50:26.805" v="1397" actId="478"/>
          <ac:spMkLst>
            <pc:docMk/>
            <pc:sldMk cId="1201372146" sldId="1806"/>
            <ac:spMk id="3" creationId="{722F8277-E1CD-4B9C-A2BE-4720306C27F9}"/>
          </ac:spMkLst>
        </pc:spChg>
        <pc:spChg chg="add mod">
          <ac:chgData name="Louis Wang" userId="afff2e54-1287-4765-98d1-fc9729dc18f3" providerId="ADAL" clId="{5CA31268-2CC3-400D-8FE9-FC0A25D84331}" dt="2021-05-19T15:07:29.790" v="1454"/>
          <ac:spMkLst>
            <pc:docMk/>
            <pc:sldMk cId="1201372146" sldId="1806"/>
            <ac:spMk id="5" creationId="{2D7FA127-857C-450A-A497-6A1008E5E0D7}"/>
          </ac:spMkLst>
        </pc:spChg>
      </pc:sldChg>
      <pc:sldChg chg="add modAnim">
        <pc:chgData name="Louis Wang" userId="afff2e54-1287-4765-98d1-fc9729dc18f3" providerId="ADAL" clId="{5CA31268-2CC3-400D-8FE9-FC0A25D84331}" dt="2021-05-19T15:06:15.171" v="1449"/>
        <pc:sldMkLst>
          <pc:docMk/>
          <pc:sldMk cId="2559175750" sldId="1807"/>
        </pc:sldMkLst>
      </pc:sldChg>
      <pc:sldChg chg="add modAnim">
        <pc:chgData name="Louis Wang" userId="afff2e54-1287-4765-98d1-fc9729dc18f3" providerId="ADAL" clId="{5CA31268-2CC3-400D-8FE9-FC0A25D84331}" dt="2021-05-19T15:06:00.855" v="1447"/>
        <pc:sldMkLst>
          <pc:docMk/>
          <pc:sldMk cId="3720626463" sldId="1808"/>
        </pc:sldMkLst>
      </pc:sldChg>
      <pc:sldMasterChg chg="delSldLayout">
        <pc:chgData name="Louis Wang" userId="afff2e54-1287-4765-98d1-fc9729dc18f3" providerId="ADAL" clId="{5CA31268-2CC3-400D-8FE9-FC0A25D84331}" dt="2021-05-18T12:34:13.669" v="50" actId="2696"/>
        <pc:sldMasterMkLst>
          <pc:docMk/>
          <pc:sldMasterMk cId="3784027784" sldId="2147483648"/>
        </pc:sldMasterMkLst>
        <pc:sldLayoutChg chg="del">
          <pc:chgData name="Louis Wang" userId="afff2e54-1287-4765-98d1-fc9729dc18f3" providerId="ADAL" clId="{5CA31268-2CC3-400D-8FE9-FC0A25D84331}" dt="2021-05-18T12:34:13.669" v="50" actId="2696"/>
          <pc:sldLayoutMkLst>
            <pc:docMk/>
            <pc:sldMasterMk cId="3784027784" sldId="2147483648"/>
            <pc:sldLayoutMk cId="3414043365" sldId="214748367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5/1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pattFill prst="pct90">
          <a:fgClr>
            <a:srgbClr val="ED520D"/>
          </a:fgClr>
          <a:bgClr>
            <a:srgbClr val="BE2D06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76" name="组合 11375">
            <a:extLst>
              <a:ext uri="{FF2B5EF4-FFF2-40B4-BE49-F238E27FC236}">
                <a16:creationId xmlns:a16="http://schemas.microsoft.com/office/drawing/2014/main" id="{B4DB813A-29DE-46A6-830A-51381D750EE2}"/>
              </a:ext>
            </a:extLst>
          </p:cNvPr>
          <p:cNvGrpSpPr/>
          <p:nvPr userDrawn="1"/>
        </p:nvGrpSpPr>
        <p:grpSpPr>
          <a:xfrm>
            <a:off x="4412966" y="0"/>
            <a:ext cx="7779035" cy="6858000"/>
            <a:chOff x="4412966" y="0"/>
            <a:chExt cx="7779035" cy="6858000"/>
          </a:xfrm>
        </p:grpSpPr>
        <p:sp>
          <p:nvSpPr>
            <p:cNvPr id="1624" name="任意多边形: 形状 1623">
              <a:extLst>
                <a:ext uri="{FF2B5EF4-FFF2-40B4-BE49-F238E27FC236}">
                  <a16:creationId xmlns:a16="http://schemas.microsoft.com/office/drawing/2014/main" id="{6033DF0E-67F6-49D2-874E-01188F47AAE7}"/>
                </a:ext>
              </a:extLst>
            </p:cNvPr>
            <p:cNvSpPr/>
            <p:nvPr userDrawn="1"/>
          </p:nvSpPr>
          <p:spPr>
            <a:xfrm>
              <a:off x="4412966" y="237973"/>
              <a:ext cx="7779035" cy="6620027"/>
            </a:xfrm>
            <a:custGeom>
              <a:avLst/>
              <a:gdLst>
                <a:gd name="connsiteX0" fmla="*/ 4443167 w 7779035"/>
                <a:gd name="connsiteY0" fmla="*/ 0 h 6620027"/>
                <a:gd name="connsiteX1" fmla="*/ 7779035 w 7779035"/>
                <a:gd name="connsiteY1" fmla="*/ 0 h 6620027"/>
                <a:gd name="connsiteX2" fmla="*/ 7779035 w 7779035"/>
                <a:gd name="connsiteY2" fmla="*/ 6620027 h 6620027"/>
                <a:gd name="connsiteX3" fmla="*/ 7354924 w 7779035"/>
                <a:gd name="connsiteY3" fmla="*/ 6620027 h 6620027"/>
                <a:gd name="connsiteX4" fmla="*/ 4627 w 7779035"/>
                <a:gd name="connsiteY4" fmla="*/ 2495702 h 6620027"/>
                <a:gd name="connsiteX5" fmla="*/ 0 w 7779035"/>
                <a:gd name="connsiteY5" fmla="*/ 2495702 h 6620027"/>
                <a:gd name="connsiteX6" fmla="*/ 0 w 7779035"/>
                <a:gd name="connsiteY6" fmla="*/ 2493106 h 6620027"/>
                <a:gd name="connsiteX7" fmla="*/ 0 w 7779035"/>
                <a:gd name="connsiteY7" fmla="*/ 2252340 h 6620027"/>
                <a:gd name="connsiteX8" fmla="*/ 235687 w 7779035"/>
                <a:gd name="connsiteY8" fmla="*/ 2360860 h 6620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79035" h="6620027">
                  <a:moveTo>
                    <a:pt x="4443167" y="0"/>
                  </a:moveTo>
                  <a:lnTo>
                    <a:pt x="7779035" y="0"/>
                  </a:lnTo>
                  <a:lnTo>
                    <a:pt x="7779035" y="6620027"/>
                  </a:lnTo>
                  <a:lnTo>
                    <a:pt x="7354924" y="6620027"/>
                  </a:lnTo>
                  <a:lnTo>
                    <a:pt x="4627" y="2495702"/>
                  </a:lnTo>
                  <a:lnTo>
                    <a:pt x="0" y="2495702"/>
                  </a:lnTo>
                  <a:lnTo>
                    <a:pt x="0" y="2493106"/>
                  </a:lnTo>
                  <a:lnTo>
                    <a:pt x="0" y="2252340"/>
                  </a:lnTo>
                  <a:lnTo>
                    <a:pt x="235687" y="2360860"/>
                  </a:lnTo>
                  <a:close/>
                </a:path>
              </a:pathLst>
            </a:custGeom>
            <a:solidFill>
              <a:srgbClr val="BE2D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20" name="Freeform 1617_1">
              <a:extLst>
                <a:ext uri="{FF2B5EF4-FFF2-40B4-BE49-F238E27FC236}">
                  <a16:creationId xmlns:a16="http://schemas.microsoft.com/office/drawing/2014/main" id="{13BE2E98-64CC-4A5A-B264-9EEE54FA6179}"/>
                </a:ext>
              </a:extLst>
            </p:cNvPr>
            <p:cNvSpPr/>
            <p:nvPr userDrawn="1"/>
          </p:nvSpPr>
          <p:spPr>
            <a:xfrm>
              <a:off x="4412966" y="0"/>
              <a:ext cx="7779035" cy="6858000"/>
            </a:xfrm>
            <a:custGeom>
              <a:avLst/>
              <a:gdLst>
                <a:gd name="connsiteX0" fmla="*/ 4443167 w 7779035"/>
                <a:gd name="connsiteY0" fmla="*/ 0 h 6858000"/>
                <a:gd name="connsiteX1" fmla="*/ 7779035 w 7779035"/>
                <a:gd name="connsiteY1" fmla="*/ 0 h 6858000"/>
                <a:gd name="connsiteX2" fmla="*/ 7779035 w 7779035"/>
                <a:gd name="connsiteY2" fmla="*/ 6858000 h 6858000"/>
                <a:gd name="connsiteX3" fmla="*/ 0 w 7779035"/>
                <a:gd name="connsiteY3" fmla="*/ 249310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79035" h="6858000">
                  <a:moveTo>
                    <a:pt x="4443167" y="0"/>
                  </a:moveTo>
                  <a:lnTo>
                    <a:pt x="7779035" y="0"/>
                  </a:lnTo>
                  <a:lnTo>
                    <a:pt x="7779035" y="6858000"/>
                  </a:lnTo>
                  <a:lnTo>
                    <a:pt x="0" y="2493106"/>
                  </a:lnTo>
                  <a:close/>
                </a:path>
              </a:pathLst>
            </a:custGeom>
            <a:solidFill>
              <a:srgbClr val="E336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766961" y="4591288"/>
            <a:ext cx="7558013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 i="1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574799" y="3365496"/>
            <a:ext cx="7750176" cy="1179891"/>
          </a:xfrm>
        </p:spPr>
        <p:txBody>
          <a:bodyPr anchor="b" anchorCtr="0">
            <a:normAutofit/>
          </a:bodyPr>
          <a:lstStyle>
            <a:lvl1pPr algn="l">
              <a:defRPr sz="40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574799" y="5494454"/>
            <a:ext cx="77501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 i="1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574799" y="5790725"/>
            <a:ext cx="77501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 i="1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1378" name="组合 11377">
            <a:extLst>
              <a:ext uri="{FF2B5EF4-FFF2-40B4-BE49-F238E27FC236}">
                <a16:creationId xmlns:a16="http://schemas.microsoft.com/office/drawing/2014/main" id="{30C40346-B568-4E39-9DAB-3D967BF424C9}"/>
              </a:ext>
            </a:extLst>
          </p:cNvPr>
          <p:cNvGrpSpPr/>
          <p:nvPr userDrawn="1"/>
        </p:nvGrpSpPr>
        <p:grpSpPr>
          <a:xfrm>
            <a:off x="5939672" y="1538972"/>
            <a:ext cx="6252328" cy="4281487"/>
            <a:chOff x="5939672" y="1538972"/>
            <a:chExt cx="6252328" cy="4281487"/>
          </a:xfrm>
        </p:grpSpPr>
        <p:sp>
          <p:nvSpPr>
            <p:cNvPr id="11171" name="Freeform 5">
              <a:extLst>
                <a:ext uri="{FF2B5EF4-FFF2-40B4-BE49-F238E27FC236}">
                  <a16:creationId xmlns:a16="http://schemas.microsoft.com/office/drawing/2014/main" id="{D86FAE3F-CD64-4AEB-944A-6755DB25D4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17804" y="3000114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72" name="Freeform 6">
              <a:extLst>
                <a:ext uri="{FF2B5EF4-FFF2-40B4-BE49-F238E27FC236}">
                  <a16:creationId xmlns:a16="http://schemas.microsoft.com/office/drawing/2014/main" id="{6EC9395C-F558-4E53-A9C5-3FF9749EE2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710" y="2968258"/>
              <a:ext cx="31856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73" name="Freeform 7">
              <a:extLst>
                <a:ext uri="{FF2B5EF4-FFF2-40B4-BE49-F238E27FC236}">
                  <a16:creationId xmlns:a16="http://schemas.microsoft.com/office/drawing/2014/main" id="{D8E73005-B121-4C41-B605-862337A710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7369" y="2934278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74" name="Freeform 8">
              <a:extLst>
                <a:ext uri="{FF2B5EF4-FFF2-40B4-BE49-F238E27FC236}">
                  <a16:creationId xmlns:a16="http://schemas.microsoft.com/office/drawing/2014/main" id="{E6C0D91A-CC74-4DD4-8345-B726A2DD52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4275" y="2902422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75" name="Freeform 9">
              <a:extLst>
                <a:ext uri="{FF2B5EF4-FFF2-40B4-BE49-F238E27FC236}">
                  <a16:creationId xmlns:a16="http://schemas.microsoft.com/office/drawing/2014/main" id="{D6A3D5FC-F92E-4F70-8018-CF0AE9F454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6934" y="2872689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76" name="Freeform 10">
              <a:extLst>
                <a:ext uri="{FF2B5EF4-FFF2-40B4-BE49-F238E27FC236}">
                  <a16:creationId xmlns:a16="http://schemas.microsoft.com/office/drawing/2014/main" id="{C15A8299-B232-421A-900E-9DF3EA53EF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2840833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77" name="Freeform 11">
              <a:extLst>
                <a:ext uri="{FF2B5EF4-FFF2-40B4-BE49-F238E27FC236}">
                  <a16:creationId xmlns:a16="http://schemas.microsoft.com/office/drawing/2014/main" id="{444C824B-DFA1-48C6-98D4-4D3694F3D4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2808977"/>
              <a:ext cx="36104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78" name="Freeform 12">
              <a:extLst>
                <a:ext uri="{FF2B5EF4-FFF2-40B4-BE49-F238E27FC236}">
                  <a16:creationId xmlns:a16="http://schemas.microsoft.com/office/drawing/2014/main" id="{A527CF5E-D67B-4103-9B97-C394CA7877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3405" y="2774997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79" name="Freeform 13">
              <a:extLst>
                <a:ext uri="{FF2B5EF4-FFF2-40B4-BE49-F238E27FC236}">
                  <a16:creationId xmlns:a16="http://schemas.microsoft.com/office/drawing/2014/main" id="{D17178F3-B7EA-4B72-960D-D044A5BC8C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063" y="2743140"/>
              <a:ext cx="36104" cy="19114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1 w 8"/>
                <a:gd name="T5" fmla="*/ 4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0" name="Freeform 14">
              <a:extLst>
                <a:ext uri="{FF2B5EF4-FFF2-40B4-BE49-F238E27FC236}">
                  <a16:creationId xmlns:a16="http://schemas.microsoft.com/office/drawing/2014/main" id="{8AF50203-360D-4980-9975-2676DEB471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5093" y="2713408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1" name="Freeform 15">
              <a:extLst>
                <a:ext uri="{FF2B5EF4-FFF2-40B4-BE49-F238E27FC236}">
                  <a16:creationId xmlns:a16="http://schemas.microsoft.com/office/drawing/2014/main" id="{EC3BCC38-1526-47D1-AB3F-A38D6F948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628" y="2681551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2" name="Freeform 16">
              <a:extLst>
                <a:ext uri="{FF2B5EF4-FFF2-40B4-BE49-F238E27FC236}">
                  <a16:creationId xmlns:a16="http://schemas.microsoft.com/office/drawing/2014/main" id="{016E8B62-B989-4D8D-80AB-57FAC44C26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4658" y="2651819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3" name="Freeform 17">
              <a:extLst>
                <a:ext uri="{FF2B5EF4-FFF2-40B4-BE49-F238E27FC236}">
                  <a16:creationId xmlns:a16="http://schemas.microsoft.com/office/drawing/2014/main" id="{3845B57D-DE93-4F28-ACAF-4CD499AE41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5193" y="2615715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4" name="Freeform 18">
              <a:extLst>
                <a:ext uri="{FF2B5EF4-FFF2-40B4-BE49-F238E27FC236}">
                  <a16:creationId xmlns:a16="http://schemas.microsoft.com/office/drawing/2014/main" id="{F06DAE40-0DB1-494C-858C-75306D1303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4223" y="258385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5" name="Freeform 19">
              <a:extLst>
                <a:ext uri="{FF2B5EF4-FFF2-40B4-BE49-F238E27FC236}">
                  <a16:creationId xmlns:a16="http://schemas.microsoft.com/office/drawing/2014/main" id="{DD6A4969-DDF5-457B-83D4-A7F0A7472B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2922" y="3123292"/>
              <a:ext cx="31856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6" name="Freeform 20">
              <a:extLst>
                <a:ext uri="{FF2B5EF4-FFF2-40B4-BE49-F238E27FC236}">
                  <a16:creationId xmlns:a16="http://schemas.microsoft.com/office/drawing/2014/main" id="{4E9B2346-0229-4AE8-B132-6C46154A9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5580" y="3087188"/>
              <a:ext cx="31856" cy="23361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7" name="Freeform 21">
              <a:extLst>
                <a:ext uri="{FF2B5EF4-FFF2-40B4-BE49-F238E27FC236}">
                  <a16:creationId xmlns:a16="http://schemas.microsoft.com/office/drawing/2014/main" id="{C658A6C9-D20B-45BD-A342-D9A31D232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2487" y="3057456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8" name="Freeform 22">
              <a:extLst>
                <a:ext uri="{FF2B5EF4-FFF2-40B4-BE49-F238E27FC236}">
                  <a16:creationId xmlns:a16="http://schemas.microsoft.com/office/drawing/2014/main" id="{BE13F2D0-83E6-4FBB-B109-523A4AFA8C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5145" y="3025599"/>
              <a:ext cx="36104" cy="19114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89" name="Freeform 23">
              <a:extLst>
                <a:ext uri="{FF2B5EF4-FFF2-40B4-BE49-F238E27FC236}">
                  <a16:creationId xmlns:a16="http://schemas.microsoft.com/office/drawing/2014/main" id="{12DCB5C8-E639-49F4-897E-07A4218B4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5145" y="2968258"/>
              <a:ext cx="31856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0" name="Freeform 24">
              <a:extLst>
                <a:ext uri="{FF2B5EF4-FFF2-40B4-BE49-F238E27FC236}">
                  <a16:creationId xmlns:a16="http://schemas.microsoft.com/office/drawing/2014/main" id="{2A420116-5A12-4EA2-A91C-45EC961A04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8239" y="2938526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1" name="Freeform 25">
              <a:extLst>
                <a:ext uri="{FF2B5EF4-FFF2-40B4-BE49-F238E27FC236}">
                  <a16:creationId xmlns:a16="http://schemas.microsoft.com/office/drawing/2014/main" id="{F8BD3608-9750-46D4-BA74-E284ACA84B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5580" y="2902422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2" name="Freeform 26">
              <a:extLst>
                <a:ext uri="{FF2B5EF4-FFF2-40B4-BE49-F238E27FC236}">
                  <a16:creationId xmlns:a16="http://schemas.microsoft.com/office/drawing/2014/main" id="{40AF0B5F-693E-4E92-82CB-0DA7839B92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17804" y="2938526"/>
              <a:ext cx="36104" cy="16990"/>
            </a:xfrm>
            <a:custGeom>
              <a:avLst/>
              <a:gdLst>
                <a:gd name="T0" fmla="*/ 1 w 8"/>
                <a:gd name="T1" fmla="*/ 0 h 4"/>
                <a:gd name="T2" fmla="*/ 6 w 8"/>
                <a:gd name="T3" fmla="*/ 0 h 4"/>
                <a:gd name="T4" fmla="*/ 6 w 8"/>
                <a:gd name="T5" fmla="*/ 3 h 4"/>
                <a:gd name="T6" fmla="*/ 1 w 8"/>
                <a:gd name="T7" fmla="*/ 3 h 4"/>
                <a:gd name="T8" fmla="*/ 1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1" y="0"/>
                  </a:moveTo>
                  <a:cubicBezTo>
                    <a:pt x="3" y="0"/>
                    <a:pt x="5" y="0"/>
                    <a:pt x="6" y="0"/>
                  </a:cubicBez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3" name="Freeform 27">
              <a:extLst>
                <a:ext uri="{FF2B5EF4-FFF2-40B4-BE49-F238E27FC236}">
                  <a16:creationId xmlns:a16="http://schemas.microsoft.com/office/drawing/2014/main" id="{9FF991EC-7AE8-40C7-8280-CDE98367F7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5145" y="2902422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4" name="Freeform 28">
              <a:extLst>
                <a:ext uri="{FF2B5EF4-FFF2-40B4-BE49-F238E27FC236}">
                  <a16:creationId xmlns:a16="http://schemas.microsoft.com/office/drawing/2014/main" id="{816CC46A-CDCD-4C41-88C4-99A3C621BA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8239" y="2872689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1 w 8"/>
                <a:gd name="T5" fmla="*/ 4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5" name="Freeform 29">
              <a:extLst>
                <a:ext uri="{FF2B5EF4-FFF2-40B4-BE49-F238E27FC236}">
                  <a16:creationId xmlns:a16="http://schemas.microsoft.com/office/drawing/2014/main" id="{FE168A13-7186-467C-9D97-B22F4C8F3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710" y="2902422"/>
              <a:ext cx="31856" cy="21238"/>
            </a:xfrm>
            <a:custGeom>
              <a:avLst/>
              <a:gdLst>
                <a:gd name="T0" fmla="*/ 1 w 7"/>
                <a:gd name="T1" fmla="*/ 1 h 5"/>
                <a:gd name="T2" fmla="*/ 6 w 7"/>
                <a:gd name="T3" fmla="*/ 1 h 5"/>
                <a:gd name="T4" fmla="*/ 6 w 7"/>
                <a:gd name="T5" fmla="*/ 4 h 5"/>
                <a:gd name="T6" fmla="*/ 1 w 7"/>
                <a:gd name="T7" fmla="*/ 4 h 5"/>
                <a:gd name="T8" fmla="*/ 1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6" name="Freeform 30">
              <a:extLst>
                <a:ext uri="{FF2B5EF4-FFF2-40B4-BE49-F238E27FC236}">
                  <a16:creationId xmlns:a16="http://schemas.microsoft.com/office/drawing/2014/main" id="{90D7634F-7B40-44BE-AECD-C0DCCA1931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17804" y="2872689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1 w 8"/>
                <a:gd name="T5" fmla="*/ 4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7" name="Freeform 31">
              <a:extLst>
                <a:ext uri="{FF2B5EF4-FFF2-40B4-BE49-F238E27FC236}">
                  <a16:creationId xmlns:a16="http://schemas.microsoft.com/office/drawing/2014/main" id="{2EA9FA52-FFCD-4B11-86DC-E44B7328D8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5145" y="2840833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8" name="Freeform 32">
              <a:extLst>
                <a:ext uri="{FF2B5EF4-FFF2-40B4-BE49-F238E27FC236}">
                  <a16:creationId xmlns:a16="http://schemas.microsoft.com/office/drawing/2014/main" id="{A8971F29-A790-47AD-844D-27369E3A1C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7369" y="2872689"/>
              <a:ext cx="36104" cy="16990"/>
            </a:xfrm>
            <a:custGeom>
              <a:avLst/>
              <a:gdLst>
                <a:gd name="T0" fmla="*/ 2 w 8"/>
                <a:gd name="T1" fmla="*/ 1 h 4"/>
                <a:gd name="T2" fmla="*/ 6 w 8"/>
                <a:gd name="T3" fmla="*/ 1 h 4"/>
                <a:gd name="T4" fmla="*/ 6 w 8"/>
                <a:gd name="T5" fmla="*/ 4 h 4"/>
                <a:gd name="T6" fmla="*/ 2 w 8"/>
                <a:gd name="T7" fmla="*/ 4 h 4"/>
                <a:gd name="T8" fmla="*/ 2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99" name="Freeform 33">
              <a:extLst>
                <a:ext uri="{FF2B5EF4-FFF2-40B4-BE49-F238E27FC236}">
                  <a16:creationId xmlns:a16="http://schemas.microsoft.com/office/drawing/2014/main" id="{DE311465-708C-4ED1-BEEA-66A04B4B6F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710" y="2840833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0" name="Freeform 34">
              <a:extLst>
                <a:ext uri="{FF2B5EF4-FFF2-40B4-BE49-F238E27FC236}">
                  <a16:creationId xmlns:a16="http://schemas.microsoft.com/office/drawing/2014/main" id="{CA1F32D7-7908-4057-A910-4DCDF578B7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17804" y="2808977"/>
              <a:ext cx="36104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1" name="Freeform 35">
              <a:extLst>
                <a:ext uri="{FF2B5EF4-FFF2-40B4-BE49-F238E27FC236}">
                  <a16:creationId xmlns:a16="http://schemas.microsoft.com/office/drawing/2014/main" id="{DB43067D-0C8B-4B5F-AC36-321E288C97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4275" y="2840833"/>
              <a:ext cx="31856" cy="16990"/>
            </a:xfrm>
            <a:custGeom>
              <a:avLst/>
              <a:gdLst>
                <a:gd name="T0" fmla="*/ 1 w 7"/>
                <a:gd name="T1" fmla="*/ 1 h 4"/>
                <a:gd name="T2" fmla="*/ 6 w 7"/>
                <a:gd name="T3" fmla="*/ 1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2" name="Freeform 36">
              <a:extLst>
                <a:ext uri="{FF2B5EF4-FFF2-40B4-BE49-F238E27FC236}">
                  <a16:creationId xmlns:a16="http://schemas.microsoft.com/office/drawing/2014/main" id="{B7C78F46-9FB9-4F89-AA49-EB9FA75DCE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7369" y="2808977"/>
              <a:ext cx="36104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3" name="Freeform 37">
              <a:extLst>
                <a:ext uri="{FF2B5EF4-FFF2-40B4-BE49-F238E27FC236}">
                  <a16:creationId xmlns:a16="http://schemas.microsoft.com/office/drawing/2014/main" id="{8056D80B-6C10-4A34-BCCF-36F8DB04EE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710" y="2779244"/>
              <a:ext cx="31856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4" name="Freeform 38">
              <a:extLst>
                <a:ext uri="{FF2B5EF4-FFF2-40B4-BE49-F238E27FC236}">
                  <a16:creationId xmlns:a16="http://schemas.microsoft.com/office/drawing/2014/main" id="{0B55E331-3247-4EF3-9D78-5BCB9E1764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6934" y="2808977"/>
              <a:ext cx="36104" cy="19114"/>
            </a:xfrm>
            <a:custGeom>
              <a:avLst/>
              <a:gdLst>
                <a:gd name="T0" fmla="*/ 1 w 8"/>
                <a:gd name="T1" fmla="*/ 0 h 4"/>
                <a:gd name="T2" fmla="*/ 6 w 8"/>
                <a:gd name="T3" fmla="*/ 0 h 4"/>
                <a:gd name="T4" fmla="*/ 6 w 8"/>
                <a:gd name="T5" fmla="*/ 3 h 4"/>
                <a:gd name="T6" fmla="*/ 1 w 8"/>
                <a:gd name="T7" fmla="*/ 3 h 4"/>
                <a:gd name="T8" fmla="*/ 1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1" y="0"/>
                  </a:moveTo>
                  <a:cubicBezTo>
                    <a:pt x="3" y="0"/>
                    <a:pt x="5" y="0"/>
                    <a:pt x="6" y="0"/>
                  </a:cubicBez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5" name="Freeform 39">
              <a:extLst>
                <a:ext uri="{FF2B5EF4-FFF2-40B4-BE49-F238E27FC236}">
                  <a16:creationId xmlns:a16="http://schemas.microsoft.com/office/drawing/2014/main" id="{A12CB8A3-23E8-4660-8C14-F4D9BD271E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4275" y="2774997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6" name="Freeform 40">
              <a:extLst>
                <a:ext uri="{FF2B5EF4-FFF2-40B4-BE49-F238E27FC236}">
                  <a16:creationId xmlns:a16="http://schemas.microsoft.com/office/drawing/2014/main" id="{3C58DF9A-A48B-444E-A06E-613D91D336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7369" y="2743140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7" name="Freeform 41">
              <a:extLst>
                <a:ext uri="{FF2B5EF4-FFF2-40B4-BE49-F238E27FC236}">
                  <a16:creationId xmlns:a16="http://schemas.microsoft.com/office/drawing/2014/main" id="{B284AE8A-F353-40FA-9E36-C89CB2C5FC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2774997"/>
              <a:ext cx="31856" cy="21238"/>
            </a:xfrm>
            <a:custGeom>
              <a:avLst/>
              <a:gdLst>
                <a:gd name="T0" fmla="*/ 1 w 7"/>
                <a:gd name="T1" fmla="*/ 1 h 5"/>
                <a:gd name="T2" fmla="*/ 6 w 7"/>
                <a:gd name="T3" fmla="*/ 1 h 5"/>
                <a:gd name="T4" fmla="*/ 6 w 7"/>
                <a:gd name="T5" fmla="*/ 4 h 5"/>
                <a:gd name="T6" fmla="*/ 1 w 7"/>
                <a:gd name="T7" fmla="*/ 4 h 5"/>
                <a:gd name="T8" fmla="*/ 1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8" name="Freeform 42">
              <a:extLst>
                <a:ext uri="{FF2B5EF4-FFF2-40B4-BE49-F238E27FC236}">
                  <a16:creationId xmlns:a16="http://schemas.microsoft.com/office/drawing/2014/main" id="{721F5E6B-A88A-4DA4-9EAA-98BF9EA8F6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6934" y="2743140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09" name="Freeform 43">
              <a:extLst>
                <a:ext uri="{FF2B5EF4-FFF2-40B4-BE49-F238E27FC236}">
                  <a16:creationId xmlns:a16="http://schemas.microsoft.com/office/drawing/2014/main" id="{69AD2F98-520A-4B9C-A925-AD2B767AF1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4275" y="2713408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0" name="Freeform 44">
              <a:extLst>
                <a:ext uri="{FF2B5EF4-FFF2-40B4-BE49-F238E27FC236}">
                  <a16:creationId xmlns:a16="http://schemas.microsoft.com/office/drawing/2014/main" id="{68C8CFA6-3E17-4408-A071-6E246DA177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2743140"/>
              <a:ext cx="36104" cy="23361"/>
            </a:xfrm>
            <a:custGeom>
              <a:avLst/>
              <a:gdLst>
                <a:gd name="T0" fmla="*/ 1 w 8"/>
                <a:gd name="T1" fmla="*/ 1 h 5"/>
                <a:gd name="T2" fmla="*/ 6 w 8"/>
                <a:gd name="T3" fmla="*/ 1 h 5"/>
                <a:gd name="T4" fmla="*/ 6 w 8"/>
                <a:gd name="T5" fmla="*/ 4 h 5"/>
                <a:gd name="T6" fmla="*/ 1 w 8"/>
                <a:gd name="T7" fmla="*/ 4 h 5"/>
                <a:gd name="T8" fmla="*/ 1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1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1" name="Freeform 45">
              <a:extLst>
                <a:ext uri="{FF2B5EF4-FFF2-40B4-BE49-F238E27FC236}">
                  <a16:creationId xmlns:a16="http://schemas.microsoft.com/office/drawing/2014/main" id="{99520722-2093-4D7F-9EDF-21796DE9C1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2713408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2" name="Freeform 46">
              <a:extLst>
                <a:ext uri="{FF2B5EF4-FFF2-40B4-BE49-F238E27FC236}">
                  <a16:creationId xmlns:a16="http://schemas.microsoft.com/office/drawing/2014/main" id="{2FA50FB3-68C7-49CD-8F79-F8446FD4C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6934" y="268155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3" name="Freeform 47">
              <a:extLst>
                <a:ext uri="{FF2B5EF4-FFF2-40B4-BE49-F238E27FC236}">
                  <a16:creationId xmlns:a16="http://schemas.microsoft.com/office/drawing/2014/main" id="{62BE436D-1E4E-4106-AFEE-9FE9B65500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3405" y="2713408"/>
              <a:ext cx="31856" cy="16990"/>
            </a:xfrm>
            <a:custGeom>
              <a:avLst/>
              <a:gdLst>
                <a:gd name="T0" fmla="*/ 1 w 7"/>
                <a:gd name="T1" fmla="*/ 1 h 4"/>
                <a:gd name="T2" fmla="*/ 6 w 7"/>
                <a:gd name="T3" fmla="*/ 1 h 4"/>
                <a:gd name="T4" fmla="*/ 6 w 7"/>
                <a:gd name="T5" fmla="*/ 4 h 4"/>
                <a:gd name="T6" fmla="*/ 1 w 7"/>
                <a:gd name="T7" fmla="*/ 4 h 4"/>
                <a:gd name="T8" fmla="*/ 1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4" name="Freeform 48">
              <a:extLst>
                <a:ext uri="{FF2B5EF4-FFF2-40B4-BE49-F238E27FC236}">
                  <a16:creationId xmlns:a16="http://schemas.microsoft.com/office/drawing/2014/main" id="{7DB2CD47-0097-4366-8237-10F53673AE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268155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5" name="Freeform 49">
              <a:extLst>
                <a:ext uri="{FF2B5EF4-FFF2-40B4-BE49-F238E27FC236}">
                  <a16:creationId xmlns:a16="http://schemas.microsoft.com/office/drawing/2014/main" id="{84470AB2-F3B7-41DB-8DAB-3063A5B303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2651819"/>
              <a:ext cx="31856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6" name="Freeform 50">
              <a:extLst>
                <a:ext uri="{FF2B5EF4-FFF2-40B4-BE49-F238E27FC236}">
                  <a16:creationId xmlns:a16="http://schemas.microsoft.com/office/drawing/2014/main" id="{CDF3608B-081A-4407-BF08-0A99157DC6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063" y="2681551"/>
              <a:ext cx="36104" cy="16990"/>
            </a:xfrm>
            <a:custGeom>
              <a:avLst/>
              <a:gdLst>
                <a:gd name="T0" fmla="*/ 2 w 8"/>
                <a:gd name="T1" fmla="*/ 1 h 4"/>
                <a:gd name="T2" fmla="*/ 6 w 8"/>
                <a:gd name="T3" fmla="*/ 1 h 4"/>
                <a:gd name="T4" fmla="*/ 6 w 8"/>
                <a:gd name="T5" fmla="*/ 3 h 4"/>
                <a:gd name="T6" fmla="*/ 2 w 8"/>
                <a:gd name="T7" fmla="*/ 3 h 4"/>
                <a:gd name="T8" fmla="*/ 2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7" name="Freeform 51">
              <a:extLst>
                <a:ext uri="{FF2B5EF4-FFF2-40B4-BE49-F238E27FC236}">
                  <a16:creationId xmlns:a16="http://schemas.microsoft.com/office/drawing/2014/main" id="{338187F2-6AE3-46AE-893F-85C4A76222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3405" y="2651819"/>
              <a:ext cx="31856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8" name="Freeform 52">
              <a:extLst>
                <a:ext uri="{FF2B5EF4-FFF2-40B4-BE49-F238E27FC236}">
                  <a16:creationId xmlns:a16="http://schemas.microsoft.com/office/drawing/2014/main" id="{40B9252C-2D2D-4BE9-A3F3-E8D203101D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2615715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19" name="Freeform 53">
              <a:extLst>
                <a:ext uri="{FF2B5EF4-FFF2-40B4-BE49-F238E27FC236}">
                  <a16:creationId xmlns:a16="http://schemas.microsoft.com/office/drawing/2014/main" id="{71A6258A-E9C1-4351-8CEF-A07EBED4D0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5093" y="2651819"/>
              <a:ext cx="29733" cy="16990"/>
            </a:xfrm>
            <a:custGeom>
              <a:avLst/>
              <a:gdLst>
                <a:gd name="T0" fmla="*/ 1 w 7"/>
                <a:gd name="T1" fmla="*/ 0 h 4"/>
                <a:gd name="T2" fmla="*/ 6 w 7"/>
                <a:gd name="T3" fmla="*/ 0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0" name="Freeform 54">
              <a:extLst>
                <a:ext uri="{FF2B5EF4-FFF2-40B4-BE49-F238E27FC236}">
                  <a16:creationId xmlns:a16="http://schemas.microsoft.com/office/drawing/2014/main" id="{AAB57242-91FB-442C-8231-7531A9EE69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063" y="2615715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1" name="Freeform 55">
              <a:extLst>
                <a:ext uri="{FF2B5EF4-FFF2-40B4-BE49-F238E27FC236}">
                  <a16:creationId xmlns:a16="http://schemas.microsoft.com/office/drawing/2014/main" id="{9D34A38F-EB01-464A-AB97-D224FE4C40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3405" y="2583859"/>
              <a:ext cx="31856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2" name="Freeform 56">
              <a:extLst>
                <a:ext uri="{FF2B5EF4-FFF2-40B4-BE49-F238E27FC236}">
                  <a16:creationId xmlns:a16="http://schemas.microsoft.com/office/drawing/2014/main" id="{08500C14-D4AB-4464-B969-2FA5CD74FC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628" y="2615715"/>
              <a:ext cx="36104" cy="21238"/>
            </a:xfrm>
            <a:custGeom>
              <a:avLst/>
              <a:gdLst>
                <a:gd name="T0" fmla="*/ 2 w 8"/>
                <a:gd name="T1" fmla="*/ 1 h 5"/>
                <a:gd name="T2" fmla="*/ 6 w 8"/>
                <a:gd name="T3" fmla="*/ 1 h 5"/>
                <a:gd name="T4" fmla="*/ 6 w 8"/>
                <a:gd name="T5" fmla="*/ 4 h 5"/>
                <a:gd name="T6" fmla="*/ 2 w 8"/>
                <a:gd name="T7" fmla="*/ 4 h 5"/>
                <a:gd name="T8" fmla="*/ 2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3" name="Freeform 57">
              <a:extLst>
                <a:ext uri="{FF2B5EF4-FFF2-40B4-BE49-F238E27FC236}">
                  <a16:creationId xmlns:a16="http://schemas.microsoft.com/office/drawing/2014/main" id="{E0D5B74A-DAC3-442C-9DE1-6A6696695E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5093" y="258385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4" name="Freeform 58">
              <a:extLst>
                <a:ext uri="{FF2B5EF4-FFF2-40B4-BE49-F238E27FC236}">
                  <a16:creationId xmlns:a16="http://schemas.microsoft.com/office/drawing/2014/main" id="{E5C46159-AB08-4083-B5DC-349B432D9D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063" y="2554126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5" name="Freeform 59">
              <a:extLst>
                <a:ext uri="{FF2B5EF4-FFF2-40B4-BE49-F238E27FC236}">
                  <a16:creationId xmlns:a16="http://schemas.microsoft.com/office/drawing/2014/main" id="{1F18628D-1CE1-4FD4-9ABD-00344C06D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4658" y="2583859"/>
              <a:ext cx="29733" cy="19114"/>
            </a:xfrm>
            <a:custGeom>
              <a:avLst/>
              <a:gdLst>
                <a:gd name="T0" fmla="*/ 1 w 7"/>
                <a:gd name="T1" fmla="*/ 1 h 4"/>
                <a:gd name="T2" fmla="*/ 6 w 7"/>
                <a:gd name="T3" fmla="*/ 1 h 4"/>
                <a:gd name="T4" fmla="*/ 6 w 7"/>
                <a:gd name="T5" fmla="*/ 4 h 4"/>
                <a:gd name="T6" fmla="*/ 1 w 7"/>
                <a:gd name="T7" fmla="*/ 4 h 4"/>
                <a:gd name="T8" fmla="*/ 1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1"/>
                  </a:moveTo>
                  <a:cubicBezTo>
                    <a:pt x="2" y="0"/>
                    <a:pt x="5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6" name="Freeform 60">
              <a:extLst>
                <a:ext uri="{FF2B5EF4-FFF2-40B4-BE49-F238E27FC236}">
                  <a16:creationId xmlns:a16="http://schemas.microsoft.com/office/drawing/2014/main" id="{1E50B140-CF2E-493F-85D9-E9F240F7AB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628" y="2554126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7" name="Freeform 61">
              <a:extLst>
                <a:ext uri="{FF2B5EF4-FFF2-40B4-BE49-F238E27FC236}">
                  <a16:creationId xmlns:a16="http://schemas.microsoft.com/office/drawing/2014/main" id="{42DC3B96-A1AE-456F-AC88-D6CC5E26E6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5093" y="2522270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8" name="Freeform 62">
              <a:extLst>
                <a:ext uri="{FF2B5EF4-FFF2-40B4-BE49-F238E27FC236}">
                  <a16:creationId xmlns:a16="http://schemas.microsoft.com/office/drawing/2014/main" id="{AECDB619-CB81-4A7E-B8BB-B0BCF1CFFE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5193" y="2554126"/>
              <a:ext cx="36104" cy="16990"/>
            </a:xfrm>
            <a:custGeom>
              <a:avLst/>
              <a:gdLst>
                <a:gd name="T0" fmla="*/ 1 w 8"/>
                <a:gd name="T1" fmla="*/ 1 h 4"/>
                <a:gd name="T2" fmla="*/ 6 w 8"/>
                <a:gd name="T3" fmla="*/ 1 h 4"/>
                <a:gd name="T4" fmla="*/ 6 w 8"/>
                <a:gd name="T5" fmla="*/ 3 h 4"/>
                <a:gd name="T6" fmla="*/ 1 w 8"/>
                <a:gd name="T7" fmla="*/ 3 h 4"/>
                <a:gd name="T8" fmla="*/ 1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1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29" name="Freeform 63">
              <a:extLst>
                <a:ext uri="{FF2B5EF4-FFF2-40B4-BE49-F238E27FC236}">
                  <a16:creationId xmlns:a16="http://schemas.microsoft.com/office/drawing/2014/main" id="{513A72AD-35CB-4414-BFDC-A8D6DE631B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4658" y="252227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0" name="Freeform 64">
              <a:extLst>
                <a:ext uri="{FF2B5EF4-FFF2-40B4-BE49-F238E27FC236}">
                  <a16:creationId xmlns:a16="http://schemas.microsoft.com/office/drawing/2014/main" id="{A17BC707-2793-44E0-8E1C-05393A41D8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628" y="2492537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1" name="Freeform 65">
              <a:extLst>
                <a:ext uri="{FF2B5EF4-FFF2-40B4-BE49-F238E27FC236}">
                  <a16:creationId xmlns:a16="http://schemas.microsoft.com/office/drawing/2014/main" id="{5FD8C27C-6FFA-422A-B014-172A58D3F4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4223" y="2522270"/>
              <a:ext cx="29733" cy="19114"/>
            </a:xfrm>
            <a:custGeom>
              <a:avLst/>
              <a:gdLst>
                <a:gd name="T0" fmla="*/ 1 w 7"/>
                <a:gd name="T1" fmla="*/ 0 h 4"/>
                <a:gd name="T2" fmla="*/ 6 w 7"/>
                <a:gd name="T3" fmla="*/ 0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2" name="Freeform 66">
              <a:extLst>
                <a:ext uri="{FF2B5EF4-FFF2-40B4-BE49-F238E27FC236}">
                  <a16:creationId xmlns:a16="http://schemas.microsoft.com/office/drawing/2014/main" id="{C7E7E7A4-FF3F-49DE-9842-93E5E7F132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5193" y="2492537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3" name="Freeform 67">
              <a:extLst>
                <a:ext uri="{FF2B5EF4-FFF2-40B4-BE49-F238E27FC236}">
                  <a16:creationId xmlns:a16="http://schemas.microsoft.com/office/drawing/2014/main" id="{60F423E6-F18C-4C4F-91F1-F8C6D9A740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4658" y="2456433"/>
              <a:ext cx="29733" cy="23361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4" name="Freeform 68">
              <a:extLst>
                <a:ext uri="{FF2B5EF4-FFF2-40B4-BE49-F238E27FC236}">
                  <a16:creationId xmlns:a16="http://schemas.microsoft.com/office/drawing/2014/main" id="{BCFF8698-B2A3-4DF5-92D7-CE096F0BD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4223" y="2456433"/>
              <a:ext cx="29733" cy="23361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5" name="Freeform 69">
              <a:extLst>
                <a:ext uri="{FF2B5EF4-FFF2-40B4-BE49-F238E27FC236}">
                  <a16:creationId xmlns:a16="http://schemas.microsoft.com/office/drawing/2014/main" id="{4C8CCD14-B50E-41C7-BE91-119D9427F7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5193" y="242670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6" name="Freeform 70">
              <a:extLst>
                <a:ext uri="{FF2B5EF4-FFF2-40B4-BE49-F238E27FC236}">
                  <a16:creationId xmlns:a16="http://schemas.microsoft.com/office/drawing/2014/main" id="{E9DB2D9E-A930-4A94-BD86-5138A9F1B8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6016" y="3087188"/>
              <a:ext cx="31856" cy="23361"/>
            </a:xfrm>
            <a:custGeom>
              <a:avLst/>
              <a:gdLst>
                <a:gd name="T0" fmla="*/ 1 w 7"/>
                <a:gd name="T1" fmla="*/ 1 h 5"/>
                <a:gd name="T2" fmla="*/ 6 w 7"/>
                <a:gd name="T3" fmla="*/ 1 h 5"/>
                <a:gd name="T4" fmla="*/ 6 w 7"/>
                <a:gd name="T5" fmla="*/ 4 h 5"/>
                <a:gd name="T6" fmla="*/ 1 w 7"/>
                <a:gd name="T7" fmla="*/ 4 h 5"/>
                <a:gd name="T8" fmla="*/ 1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7" name="Freeform 71">
              <a:extLst>
                <a:ext uri="{FF2B5EF4-FFF2-40B4-BE49-F238E27FC236}">
                  <a16:creationId xmlns:a16="http://schemas.microsoft.com/office/drawing/2014/main" id="{111F620B-CCCD-40FB-844E-B7FD11EB6D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53357" y="3057456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8" name="Freeform 72">
              <a:extLst>
                <a:ext uri="{FF2B5EF4-FFF2-40B4-BE49-F238E27FC236}">
                  <a16:creationId xmlns:a16="http://schemas.microsoft.com/office/drawing/2014/main" id="{A783A68F-39D5-4C04-8CCB-549DA2815D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06451" y="3025599"/>
              <a:ext cx="31856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39" name="Freeform 73">
              <a:extLst>
                <a:ext uri="{FF2B5EF4-FFF2-40B4-BE49-F238E27FC236}">
                  <a16:creationId xmlns:a16="http://schemas.microsoft.com/office/drawing/2014/main" id="{6CE3A250-D033-4D9F-A123-472C7EB0EC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2922" y="3057456"/>
              <a:ext cx="31856" cy="21238"/>
            </a:xfrm>
            <a:custGeom>
              <a:avLst/>
              <a:gdLst>
                <a:gd name="T0" fmla="*/ 1 w 7"/>
                <a:gd name="T1" fmla="*/ 1 h 5"/>
                <a:gd name="T2" fmla="*/ 6 w 7"/>
                <a:gd name="T3" fmla="*/ 1 h 5"/>
                <a:gd name="T4" fmla="*/ 6 w 7"/>
                <a:gd name="T5" fmla="*/ 4 h 5"/>
                <a:gd name="T6" fmla="*/ 1 w 7"/>
                <a:gd name="T7" fmla="*/ 4 h 5"/>
                <a:gd name="T8" fmla="*/ 1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0" name="Freeform 74">
              <a:extLst>
                <a:ext uri="{FF2B5EF4-FFF2-40B4-BE49-F238E27FC236}">
                  <a16:creationId xmlns:a16="http://schemas.microsoft.com/office/drawing/2014/main" id="{9B3B68B2-0FAF-402B-AF38-20EB435628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6016" y="3025599"/>
              <a:ext cx="31856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1" name="Freeform 75">
              <a:extLst>
                <a:ext uri="{FF2B5EF4-FFF2-40B4-BE49-F238E27FC236}">
                  <a16:creationId xmlns:a16="http://schemas.microsoft.com/office/drawing/2014/main" id="{9756B661-3954-40B2-AB01-7B55C3280B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53357" y="2995867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2" name="Freeform 76">
              <a:extLst>
                <a:ext uri="{FF2B5EF4-FFF2-40B4-BE49-F238E27FC236}">
                  <a16:creationId xmlns:a16="http://schemas.microsoft.com/office/drawing/2014/main" id="{D2CCC3F7-DB67-4C88-901B-93558640A7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5580" y="3025599"/>
              <a:ext cx="36104" cy="19114"/>
            </a:xfrm>
            <a:custGeom>
              <a:avLst/>
              <a:gdLst>
                <a:gd name="T0" fmla="*/ 1 w 8"/>
                <a:gd name="T1" fmla="*/ 1 h 4"/>
                <a:gd name="T2" fmla="*/ 6 w 8"/>
                <a:gd name="T3" fmla="*/ 1 h 4"/>
                <a:gd name="T4" fmla="*/ 6 w 8"/>
                <a:gd name="T5" fmla="*/ 4 h 4"/>
                <a:gd name="T6" fmla="*/ 1 w 8"/>
                <a:gd name="T7" fmla="*/ 4 h 4"/>
                <a:gd name="T8" fmla="*/ 1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1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3" name="Freeform 77">
              <a:extLst>
                <a:ext uri="{FF2B5EF4-FFF2-40B4-BE49-F238E27FC236}">
                  <a16:creationId xmlns:a16="http://schemas.microsoft.com/office/drawing/2014/main" id="{F4C61D0D-5354-461E-A94E-1E1CB3182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2922" y="2995867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4" name="Freeform 78">
              <a:extLst>
                <a:ext uri="{FF2B5EF4-FFF2-40B4-BE49-F238E27FC236}">
                  <a16:creationId xmlns:a16="http://schemas.microsoft.com/office/drawing/2014/main" id="{1E68E698-2B72-4972-981D-1B97471F74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6016" y="2964011"/>
              <a:ext cx="31856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5" name="Freeform 79">
              <a:extLst>
                <a:ext uri="{FF2B5EF4-FFF2-40B4-BE49-F238E27FC236}">
                  <a16:creationId xmlns:a16="http://schemas.microsoft.com/office/drawing/2014/main" id="{12E11C85-C2FC-410F-9322-D79D21FF6C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2487" y="2995867"/>
              <a:ext cx="31856" cy="16990"/>
            </a:xfrm>
            <a:custGeom>
              <a:avLst/>
              <a:gdLst>
                <a:gd name="T0" fmla="*/ 1 w 7"/>
                <a:gd name="T1" fmla="*/ 1 h 4"/>
                <a:gd name="T2" fmla="*/ 6 w 7"/>
                <a:gd name="T3" fmla="*/ 1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6" name="Freeform 80">
              <a:extLst>
                <a:ext uri="{FF2B5EF4-FFF2-40B4-BE49-F238E27FC236}">
                  <a16:creationId xmlns:a16="http://schemas.microsoft.com/office/drawing/2014/main" id="{B9AE0409-E834-459D-BF53-A784F5F7A5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5580" y="2964011"/>
              <a:ext cx="36104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7" name="Freeform 81">
              <a:extLst>
                <a:ext uri="{FF2B5EF4-FFF2-40B4-BE49-F238E27FC236}">
                  <a16:creationId xmlns:a16="http://schemas.microsoft.com/office/drawing/2014/main" id="{60E4FD99-FDA1-4F1B-8A83-B54E3BCC48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2922" y="2930031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8" name="Freeform 82">
              <a:extLst>
                <a:ext uri="{FF2B5EF4-FFF2-40B4-BE49-F238E27FC236}">
                  <a16:creationId xmlns:a16="http://schemas.microsoft.com/office/drawing/2014/main" id="{564881B6-DCD8-4991-B7CF-4B89818AE4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3788" y="1579323"/>
              <a:ext cx="2975378" cy="1703250"/>
            </a:xfrm>
            <a:custGeom>
              <a:avLst/>
              <a:gdLst>
                <a:gd name="T0" fmla="*/ 403 w 674"/>
                <a:gd name="T1" fmla="*/ 386 h 386"/>
                <a:gd name="T2" fmla="*/ 391 w 674"/>
                <a:gd name="T3" fmla="*/ 384 h 386"/>
                <a:gd name="T4" fmla="*/ 5 w 674"/>
                <a:gd name="T5" fmla="*/ 164 h 386"/>
                <a:gd name="T6" fmla="*/ 0 w 674"/>
                <a:gd name="T7" fmla="*/ 158 h 386"/>
                <a:gd name="T8" fmla="*/ 0 w 674"/>
                <a:gd name="T9" fmla="*/ 158 h 386"/>
                <a:gd name="T10" fmla="*/ 0 w 674"/>
                <a:gd name="T11" fmla="*/ 156 h 386"/>
                <a:gd name="T12" fmla="*/ 0 w 674"/>
                <a:gd name="T13" fmla="*/ 146 h 386"/>
                <a:gd name="T14" fmla="*/ 16 w 674"/>
                <a:gd name="T15" fmla="*/ 141 h 386"/>
                <a:gd name="T16" fmla="*/ 258 w 674"/>
                <a:gd name="T17" fmla="*/ 5 h 386"/>
                <a:gd name="T18" fmla="*/ 284 w 674"/>
                <a:gd name="T19" fmla="*/ 4 h 386"/>
                <a:gd name="T20" fmla="*/ 674 w 674"/>
                <a:gd name="T21" fmla="*/ 219 h 386"/>
                <a:gd name="T22" fmla="*/ 674 w 674"/>
                <a:gd name="T23" fmla="*/ 233 h 386"/>
                <a:gd name="T24" fmla="*/ 667 w 674"/>
                <a:gd name="T25" fmla="*/ 241 h 386"/>
                <a:gd name="T26" fmla="*/ 418 w 674"/>
                <a:gd name="T27" fmla="*/ 383 h 386"/>
                <a:gd name="T28" fmla="*/ 403 w 674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4" h="386">
                  <a:moveTo>
                    <a:pt x="403" y="386"/>
                  </a:moveTo>
                  <a:cubicBezTo>
                    <a:pt x="398" y="386"/>
                    <a:pt x="394" y="386"/>
                    <a:pt x="391" y="384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2" y="162"/>
                    <a:pt x="1" y="160"/>
                    <a:pt x="0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258" y="5"/>
                    <a:pt x="258" y="5"/>
                    <a:pt x="258" y="5"/>
                  </a:cubicBezTo>
                  <a:cubicBezTo>
                    <a:pt x="265" y="0"/>
                    <a:pt x="277" y="0"/>
                    <a:pt x="284" y="4"/>
                  </a:cubicBezTo>
                  <a:cubicBezTo>
                    <a:pt x="674" y="219"/>
                    <a:pt x="674" y="219"/>
                    <a:pt x="674" y="219"/>
                  </a:cubicBezTo>
                  <a:cubicBezTo>
                    <a:pt x="674" y="233"/>
                    <a:pt x="674" y="233"/>
                    <a:pt x="674" y="233"/>
                  </a:cubicBezTo>
                  <a:cubicBezTo>
                    <a:pt x="673" y="236"/>
                    <a:pt x="671" y="239"/>
                    <a:pt x="667" y="241"/>
                  </a:cubicBezTo>
                  <a:cubicBezTo>
                    <a:pt x="418" y="383"/>
                    <a:pt x="418" y="383"/>
                    <a:pt x="418" y="383"/>
                  </a:cubicBezTo>
                  <a:cubicBezTo>
                    <a:pt x="413" y="385"/>
                    <a:pt x="408" y="386"/>
                    <a:pt x="403" y="38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49" name="Freeform 83">
              <a:extLst>
                <a:ext uri="{FF2B5EF4-FFF2-40B4-BE49-F238E27FC236}">
                  <a16:creationId xmlns:a16="http://schemas.microsoft.com/office/drawing/2014/main" id="{0F26DB8C-F564-4E49-BEE6-B3C5B6C884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3788" y="1547467"/>
              <a:ext cx="2983873" cy="1694755"/>
            </a:xfrm>
            <a:custGeom>
              <a:avLst/>
              <a:gdLst>
                <a:gd name="T0" fmla="*/ 670 w 676"/>
                <a:gd name="T1" fmla="*/ 224 h 384"/>
                <a:gd name="T2" fmla="*/ 283 w 676"/>
                <a:gd name="T3" fmla="*/ 4 h 384"/>
                <a:gd name="T4" fmla="*/ 259 w 676"/>
                <a:gd name="T5" fmla="*/ 5 h 384"/>
                <a:gd name="T6" fmla="*/ 8 w 676"/>
                <a:gd name="T7" fmla="*/ 146 h 384"/>
                <a:gd name="T8" fmla="*/ 6 w 676"/>
                <a:gd name="T9" fmla="*/ 160 h 384"/>
                <a:gd name="T10" fmla="*/ 393 w 676"/>
                <a:gd name="T11" fmla="*/ 380 h 384"/>
                <a:gd name="T12" fmla="*/ 417 w 676"/>
                <a:gd name="T13" fmla="*/ 379 h 384"/>
                <a:gd name="T14" fmla="*/ 661 w 676"/>
                <a:gd name="T15" fmla="*/ 242 h 384"/>
                <a:gd name="T16" fmla="*/ 670 w 676"/>
                <a:gd name="T17" fmla="*/ 22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6" h="384">
                  <a:moveTo>
                    <a:pt x="670" y="224"/>
                  </a:moveTo>
                  <a:cubicBezTo>
                    <a:pt x="283" y="4"/>
                    <a:pt x="283" y="4"/>
                    <a:pt x="283" y="4"/>
                  </a:cubicBezTo>
                  <a:cubicBezTo>
                    <a:pt x="277" y="0"/>
                    <a:pt x="266" y="1"/>
                    <a:pt x="259" y="5"/>
                  </a:cubicBezTo>
                  <a:cubicBezTo>
                    <a:pt x="8" y="146"/>
                    <a:pt x="8" y="146"/>
                    <a:pt x="8" y="146"/>
                  </a:cubicBezTo>
                  <a:cubicBezTo>
                    <a:pt x="1" y="150"/>
                    <a:pt x="0" y="157"/>
                    <a:pt x="6" y="160"/>
                  </a:cubicBezTo>
                  <a:cubicBezTo>
                    <a:pt x="393" y="380"/>
                    <a:pt x="393" y="380"/>
                    <a:pt x="393" y="380"/>
                  </a:cubicBezTo>
                  <a:cubicBezTo>
                    <a:pt x="399" y="384"/>
                    <a:pt x="410" y="383"/>
                    <a:pt x="417" y="379"/>
                  </a:cubicBezTo>
                  <a:cubicBezTo>
                    <a:pt x="661" y="242"/>
                    <a:pt x="661" y="242"/>
                    <a:pt x="661" y="242"/>
                  </a:cubicBezTo>
                  <a:cubicBezTo>
                    <a:pt x="668" y="238"/>
                    <a:pt x="676" y="227"/>
                    <a:pt x="670" y="224"/>
                  </a:cubicBezTo>
                  <a:close/>
                </a:path>
              </a:pathLst>
            </a:custGeom>
            <a:solidFill>
              <a:srgbClr val="FFB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0" name="Freeform 84">
              <a:extLst>
                <a:ext uri="{FF2B5EF4-FFF2-40B4-BE49-F238E27FC236}">
                  <a16:creationId xmlns:a16="http://schemas.microsoft.com/office/drawing/2014/main" id="{71A4E5F8-5EC9-45E5-9156-82E8F7B746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3788" y="1572952"/>
              <a:ext cx="2979626" cy="1673518"/>
            </a:xfrm>
            <a:custGeom>
              <a:avLst/>
              <a:gdLst>
                <a:gd name="T0" fmla="*/ 669 w 675"/>
                <a:gd name="T1" fmla="*/ 224 h 379"/>
                <a:gd name="T2" fmla="*/ 283 w 675"/>
                <a:gd name="T3" fmla="*/ 4 h 379"/>
                <a:gd name="T4" fmla="*/ 258 w 675"/>
                <a:gd name="T5" fmla="*/ 5 h 379"/>
                <a:gd name="T6" fmla="*/ 7 w 675"/>
                <a:gd name="T7" fmla="*/ 146 h 379"/>
                <a:gd name="T8" fmla="*/ 9 w 675"/>
                <a:gd name="T9" fmla="*/ 157 h 379"/>
                <a:gd name="T10" fmla="*/ 390 w 675"/>
                <a:gd name="T11" fmla="*/ 371 h 379"/>
                <a:gd name="T12" fmla="*/ 415 w 675"/>
                <a:gd name="T13" fmla="*/ 375 h 379"/>
                <a:gd name="T14" fmla="*/ 653 w 675"/>
                <a:gd name="T15" fmla="*/ 239 h 379"/>
                <a:gd name="T16" fmla="*/ 669 w 675"/>
                <a:gd name="T17" fmla="*/ 22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379">
                  <a:moveTo>
                    <a:pt x="669" y="224"/>
                  </a:moveTo>
                  <a:cubicBezTo>
                    <a:pt x="283" y="4"/>
                    <a:pt x="283" y="4"/>
                    <a:pt x="283" y="4"/>
                  </a:cubicBezTo>
                  <a:cubicBezTo>
                    <a:pt x="276" y="0"/>
                    <a:pt x="265" y="1"/>
                    <a:pt x="258" y="5"/>
                  </a:cubicBezTo>
                  <a:cubicBezTo>
                    <a:pt x="7" y="146"/>
                    <a:pt x="7" y="146"/>
                    <a:pt x="7" y="146"/>
                  </a:cubicBezTo>
                  <a:cubicBezTo>
                    <a:pt x="0" y="150"/>
                    <a:pt x="3" y="154"/>
                    <a:pt x="9" y="157"/>
                  </a:cubicBezTo>
                  <a:cubicBezTo>
                    <a:pt x="390" y="371"/>
                    <a:pt x="390" y="371"/>
                    <a:pt x="390" y="371"/>
                  </a:cubicBezTo>
                  <a:cubicBezTo>
                    <a:pt x="396" y="374"/>
                    <a:pt x="408" y="379"/>
                    <a:pt x="415" y="375"/>
                  </a:cubicBezTo>
                  <a:cubicBezTo>
                    <a:pt x="653" y="239"/>
                    <a:pt x="653" y="239"/>
                    <a:pt x="653" y="239"/>
                  </a:cubicBezTo>
                  <a:cubicBezTo>
                    <a:pt x="661" y="235"/>
                    <a:pt x="675" y="227"/>
                    <a:pt x="669" y="224"/>
                  </a:cubicBezTo>
                  <a:close/>
                </a:path>
              </a:pathLst>
            </a:custGeom>
            <a:solidFill>
              <a:srgbClr val="FFE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1" name="Freeform 85">
              <a:extLst>
                <a:ext uri="{FF2B5EF4-FFF2-40B4-BE49-F238E27FC236}">
                  <a16:creationId xmlns:a16="http://schemas.microsoft.com/office/drawing/2014/main" id="{B287B2AC-57F7-4E4D-8469-D813FF79FE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93788" y="1538972"/>
              <a:ext cx="2975378" cy="1707498"/>
            </a:xfrm>
            <a:custGeom>
              <a:avLst/>
              <a:gdLst>
                <a:gd name="T0" fmla="*/ 403 w 674"/>
                <a:gd name="T1" fmla="*/ 387 h 387"/>
                <a:gd name="T2" fmla="*/ 392 w 674"/>
                <a:gd name="T3" fmla="*/ 384 h 387"/>
                <a:gd name="T4" fmla="*/ 5 w 674"/>
                <a:gd name="T5" fmla="*/ 164 h 387"/>
                <a:gd name="T6" fmla="*/ 0 w 674"/>
                <a:gd name="T7" fmla="*/ 156 h 387"/>
                <a:gd name="T8" fmla="*/ 7 w 674"/>
                <a:gd name="T9" fmla="*/ 147 h 387"/>
                <a:gd name="T10" fmla="*/ 258 w 674"/>
                <a:gd name="T11" fmla="*/ 5 h 387"/>
                <a:gd name="T12" fmla="*/ 284 w 674"/>
                <a:gd name="T13" fmla="*/ 4 h 387"/>
                <a:gd name="T14" fmla="*/ 671 w 674"/>
                <a:gd name="T15" fmla="*/ 224 h 387"/>
                <a:gd name="T16" fmla="*/ 674 w 674"/>
                <a:gd name="T17" fmla="*/ 229 h 387"/>
                <a:gd name="T18" fmla="*/ 661 w 674"/>
                <a:gd name="T19" fmla="*/ 245 h 387"/>
                <a:gd name="T20" fmla="*/ 418 w 674"/>
                <a:gd name="T21" fmla="*/ 383 h 387"/>
                <a:gd name="T22" fmla="*/ 403 w 674"/>
                <a:gd name="T23" fmla="*/ 387 h 387"/>
                <a:gd name="T24" fmla="*/ 273 w 674"/>
                <a:gd name="T25" fmla="*/ 5 h 387"/>
                <a:gd name="T26" fmla="*/ 260 w 674"/>
                <a:gd name="T27" fmla="*/ 8 h 387"/>
                <a:gd name="T28" fmla="*/ 9 w 674"/>
                <a:gd name="T29" fmla="*/ 150 h 387"/>
                <a:gd name="T30" fmla="*/ 4 w 674"/>
                <a:gd name="T31" fmla="*/ 156 h 387"/>
                <a:gd name="T32" fmla="*/ 7 w 674"/>
                <a:gd name="T33" fmla="*/ 161 h 387"/>
                <a:gd name="T34" fmla="*/ 394 w 674"/>
                <a:gd name="T35" fmla="*/ 381 h 387"/>
                <a:gd name="T36" fmla="*/ 416 w 674"/>
                <a:gd name="T37" fmla="*/ 380 h 387"/>
                <a:gd name="T38" fmla="*/ 660 w 674"/>
                <a:gd name="T39" fmla="*/ 242 h 387"/>
                <a:gd name="T40" fmla="*/ 670 w 674"/>
                <a:gd name="T41" fmla="*/ 229 h 387"/>
                <a:gd name="T42" fmla="*/ 669 w 674"/>
                <a:gd name="T43" fmla="*/ 227 h 387"/>
                <a:gd name="T44" fmla="*/ 282 w 674"/>
                <a:gd name="T45" fmla="*/ 7 h 387"/>
                <a:gd name="T46" fmla="*/ 273 w 674"/>
                <a:gd name="T47" fmla="*/ 5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4" h="387">
                  <a:moveTo>
                    <a:pt x="403" y="387"/>
                  </a:moveTo>
                  <a:cubicBezTo>
                    <a:pt x="399" y="387"/>
                    <a:pt x="395" y="386"/>
                    <a:pt x="392" y="384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2" y="162"/>
                    <a:pt x="0" y="159"/>
                    <a:pt x="0" y="156"/>
                  </a:cubicBezTo>
                  <a:cubicBezTo>
                    <a:pt x="0" y="153"/>
                    <a:pt x="3" y="149"/>
                    <a:pt x="7" y="147"/>
                  </a:cubicBezTo>
                  <a:cubicBezTo>
                    <a:pt x="258" y="5"/>
                    <a:pt x="258" y="5"/>
                    <a:pt x="258" y="5"/>
                  </a:cubicBezTo>
                  <a:cubicBezTo>
                    <a:pt x="266" y="1"/>
                    <a:pt x="278" y="0"/>
                    <a:pt x="284" y="4"/>
                  </a:cubicBezTo>
                  <a:cubicBezTo>
                    <a:pt x="671" y="224"/>
                    <a:pt x="671" y="224"/>
                    <a:pt x="671" y="224"/>
                  </a:cubicBezTo>
                  <a:cubicBezTo>
                    <a:pt x="673" y="225"/>
                    <a:pt x="674" y="227"/>
                    <a:pt x="674" y="229"/>
                  </a:cubicBezTo>
                  <a:cubicBezTo>
                    <a:pt x="674" y="235"/>
                    <a:pt x="668" y="242"/>
                    <a:pt x="661" y="245"/>
                  </a:cubicBezTo>
                  <a:cubicBezTo>
                    <a:pt x="418" y="383"/>
                    <a:pt x="418" y="383"/>
                    <a:pt x="418" y="383"/>
                  </a:cubicBezTo>
                  <a:cubicBezTo>
                    <a:pt x="414" y="385"/>
                    <a:pt x="408" y="387"/>
                    <a:pt x="403" y="387"/>
                  </a:cubicBezTo>
                  <a:close/>
                  <a:moveTo>
                    <a:pt x="273" y="5"/>
                  </a:moveTo>
                  <a:cubicBezTo>
                    <a:pt x="268" y="5"/>
                    <a:pt x="264" y="6"/>
                    <a:pt x="260" y="8"/>
                  </a:cubicBezTo>
                  <a:cubicBezTo>
                    <a:pt x="9" y="150"/>
                    <a:pt x="9" y="150"/>
                    <a:pt x="9" y="150"/>
                  </a:cubicBezTo>
                  <a:cubicBezTo>
                    <a:pt x="6" y="152"/>
                    <a:pt x="4" y="154"/>
                    <a:pt x="4" y="156"/>
                  </a:cubicBezTo>
                  <a:cubicBezTo>
                    <a:pt x="4" y="158"/>
                    <a:pt x="5" y="160"/>
                    <a:pt x="7" y="161"/>
                  </a:cubicBezTo>
                  <a:cubicBezTo>
                    <a:pt x="394" y="381"/>
                    <a:pt x="394" y="381"/>
                    <a:pt x="394" y="381"/>
                  </a:cubicBezTo>
                  <a:cubicBezTo>
                    <a:pt x="399" y="384"/>
                    <a:pt x="410" y="383"/>
                    <a:pt x="416" y="380"/>
                  </a:cubicBezTo>
                  <a:cubicBezTo>
                    <a:pt x="660" y="242"/>
                    <a:pt x="660" y="242"/>
                    <a:pt x="660" y="242"/>
                  </a:cubicBezTo>
                  <a:cubicBezTo>
                    <a:pt x="665" y="239"/>
                    <a:pt x="670" y="233"/>
                    <a:pt x="670" y="229"/>
                  </a:cubicBezTo>
                  <a:cubicBezTo>
                    <a:pt x="670" y="228"/>
                    <a:pt x="670" y="228"/>
                    <a:pt x="669" y="227"/>
                  </a:cubicBezTo>
                  <a:cubicBezTo>
                    <a:pt x="282" y="7"/>
                    <a:pt x="282" y="7"/>
                    <a:pt x="282" y="7"/>
                  </a:cubicBezTo>
                  <a:cubicBezTo>
                    <a:pt x="280" y="6"/>
                    <a:pt x="277" y="5"/>
                    <a:pt x="273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2" name="Freeform 86">
              <a:extLst>
                <a:ext uri="{FF2B5EF4-FFF2-40B4-BE49-F238E27FC236}">
                  <a16:creationId xmlns:a16="http://schemas.microsoft.com/office/drawing/2014/main" id="{F81E1E7B-1862-4905-8986-BB0AEC2658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1884" y="1961599"/>
              <a:ext cx="273964" cy="155034"/>
            </a:xfrm>
            <a:custGeom>
              <a:avLst/>
              <a:gdLst>
                <a:gd name="T0" fmla="*/ 16 w 62"/>
                <a:gd name="T1" fmla="*/ 35 h 35"/>
                <a:gd name="T2" fmla="*/ 4 w 62"/>
                <a:gd name="T3" fmla="*/ 28 h 35"/>
                <a:gd name="T4" fmla="*/ 4 w 62"/>
                <a:gd name="T5" fmla="*/ 20 h 35"/>
                <a:gd name="T6" fmla="*/ 36 w 62"/>
                <a:gd name="T7" fmla="*/ 2 h 35"/>
                <a:gd name="T8" fmla="*/ 50 w 62"/>
                <a:gd name="T9" fmla="*/ 2 h 35"/>
                <a:gd name="T10" fmla="*/ 62 w 62"/>
                <a:gd name="T11" fmla="*/ 8 h 35"/>
                <a:gd name="T12" fmla="*/ 16 w 62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35">
                  <a:moveTo>
                    <a:pt x="16" y="35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0" y="26"/>
                    <a:pt x="0" y="22"/>
                    <a:pt x="4" y="20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40" y="0"/>
                    <a:pt x="46" y="0"/>
                    <a:pt x="50" y="2"/>
                  </a:cubicBezTo>
                  <a:cubicBezTo>
                    <a:pt x="62" y="8"/>
                    <a:pt x="62" y="8"/>
                    <a:pt x="62" y="8"/>
                  </a:cubicBezTo>
                  <a:lnTo>
                    <a:pt x="16" y="35"/>
                  </a:lnTo>
                  <a:close/>
                </a:path>
              </a:pathLst>
            </a:custGeom>
            <a:solidFill>
              <a:srgbClr val="FFB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3" name="Freeform 87">
              <a:extLst>
                <a:ext uri="{FF2B5EF4-FFF2-40B4-BE49-F238E27FC236}">
                  <a16:creationId xmlns:a16="http://schemas.microsoft.com/office/drawing/2014/main" id="{FA53BC16-1FD9-463F-9072-4EC8119D93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77636" y="1919124"/>
              <a:ext cx="295202" cy="176272"/>
            </a:xfrm>
            <a:custGeom>
              <a:avLst/>
              <a:gdLst>
                <a:gd name="T0" fmla="*/ 17 w 67"/>
                <a:gd name="T1" fmla="*/ 40 h 40"/>
                <a:gd name="T2" fmla="*/ 4 w 67"/>
                <a:gd name="T3" fmla="*/ 32 h 40"/>
                <a:gd name="T4" fmla="*/ 0 w 67"/>
                <a:gd name="T5" fmla="*/ 27 h 40"/>
                <a:gd name="T6" fmla="*/ 4 w 67"/>
                <a:gd name="T7" fmla="*/ 21 h 40"/>
                <a:gd name="T8" fmla="*/ 36 w 67"/>
                <a:gd name="T9" fmla="*/ 3 h 40"/>
                <a:gd name="T10" fmla="*/ 52 w 67"/>
                <a:gd name="T11" fmla="*/ 3 h 40"/>
                <a:gd name="T12" fmla="*/ 67 w 67"/>
                <a:gd name="T13" fmla="*/ 11 h 40"/>
                <a:gd name="T14" fmla="*/ 17 w 67"/>
                <a:gd name="T15" fmla="*/ 40 h 40"/>
                <a:gd name="T16" fmla="*/ 44 w 67"/>
                <a:gd name="T17" fmla="*/ 5 h 40"/>
                <a:gd name="T18" fmla="*/ 38 w 67"/>
                <a:gd name="T19" fmla="*/ 6 h 40"/>
                <a:gd name="T20" fmla="*/ 6 w 67"/>
                <a:gd name="T21" fmla="*/ 24 h 40"/>
                <a:gd name="T22" fmla="*/ 4 w 67"/>
                <a:gd name="T23" fmla="*/ 27 h 40"/>
                <a:gd name="T24" fmla="*/ 6 w 67"/>
                <a:gd name="T25" fmla="*/ 29 h 40"/>
                <a:gd name="T26" fmla="*/ 17 w 67"/>
                <a:gd name="T27" fmla="*/ 35 h 40"/>
                <a:gd name="T28" fmla="*/ 59 w 67"/>
                <a:gd name="T29" fmla="*/ 11 h 40"/>
                <a:gd name="T30" fmla="*/ 50 w 67"/>
                <a:gd name="T31" fmla="*/ 6 h 40"/>
                <a:gd name="T32" fmla="*/ 44 w 67"/>
                <a:gd name="T33" fmla="*/ 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" h="40">
                  <a:moveTo>
                    <a:pt x="17" y="40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2" y="31"/>
                    <a:pt x="0" y="29"/>
                    <a:pt x="0" y="27"/>
                  </a:cubicBezTo>
                  <a:cubicBezTo>
                    <a:pt x="0" y="25"/>
                    <a:pt x="2" y="23"/>
                    <a:pt x="4" y="21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41" y="0"/>
                    <a:pt x="48" y="0"/>
                    <a:pt x="52" y="3"/>
                  </a:cubicBezTo>
                  <a:cubicBezTo>
                    <a:pt x="67" y="11"/>
                    <a:pt x="67" y="11"/>
                    <a:pt x="67" y="11"/>
                  </a:cubicBezTo>
                  <a:lnTo>
                    <a:pt x="17" y="40"/>
                  </a:lnTo>
                  <a:close/>
                  <a:moveTo>
                    <a:pt x="44" y="5"/>
                  </a:moveTo>
                  <a:cubicBezTo>
                    <a:pt x="42" y="5"/>
                    <a:pt x="40" y="5"/>
                    <a:pt x="38" y="6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5" y="25"/>
                    <a:pt x="4" y="26"/>
                    <a:pt x="4" y="27"/>
                  </a:cubicBezTo>
                  <a:cubicBezTo>
                    <a:pt x="4" y="28"/>
                    <a:pt x="5" y="28"/>
                    <a:pt x="6" y="29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49" y="5"/>
                    <a:pt x="46" y="5"/>
                    <a:pt x="44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4" name="Freeform 88">
              <a:extLst>
                <a:ext uri="{FF2B5EF4-FFF2-40B4-BE49-F238E27FC236}">
                  <a16:creationId xmlns:a16="http://schemas.microsoft.com/office/drawing/2014/main" id="{97A74978-BF6D-4F67-BF42-5BF3E1F16E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75329" y="2010445"/>
              <a:ext cx="286707" cy="163529"/>
            </a:xfrm>
            <a:custGeom>
              <a:avLst/>
              <a:gdLst>
                <a:gd name="T0" fmla="*/ 95 w 135"/>
                <a:gd name="T1" fmla="*/ 0 h 77"/>
                <a:gd name="T2" fmla="*/ 135 w 135"/>
                <a:gd name="T3" fmla="*/ 23 h 77"/>
                <a:gd name="T4" fmla="*/ 37 w 135"/>
                <a:gd name="T5" fmla="*/ 77 h 77"/>
                <a:gd name="T6" fmla="*/ 0 w 135"/>
                <a:gd name="T7" fmla="*/ 54 h 77"/>
                <a:gd name="T8" fmla="*/ 95 w 135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77">
                  <a:moveTo>
                    <a:pt x="95" y="0"/>
                  </a:moveTo>
                  <a:lnTo>
                    <a:pt x="135" y="23"/>
                  </a:lnTo>
                  <a:lnTo>
                    <a:pt x="37" y="77"/>
                  </a:lnTo>
                  <a:lnTo>
                    <a:pt x="0" y="54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FFB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5" name="Freeform 89">
              <a:extLst>
                <a:ext uri="{FF2B5EF4-FFF2-40B4-BE49-F238E27FC236}">
                  <a16:creationId xmlns:a16="http://schemas.microsoft.com/office/drawing/2014/main" id="{E1E6C3D4-E8BC-4D5B-BA05-31C763D5A9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56215" y="1972218"/>
              <a:ext cx="318563" cy="180519"/>
            </a:xfrm>
            <a:custGeom>
              <a:avLst/>
              <a:gdLst>
                <a:gd name="T0" fmla="*/ 46 w 150"/>
                <a:gd name="T1" fmla="*/ 85 h 85"/>
                <a:gd name="T2" fmla="*/ 0 w 150"/>
                <a:gd name="T3" fmla="*/ 58 h 85"/>
                <a:gd name="T4" fmla="*/ 104 w 150"/>
                <a:gd name="T5" fmla="*/ 0 h 85"/>
                <a:gd name="T6" fmla="*/ 150 w 150"/>
                <a:gd name="T7" fmla="*/ 27 h 85"/>
                <a:gd name="T8" fmla="*/ 46 w 150"/>
                <a:gd name="T9" fmla="*/ 85 h 85"/>
                <a:gd name="T10" fmla="*/ 15 w 150"/>
                <a:gd name="T11" fmla="*/ 58 h 85"/>
                <a:gd name="T12" fmla="*/ 46 w 150"/>
                <a:gd name="T13" fmla="*/ 76 h 85"/>
                <a:gd name="T14" fmla="*/ 135 w 150"/>
                <a:gd name="T15" fmla="*/ 27 h 85"/>
                <a:gd name="T16" fmla="*/ 104 w 150"/>
                <a:gd name="T17" fmla="*/ 8 h 85"/>
                <a:gd name="T18" fmla="*/ 15 w 150"/>
                <a:gd name="T19" fmla="*/ 5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85">
                  <a:moveTo>
                    <a:pt x="46" y="85"/>
                  </a:moveTo>
                  <a:lnTo>
                    <a:pt x="0" y="58"/>
                  </a:lnTo>
                  <a:lnTo>
                    <a:pt x="104" y="0"/>
                  </a:lnTo>
                  <a:lnTo>
                    <a:pt x="150" y="27"/>
                  </a:lnTo>
                  <a:lnTo>
                    <a:pt x="46" y="85"/>
                  </a:lnTo>
                  <a:close/>
                  <a:moveTo>
                    <a:pt x="15" y="58"/>
                  </a:moveTo>
                  <a:lnTo>
                    <a:pt x="46" y="76"/>
                  </a:lnTo>
                  <a:lnTo>
                    <a:pt x="135" y="27"/>
                  </a:lnTo>
                  <a:lnTo>
                    <a:pt x="104" y="8"/>
                  </a:lnTo>
                  <a:lnTo>
                    <a:pt x="15" y="5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6" name="Freeform 90">
              <a:extLst>
                <a:ext uri="{FF2B5EF4-FFF2-40B4-BE49-F238E27FC236}">
                  <a16:creationId xmlns:a16="http://schemas.microsoft.com/office/drawing/2014/main" id="{D2075203-EF88-4509-B2F9-21A69BF47A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5145" y="2072034"/>
              <a:ext cx="273964" cy="155034"/>
            </a:xfrm>
            <a:custGeom>
              <a:avLst/>
              <a:gdLst>
                <a:gd name="T0" fmla="*/ 12 w 62"/>
                <a:gd name="T1" fmla="*/ 32 h 35"/>
                <a:gd name="T2" fmla="*/ 0 w 62"/>
                <a:gd name="T3" fmla="*/ 26 h 35"/>
                <a:gd name="T4" fmla="*/ 46 w 62"/>
                <a:gd name="T5" fmla="*/ 0 h 35"/>
                <a:gd name="T6" fmla="*/ 58 w 62"/>
                <a:gd name="T7" fmla="*/ 6 h 35"/>
                <a:gd name="T8" fmla="*/ 58 w 62"/>
                <a:gd name="T9" fmla="*/ 14 h 35"/>
                <a:gd name="T10" fmla="*/ 26 w 62"/>
                <a:gd name="T11" fmla="*/ 32 h 35"/>
                <a:gd name="T12" fmla="*/ 12 w 62"/>
                <a:gd name="T13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35">
                  <a:moveTo>
                    <a:pt x="12" y="32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62" y="8"/>
                    <a:pt x="62" y="12"/>
                    <a:pt x="58" y="14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2" y="35"/>
                    <a:pt x="16" y="35"/>
                    <a:pt x="12" y="32"/>
                  </a:cubicBezTo>
                  <a:close/>
                </a:path>
              </a:pathLst>
            </a:custGeom>
            <a:solidFill>
              <a:srgbClr val="FFB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7" name="Freeform 91">
              <a:extLst>
                <a:ext uri="{FF2B5EF4-FFF2-40B4-BE49-F238E27FC236}">
                  <a16:creationId xmlns:a16="http://schemas.microsoft.com/office/drawing/2014/main" id="{F704358C-C2A7-4F1C-AA7C-079F85091D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58155" y="2029559"/>
              <a:ext cx="295202" cy="172024"/>
            </a:xfrm>
            <a:custGeom>
              <a:avLst/>
              <a:gdLst>
                <a:gd name="T0" fmla="*/ 23 w 67"/>
                <a:gd name="T1" fmla="*/ 39 h 39"/>
                <a:gd name="T2" fmla="*/ 15 w 67"/>
                <a:gd name="T3" fmla="*/ 37 h 39"/>
                <a:gd name="T4" fmla="*/ 0 w 67"/>
                <a:gd name="T5" fmla="*/ 29 h 39"/>
                <a:gd name="T6" fmla="*/ 50 w 67"/>
                <a:gd name="T7" fmla="*/ 0 h 39"/>
                <a:gd name="T8" fmla="*/ 63 w 67"/>
                <a:gd name="T9" fmla="*/ 7 h 39"/>
                <a:gd name="T10" fmla="*/ 67 w 67"/>
                <a:gd name="T11" fmla="*/ 13 h 39"/>
                <a:gd name="T12" fmla="*/ 63 w 67"/>
                <a:gd name="T13" fmla="*/ 19 h 39"/>
                <a:gd name="T14" fmla="*/ 31 w 67"/>
                <a:gd name="T15" fmla="*/ 37 h 39"/>
                <a:gd name="T16" fmla="*/ 23 w 67"/>
                <a:gd name="T17" fmla="*/ 39 h 39"/>
                <a:gd name="T18" fmla="*/ 17 w 67"/>
                <a:gd name="T19" fmla="*/ 33 h 39"/>
                <a:gd name="T20" fmla="*/ 29 w 67"/>
                <a:gd name="T21" fmla="*/ 34 h 39"/>
                <a:gd name="T22" fmla="*/ 61 w 67"/>
                <a:gd name="T23" fmla="*/ 15 h 39"/>
                <a:gd name="T24" fmla="*/ 63 w 67"/>
                <a:gd name="T25" fmla="*/ 13 h 39"/>
                <a:gd name="T26" fmla="*/ 61 w 67"/>
                <a:gd name="T27" fmla="*/ 11 h 39"/>
                <a:gd name="T28" fmla="*/ 50 w 67"/>
                <a:gd name="T29" fmla="*/ 5 h 39"/>
                <a:gd name="T30" fmla="*/ 8 w 67"/>
                <a:gd name="T31" fmla="*/ 29 h 39"/>
                <a:gd name="T32" fmla="*/ 17 w 67"/>
                <a:gd name="T3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" h="39">
                  <a:moveTo>
                    <a:pt x="23" y="39"/>
                  </a:moveTo>
                  <a:cubicBezTo>
                    <a:pt x="20" y="39"/>
                    <a:pt x="17" y="38"/>
                    <a:pt x="15" y="37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5" y="9"/>
                    <a:pt x="67" y="11"/>
                    <a:pt x="67" y="13"/>
                  </a:cubicBezTo>
                  <a:cubicBezTo>
                    <a:pt x="67" y="15"/>
                    <a:pt x="65" y="17"/>
                    <a:pt x="63" y="19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29" y="38"/>
                    <a:pt x="26" y="39"/>
                    <a:pt x="23" y="39"/>
                  </a:cubicBezTo>
                  <a:close/>
                  <a:moveTo>
                    <a:pt x="17" y="33"/>
                  </a:moveTo>
                  <a:cubicBezTo>
                    <a:pt x="20" y="35"/>
                    <a:pt x="26" y="35"/>
                    <a:pt x="29" y="34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2" y="15"/>
                    <a:pt x="63" y="14"/>
                    <a:pt x="63" y="13"/>
                  </a:cubicBezTo>
                  <a:cubicBezTo>
                    <a:pt x="63" y="12"/>
                    <a:pt x="62" y="11"/>
                    <a:pt x="61" y="11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8" y="29"/>
                    <a:pt x="8" y="29"/>
                    <a:pt x="8" y="29"/>
                  </a:cubicBezTo>
                  <a:lnTo>
                    <a:pt x="17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8" name="Freeform 92">
              <a:extLst>
                <a:ext uri="{FF2B5EF4-FFF2-40B4-BE49-F238E27FC236}">
                  <a16:creationId xmlns:a16="http://schemas.microsoft.com/office/drawing/2014/main" id="{BDC370A4-C064-4D26-B6A9-293A3FACC0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2439" y="2906669"/>
              <a:ext cx="150786" cy="89198"/>
            </a:xfrm>
            <a:custGeom>
              <a:avLst/>
              <a:gdLst>
                <a:gd name="T0" fmla="*/ 29 w 34"/>
                <a:gd name="T1" fmla="*/ 3 h 20"/>
                <a:gd name="T2" fmla="*/ 25 w 34"/>
                <a:gd name="T3" fmla="*/ 15 h 20"/>
                <a:gd name="T4" fmla="*/ 6 w 34"/>
                <a:gd name="T5" fmla="*/ 17 h 20"/>
                <a:gd name="T6" fmla="*/ 9 w 34"/>
                <a:gd name="T7" fmla="*/ 5 h 20"/>
                <a:gd name="T8" fmla="*/ 29 w 34"/>
                <a:gd name="T9" fmla="*/ 3 h 20"/>
                <a:gd name="T10" fmla="*/ 8 w 34"/>
                <a:gd name="T11" fmla="*/ 15 h 20"/>
                <a:gd name="T12" fmla="*/ 23 w 34"/>
                <a:gd name="T13" fmla="*/ 14 h 20"/>
                <a:gd name="T14" fmla="*/ 26 w 34"/>
                <a:gd name="T15" fmla="*/ 5 h 20"/>
                <a:gd name="T16" fmla="*/ 11 w 34"/>
                <a:gd name="T17" fmla="*/ 7 h 20"/>
                <a:gd name="T18" fmla="*/ 8 w 34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20">
                  <a:moveTo>
                    <a:pt x="29" y="3"/>
                  </a:moveTo>
                  <a:cubicBezTo>
                    <a:pt x="34" y="7"/>
                    <a:pt x="32" y="10"/>
                    <a:pt x="25" y="15"/>
                  </a:cubicBezTo>
                  <a:cubicBezTo>
                    <a:pt x="18" y="19"/>
                    <a:pt x="11" y="20"/>
                    <a:pt x="6" y="17"/>
                  </a:cubicBezTo>
                  <a:cubicBezTo>
                    <a:pt x="0" y="14"/>
                    <a:pt x="2" y="10"/>
                    <a:pt x="9" y="5"/>
                  </a:cubicBezTo>
                  <a:cubicBezTo>
                    <a:pt x="16" y="1"/>
                    <a:pt x="23" y="0"/>
                    <a:pt x="29" y="3"/>
                  </a:cubicBezTo>
                  <a:close/>
                  <a:moveTo>
                    <a:pt x="8" y="15"/>
                  </a:moveTo>
                  <a:cubicBezTo>
                    <a:pt x="12" y="18"/>
                    <a:pt x="18" y="17"/>
                    <a:pt x="23" y="14"/>
                  </a:cubicBezTo>
                  <a:cubicBezTo>
                    <a:pt x="29" y="10"/>
                    <a:pt x="30" y="7"/>
                    <a:pt x="26" y="5"/>
                  </a:cubicBezTo>
                  <a:cubicBezTo>
                    <a:pt x="22" y="2"/>
                    <a:pt x="17" y="3"/>
                    <a:pt x="11" y="7"/>
                  </a:cubicBezTo>
                  <a:cubicBezTo>
                    <a:pt x="5" y="10"/>
                    <a:pt x="4" y="13"/>
                    <a:pt x="8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59" name="Freeform 93">
              <a:extLst>
                <a:ext uri="{FF2B5EF4-FFF2-40B4-BE49-F238E27FC236}">
                  <a16:creationId xmlns:a16="http://schemas.microsoft.com/office/drawing/2014/main" id="{BA48B7CB-14FA-4A8F-9F57-F389388473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73860" y="2862070"/>
              <a:ext cx="150786" cy="89198"/>
            </a:xfrm>
            <a:custGeom>
              <a:avLst/>
              <a:gdLst>
                <a:gd name="T0" fmla="*/ 29 w 34"/>
                <a:gd name="T1" fmla="*/ 3 h 20"/>
                <a:gd name="T2" fmla="*/ 25 w 34"/>
                <a:gd name="T3" fmla="*/ 14 h 20"/>
                <a:gd name="T4" fmla="*/ 6 w 34"/>
                <a:gd name="T5" fmla="*/ 16 h 20"/>
                <a:gd name="T6" fmla="*/ 9 w 34"/>
                <a:gd name="T7" fmla="*/ 5 h 20"/>
                <a:gd name="T8" fmla="*/ 29 w 34"/>
                <a:gd name="T9" fmla="*/ 3 h 20"/>
                <a:gd name="T10" fmla="*/ 8 w 34"/>
                <a:gd name="T11" fmla="*/ 15 h 20"/>
                <a:gd name="T12" fmla="*/ 23 w 34"/>
                <a:gd name="T13" fmla="*/ 13 h 20"/>
                <a:gd name="T14" fmla="*/ 26 w 34"/>
                <a:gd name="T15" fmla="*/ 4 h 20"/>
                <a:gd name="T16" fmla="*/ 11 w 34"/>
                <a:gd name="T17" fmla="*/ 6 h 20"/>
                <a:gd name="T18" fmla="*/ 8 w 34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20">
                  <a:moveTo>
                    <a:pt x="29" y="3"/>
                  </a:moveTo>
                  <a:cubicBezTo>
                    <a:pt x="34" y="6"/>
                    <a:pt x="32" y="10"/>
                    <a:pt x="25" y="14"/>
                  </a:cubicBezTo>
                  <a:cubicBezTo>
                    <a:pt x="18" y="18"/>
                    <a:pt x="11" y="20"/>
                    <a:pt x="6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1"/>
                    <a:pt x="23" y="0"/>
                    <a:pt x="29" y="3"/>
                  </a:cubicBezTo>
                  <a:close/>
                  <a:moveTo>
                    <a:pt x="8" y="15"/>
                  </a:moveTo>
                  <a:cubicBezTo>
                    <a:pt x="12" y="18"/>
                    <a:pt x="18" y="17"/>
                    <a:pt x="23" y="13"/>
                  </a:cubicBezTo>
                  <a:cubicBezTo>
                    <a:pt x="29" y="10"/>
                    <a:pt x="31" y="7"/>
                    <a:pt x="26" y="4"/>
                  </a:cubicBezTo>
                  <a:cubicBezTo>
                    <a:pt x="22" y="2"/>
                    <a:pt x="17" y="3"/>
                    <a:pt x="11" y="6"/>
                  </a:cubicBezTo>
                  <a:cubicBezTo>
                    <a:pt x="5" y="10"/>
                    <a:pt x="4" y="13"/>
                    <a:pt x="8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0" name="Freeform 94">
              <a:extLst>
                <a:ext uri="{FF2B5EF4-FFF2-40B4-BE49-F238E27FC236}">
                  <a16:creationId xmlns:a16="http://schemas.microsoft.com/office/drawing/2014/main" id="{3C6A56A2-AC26-4700-B831-4610B49B98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95281" y="2819595"/>
              <a:ext cx="148663" cy="82826"/>
            </a:xfrm>
            <a:custGeom>
              <a:avLst/>
              <a:gdLst>
                <a:gd name="T0" fmla="*/ 29 w 34"/>
                <a:gd name="T1" fmla="*/ 3 h 19"/>
                <a:gd name="T2" fmla="*/ 25 w 34"/>
                <a:gd name="T3" fmla="*/ 14 h 19"/>
                <a:gd name="T4" fmla="*/ 6 w 34"/>
                <a:gd name="T5" fmla="*/ 16 h 19"/>
                <a:gd name="T6" fmla="*/ 9 w 34"/>
                <a:gd name="T7" fmla="*/ 5 h 19"/>
                <a:gd name="T8" fmla="*/ 29 w 34"/>
                <a:gd name="T9" fmla="*/ 3 h 19"/>
                <a:gd name="T10" fmla="*/ 8 w 34"/>
                <a:gd name="T11" fmla="*/ 15 h 19"/>
                <a:gd name="T12" fmla="*/ 23 w 34"/>
                <a:gd name="T13" fmla="*/ 13 h 19"/>
                <a:gd name="T14" fmla="*/ 26 w 34"/>
                <a:gd name="T15" fmla="*/ 4 h 19"/>
                <a:gd name="T16" fmla="*/ 11 w 34"/>
                <a:gd name="T17" fmla="*/ 6 h 19"/>
                <a:gd name="T18" fmla="*/ 8 w 34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19">
                  <a:moveTo>
                    <a:pt x="29" y="3"/>
                  </a:moveTo>
                  <a:cubicBezTo>
                    <a:pt x="34" y="6"/>
                    <a:pt x="32" y="10"/>
                    <a:pt x="25" y="14"/>
                  </a:cubicBezTo>
                  <a:cubicBezTo>
                    <a:pt x="18" y="18"/>
                    <a:pt x="11" y="19"/>
                    <a:pt x="6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1"/>
                    <a:pt x="23" y="0"/>
                    <a:pt x="29" y="3"/>
                  </a:cubicBezTo>
                  <a:close/>
                  <a:moveTo>
                    <a:pt x="8" y="15"/>
                  </a:moveTo>
                  <a:cubicBezTo>
                    <a:pt x="12" y="17"/>
                    <a:pt x="18" y="16"/>
                    <a:pt x="23" y="13"/>
                  </a:cubicBezTo>
                  <a:cubicBezTo>
                    <a:pt x="29" y="10"/>
                    <a:pt x="31" y="7"/>
                    <a:pt x="26" y="4"/>
                  </a:cubicBezTo>
                  <a:cubicBezTo>
                    <a:pt x="22" y="2"/>
                    <a:pt x="17" y="3"/>
                    <a:pt x="11" y="6"/>
                  </a:cubicBezTo>
                  <a:cubicBezTo>
                    <a:pt x="5" y="9"/>
                    <a:pt x="4" y="12"/>
                    <a:pt x="8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1" name="Freeform 95">
              <a:extLst>
                <a:ext uri="{FF2B5EF4-FFF2-40B4-BE49-F238E27FC236}">
                  <a16:creationId xmlns:a16="http://schemas.microsoft.com/office/drawing/2014/main" id="{0B1489CE-D24A-46FF-9343-AD4A4EDC30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14579" y="2774997"/>
              <a:ext cx="150786" cy="82826"/>
            </a:xfrm>
            <a:custGeom>
              <a:avLst/>
              <a:gdLst>
                <a:gd name="T0" fmla="*/ 29 w 34"/>
                <a:gd name="T1" fmla="*/ 3 h 19"/>
                <a:gd name="T2" fmla="*/ 25 w 34"/>
                <a:gd name="T3" fmla="*/ 14 h 19"/>
                <a:gd name="T4" fmla="*/ 6 w 34"/>
                <a:gd name="T5" fmla="*/ 16 h 19"/>
                <a:gd name="T6" fmla="*/ 9 w 34"/>
                <a:gd name="T7" fmla="*/ 5 h 19"/>
                <a:gd name="T8" fmla="*/ 29 w 34"/>
                <a:gd name="T9" fmla="*/ 3 h 19"/>
                <a:gd name="T10" fmla="*/ 8 w 34"/>
                <a:gd name="T11" fmla="*/ 15 h 19"/>
                <a:gd name="T12" fmla="*/ 23 w 34"/>
                <a:gd name="T13" fmla="*/ 13 h 19"/>
                <a:gd name="T14" fmla="*/ 26 w 34"/>
                <a:gd name="T15" fmla="*/ 4 h 19"/>
                <a:gd name="T16" fmla="*/ 11 w 34"/>
                <a:gd name="T17" fmla="*/ 6 h 19"/>
                <a:gd name="T18" fmla="*/ 8 w 34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19">
                  <a:moveTo>
                    <a:pt x="29" y="3"/>
                  </a:moveTo>
                  <a:cubicBezTo>
                    <a:pt x="34" y="6"/>
                    <a:pt x="32" y="10"/>
                    <a:pt x="25" y="14"/>
                  </a:cubicBezTo>
                  <a:cubicBezTo>
                    <a:pt x="18" y="18"/>
                    <a:pt x="11" y="19"/>
                    <a:pt x="6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0"/>
                    <a:pt x="23" y="0"/>
                    <a:pt x="29" y="3"/>
                  </a:cubicBezTo>
                  <a:close/>
                  <a:moveTo>
                    <a:pt x="8" y="15"/>
                  </a:moveTo>
                  <a:cubicBezTo>
                    <a:pt x="12" y="17"/>
                    <a:pt x="18" y="16"/>
                    <a:pt x="23" y="13"/>
                  </a:cubicBezTo>
                  <a:cubicBezTo>
                    <a:pt x="29" y="9"/>
                    <a:pt x="31" y="6"/>
                    <a:pt x="26" y="4"/>
                  </a:cubicBezTo>
                  <a:cubicBezTo>
                    <a:pt x="22" y="2"/>
                    <a:pt x="17" y="2"/>
                    <a:pt x="11" y="6"/>
                  </a:cubicBezTo>
                  <a:cubicBezTo>
                    <a:pt x="6" y="9"/>
                    <a:pt x="4" y="12"/>
                    <a:pt x="8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2" name="Freeform 96">
              <a:extLst>
                <a:ext uri="{FF2B5EF4-FFF2-40B4-BE49-F238E27FC236}">
                  <a16:creationId xmlns:a16="http://schemas.microsoft.com/office/drawing/2014/main" id="{D74F0048-EEEC-499C-8AAF-202427E306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99896" y="2709160"/>
              <a:ext cx="150786" cy="82826"/>
            </a:xfrm>
            <a:custGeom>
              <a:avLst/>
              <a:gdLst>
                <a:gd name="T0" fmla="*/ 29 w 34"/>
                <a:gd name="T1" fmla="*/ 3 h 19"/>
                <a:gd name="T2" fmla="*/ 25 w 34"/>
                <a:gd name="T3" fmla="*/ 14 h 19"/>
                <a:gd name="T4" fmla="*/ 6 w 34"/>
                <a:gd name="T5" fmla="*/ 16 h 19"/>
                <a:gd name="T6" fmla="*/ 9 w 34"/>
                <a:gd name="T7" fmla="*/ 5 h 19"/>
                <a:gd name="T8" fmla="*/ 29 w 34"/>
                <a:gd name="T9" fmla="*/ 3 h 19"/>
                <a:gd name="T10" fmla="*/ 8 w 34"/>
                <a:gd name="T11" fmla="*/ 15 h 19"/>
                <a:gd name="T12" fmla="*/ 23 w 34"/>
                <a:gd name="T13" fmla="*/ 13 h 19"/>
                <a:gd name="T14" fmla="*/ 26 w 34"/>
                <a:gd name="T15" fmla="*/ 4 h 19"/>
                <a:gd name="T16" fmla="*/ 11 w 34"/>
                <a:gd name="T17" fmla="*/ 6 h 19"/>
                <a:gd name="T18" fmla="*/ 8 w 34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19">
                  <a:moveTo>
                    <a:pt x="29" y="3"/>
                  </a:moveTo>
                  <a:cubicBezTo>
                    <a:pt x="34" y="6"/>
                    <a:pt x="32" y="10"/>
                    <a:pt x="25" y="14"/>
                  </a:cubicBezTo>
                  <a:cubicBezTo>
                    <a:pt x="18" y="18"/>
                    <a:pt x="11" y="19"/>
                    <a:pt x="6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1"/>
                    <a:pt x="23" y="0"/>
                    <a:pt x="29" y="3"/>
                  </a:cubicBezTo>
                  <a:close/>
                  <a:moveTo>
                    <a:pt x="8" y="15"/>
                  </a:moveTo>
                  <a:cubicBezTo>
                    <a:pt x="12" y="17"/>
                    <a:pt x="18" y="16"/>
                    <a:pt x="23" y="13"/>
                  </a:cubicBezTo>
                  <a:cubicBezTo>
                    <a:pt x="29" y="10"/>
                    <a:pt x="31" y="6"/>
                    <a:pt x="26" y="4"/>
                  </a:cubicBezTo>
                  <a:cubicBezTo>
                    <a:pt x="22" y="2"/>
                    <a:pt x="17" y="3"/>
                    <a:pt x="11" y="6"/>
                  </a:cubicBezTo>
                  <a:cubicBezTo>
                    <a:pt x="6" y="9"/>
                    <a:pt x="4" y="12"/>
                    <a:pt x="8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3" name="Freeform 97">
              <a:extLst>
                <a:ext uri="{FF2B5EF4-FFF2-40B4-BE49-F238E27FC236}">
                  <a16:creationId xmlns:a16="http://schemas.microsoft.com/office/drawing/2014/main" id="{38306932-E14D-402B-8BFC-7D97578F75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25565" y="2660314"/>
              <a:ext cx="144415" cy="87074"/>
            </a:xfrm>
            <a:custGeom>
              <a:avLst/>
              <a:gdLst>
                <a:gd name="T0" fmla="*/ 28 w 33"/>
                <a:gd name="T1" fmla="*/ 4 h 20"/>
                <a:gd name="T2" fmla="*/ 24 w 33"/>
                <a:gd name="T3" fmla="*/ 15 h 20"/>
                <a:gd name="T4" fmla="*/ 5 w 33"/>
                <a:gd name="T5" fmla="*/ 17 h 20"/>
                <a:gd name="T6" fmla="*/ 8 w 33"/>
                <a:gd name="T7" fmla="*/ 6 h 20"/>
                <a:gd name="T8" fmla="*/ 28 w 33"/>
                <a:gd name="T9" fmla="*/ 4 h 20"/>
                <a:gd name="T10" fmla="*/ 7 w 33"/>
                <a:gd name="T11" fmla="*/ 16 h 20"/>
                <a:gd name="T12" fmla="*/ 22 w 33"/>
                <a:gd name="T13" fmla="*/ 14 h 20"/>
                <a:gd name="T14" fmla="*/ 25 w 33"/>
                <a:gd name="T15" fmla="*/ 5 h 20"/>
                <a:gd name="T16" fmla="*/ 10 w 33"/>
                <a:gd name="T17" fmla="*/ 7 h 20"/>
                <a:gd name="T18" fmla="*/ 7 w 33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4"/>
                  </a:moveTo>
                  <a:cubicBezTo>
                    <a:pt x="33" y="7"/>
                    <a:pt x="32" y="11"/>
                    <a:pt x="24" y="15"/>
                  </a:cubicBezTo>
                  <a:cubicBezTo>
                    <a:pt x="17" y="19"/>
                    <a:pt x="10" y="20"/>
                    <a:pt x="5" y="17"/>
                  </a:cubicBezTo>
                  <a:cubicBezTo>
                    <a:pt x="0" y="14"/>
                    <a:pt x="1" y="10"/>
                    <a:pt x="8" y="6"/>
                  </a:cubicBezTo>
                  <a:cubicBezTo>
                    <a:pt x="15" y="1"/>
                    <a:pt x="22" y="0"/>
                    <a:pt x="28" y="4"/>
                  </a:cubicBezTo>
                  <a:close/>
                  <a:moveTo>
                    <a:pt x="7" y="16"/>
                  </a:moveTo>
                  <a:cubicBezTo>
                    <a:pt x="11" y="18"/>
                    <a:pt x="17" y="17"/>
                    <a:pt x="22" y="14"/>
                  </a:cubicBezTo>
                  <a:cubicBezTo>
                    <a:pt x="28" y="10"/>
                    <a:pt x="30" y="7"/>
                    <a:pt x="25" y="5"/>
                  </a:cubicBezTo>
                  <a:cubicBezTo>
                    <a:pt x="21" y="2"/>
                    <a:pt x="16" y="3"/>
                    <a:pt x="10" y="7"/>
                  </a:cubicBezTo>
                  <a:cubicBezTo>
                    <a:pt x="5" y="10"/>
                    <a:pt x="3" y="13"/>
                    <a:pt x="7" y="1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4" name="Freeform 98">
              <a:extLst>
                <a:ext uri="{FF2B5EF4-FFF2-40B4-BE49-F238E27FC236}">
                  <a16:creationId xmlns:a16="http://schemas.microsoft.com/office/drawing/2014/main" id="{5015C352-904C-4C89-9404-0BDDF598C9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44862" y="2615715"/>
              <a:ext cx="146539" cy="89198"/>
            </a:xfrm>
            <a:custGeom>
              <a:avLst/>
              <a:gdLst>
                <a:gd name="T0" fmla="*/ 28 w 33"/>
                <a:gd name="T1" fmla="*/ 3 h 20"/>
                <a:gd name="T2" fmla="*/ 24 w 33"/>
                <a:gd name="T3" fmla="*/ 14 h 20"/>
                <a:gd name="T4" fmla="*/ 5 w 33"/>
                <a:gd name="T5" fmla="*/ 17 h 20"/>
                <a:gd name="T6" fmla="*/ 8 w 33"/>
                <a:gd name="T7" fmla="*/ 5 h 20"/>
                <a:gd name="T8" fmla="*/ 28 w 33"/>
                <a:gd name="T9" fmla="*/ 3 h 20"/>
                <a:gd name="T10" fmla="*/ 7 w 33"/>
                <a:gd name="T11" fmla="*/ 15 h 20"/>
                <a:gd name="T12" fmla="*/ 22 w 33"/>
                <a:gd name="T13" fmla="*/ 13 h 20"/>
                <a:gd name="T14" fmla="*/ 25 w 33"/>
                <a:gd name="T15" fmla="*/ 5 h 20"/>
                <a:gd name="T16" fmla="*/ 10 w 33"/>
                <a:gd name="T17" fmla="*/ 6 h 20"/>
                <a:gd name="T18" fmla="*/ 7 w 33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3"/>
                  </a:moveTo>
                  <a:cubicBezTo>
                    <a:pt x="33" y="6"/>
                    <a:pt x="32" y="10"/>
                    <a:pt x="24" y="14"/>
                  </a:cubicBezTo>
                  <a:cubicBezTo>
                    <a:pt x="17" y="19"/>
                    <a:pt x="10" y="20"/>
                    <a:pt x="5" y="17"/>
                  </a:cubicBezTo>
                  <a:cubicBezTo>
                    <a:pt x="0" y="14"/>
                    <a:pt x="1" y="9"/>
                    <a:pt x="8" y="5"/>
                  </a:cubicBezTo>
                  <a:cubicBezTo>
                    <a:pt x="15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1" y="18"/>
                    <a:pt x="17" y="17"/>
                    <a:pt x="22" y="13"/>
                  </a:cubicBezTo>
                  <a:cubicBezTo>
                    <a:pt x="28" y="10"/>
                    <a:pt x="30" y="7"/>
                    <a:pt x="25" y="5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10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5" name="Freeform 99">
              <a:extLst>
                <a:ext uri="{FF2B5EF4-FFF2-40B4-BE49-F238E27FC236}">
                  <a16:creationId xmlns:a16="http://schemas.microsoft.com/office/drawing/2014/main" id="{D3A8ABED-4FED-463C-98F5-496AE9A03A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66283" y="2571116"/>
              <a:ext cx="144415" cy="84950"/>
            </a:xfrm>
            <a:custGeom>
              <a:avLst/>
              <a:gdLst>
                <a:gd name="T0" fmla="*/ 28 w 33"/>
                <a:gd name="T1" fmla="*/ 3 h 19"/>
                <a:gd name="T2" fmla="*/ 24 w 33"/>
                <a:gd name="T3" fmla="*/ 14 h 19"/>
                <a:gd name="T4" fmla="*/ 5 w 33"/>
                <a:gd name="T5" fmla="*/ 16 h 19"/>
                <a:gd name="T6" fmla="*/ 8 w 33"/>
                <a:gd name="T7" fmla="*/ 5 h 19"/>
                <a:gd name="T8" fmla="*/ 28 w 33"/>
                <a:gd name="T9" fmla="*/ 3 h 19"/>
                <a:gd name="T10" fmla="*/ 7 w 33"/>
                <a:gd name="T11" fmla="*/ 15 h 19"/>
                <a:gd name="T12" fmla="*/ 22 w 33"/>
                <a:gd name="T13" fmla="*/ 13 h 19"/>
                <a:gd name="T14" fmla="*/ 26 w 33"/>
                <a:gd name="T15" fmla="*/ 4 h 19"/>
                <a:gd name="T16" fmla="*/ 10 w 33"/>
                <a:gd name="T17" fmla="*/ 6 h 19"/>
                <a:gd name="T18" fmla="*/ 7 w 33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9">
                  <a:moveTo>
                    <a:pt x="28" y="3"/>
                  </a:moveTo>
                  <a:cubicBezTo>
                    <a:pt x="33" y="6"/>
                    <a:pt x="32" y="10"/>
                    <a:pt x="24" y="14"/>
                  </a:cubicBezTo>
                  <a:cubicBezTo>
                    <a:pt x="17" y="18"/>
                    <a:pt x="10" y="19"/>
                    <a:pt x="5" y="16"/>
                  </a:cubicBezTo>
                  <a:cubicBezTo>
                    <a:pt x="0" y="13"/>
                    <a:pt x="1" y="9"/>
                    <a:pt x="8" y="5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1" y="17"/>
                    <a:pt x="17" y="16"/>
                    <a:pt x="22" y="13"/>
                  </a:cubicBezTo>
                  <a:cubicBezTo>
                    <a:pt x="28" y="10"/>
                    <a:pt x="30" y="7"/>
                    <a:pt x="26" y="4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9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6" name="Freeform 100">
              <a:extLst>
                <a:ext uri="{FF2B5EF4-FFF2-40B4-BE49-F238E27FC236}">
                  <a16:creationId xmlns:a16="http://schemas.microsoft.com/office/drawing/2014/main" id="{27EA5153-D219-4F6C-8662-49842DDAB9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51600" y="2505280"/>
              <a:ext cx="144415" cy="89198"/>
            </a:xfrm>
            <a:custGeom>
              <a:avLst/>
              <a:gdLst>
                <a:gd name="T0" fmla="*/ 28 w 33"/>
                <a:gd name="T1" fmla="*/ 3 h 20"/>
                <a:gd name="T2" fmla="*/ 24 w 33"/>
                <a:gd name="T3" fmla="*/ 14 h 20"/>
                <a:gd name="T4" fmla="*/ 5 w 33"/>
                <a:gd name="T5" fmla="*/ 16 h 20"/>
                <a:gd name="T6" fmla="*/ 8 w 33"/>
                <a:gd name="T7" fmla="*/ 5 h 20"/>
                <a:gd name="T8" fmla="*/ 28 w 33"/>
                <a:gd name="T9" fmla="*/ 3 h 20"/>
                <a:gd name="T10" fmla="*/ 7 w 33"/>
                <a:gd name="T11" fmla="*/ 15 h 20"/>
                <a:gd name="T12" fmla="*/ 22 w 33"/>
                <a:gd name="T13" fmla="*/ 13 h 20"/>
                <a:gd name="T14" fmla="*/ 26 w 33"/>
                <a:gd name="T15" fmla="*/ 4 h 20"/>
                <a:gd name="T16" fmla="*/ 10 w 33"/>
                <a:gd name="T17" fmla="*/ 6 h 20"/>
                <a:gd name="T18" fmla="*/ 7 w 33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3"/>
                  </a:moveTo>
                  <a:cubicBezTo>
                    <a:pt x="33" y="6"/>
                    <a:pt x="32" y="10"/>
                    <a:pt x="24" y="14"/>
                  </a:cubicBezTo>
                  <a:cubicBezTo>
                    <a:pt x="17" y="18"/>
                    <a:pt x="10" y="20"/>
                    <a:pt x="5" y="16"/>
                  </a:cubicBezTo>
                  <a:cubicBezTo>
                    <a:pt x="0" y="13"/>
                    <a:pt x="1" y="9"/>
                    <a:pt x="8" y="5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1" y="18"/>
                    <a:pt x="17" y="17"/>
                    <a:pt x="22" y="13"/>
                  </a:cubicBezTo>
                  <a:cubicBezTo>
                    <a:pt x="28" y="10"/>
                    <a:pt x="30" y="7"/>
                    <a:pt x="26" y="4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10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7" name="Freeform 101">
              <a:extLst>
                <a:ext uri="{FF2B5EF4-FFF2-40B4-BE49-F238E27FC236}">
                  <a16:creationId xmlns:a16="http://schemas.microsoft.com/office/drawing/2014/main" id="{62CAA5B2-3AA4-4061-A345-B47884A166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70898" y="2460681"/>
              <a:ext cx="146539" cy="84950"/>
            </a:xfrm>
            <a:custGeom>
              <a:avLst/>
              <a:gdLst>
                <a:gd name="T0" fmla="*/ 28 w 33"/>
                <a:gd name="T1" fmla="*/ 3 h 19"/>
                <a:gd name="T2" fmla="*/ 24 w 33"/>
                <a:gd name="T3" fmla="*/ 14 h 19"/>
                <a:gd name="T4" fmla="*/ 5 w 33"/>
                <a:gd name="T5" fmla="*/ 16 h 19"/>
                <a:gd name="T6" fmla="*/ 8 w 33"/>
                <a:gd name="T7" fmla="*/ 5 h 19"/>
                <a:gd name="T8" fmla="*/ 28 w 33"/>
                <a:gd name="T9" fmla="*/ 3 h 19"/>
                <a:gd name="T10" fmla="*/ 7 w 33"/>
                <a:gd name="T11" fmla="*/ 15 h 19"/>
                <a:gd name="T12" fmla="*/ 23 w 33"/>
                <a:gd name="T13" fmla="*/ 13 h 19"/>
                <a:gd name="T14" fmla="*/ 26 w 33"/>
                <a:gd name="T15" fmla="*/ 4 h 19"/>
                <a:gd name="T16" fmla="*/ 10 w 33"/>
                <a:gd name="T17" fmla="*/ 6 h 19"/>
                <a:gd name="T18" fmla="*/ 7 w 33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9">
                  <a:moveTo>
                    <a:pt x="28" y="3"/>
                  </a:moveTo>
                  <a:cubicBezTo>
                    <a:pt x="33" y="6"/>
                    <a:pt x="32" y="10"/>
                    <a:pt x="24" y="14"/>
                  </a:cubicBezTo>
                  <a:cubicBezTo>
                    <a:pt x="17" y="18"/>
                    <a:pt x="10" y="19"/>
                    <a:pt x="5" y="16"/>
                  </a:cubicBezTo>
                  <a:cubicBezTo>
                    <a:pt x="0" y="13"/>
                    <a:pt x="1" y="9"/>
                    <a:pt x="8" y="5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1" y="17"/>
                    <a:pt x="17" y="16"/>
                    <a:pt x="23" y="13"/>
                  </a:cubicBezTo>
                  <a:cubicBezTo>
                    <a:pt x="28" y="10"/>
                    <a:pt x="30" y="7"/>
                    <a:pt x="26" y="4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9"/>
                    <a:pt x="3" y="12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8" name="Freeform 102">
              <a:extLst>
                <a:ext uri="{FF2B5EF4-FFF2-40B4-BE49-F238E27FC236}">
                  <a16:creationId xmlns:a16="http://schemas.microsoft.com/office/drawing/2014/main" id="{5C887DF0-8D11-4B3C-9F09-DDBA71F346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2319" y="2411835"/>
              <a:ext cx="146539" cy="89198"/>
            </a:xfrm>
            <a:custGeom>
              <a:avLst/>
              <a:gdLst>
                <a:gd name="T0" fmla="*/ 28 w 33"/>
                <a:gd name="T1" fmla="*/ 4 h 20"/>
                <a:gd name="T2" fmla="*/ 24 w 33"/>
                <a:gd name="T3" fmla="*/ 15 h 20"/>
                <a:gd name="T4" fmla="*/ 5 w 33"/>
                <a:gd name="T5" fmla="*/ 17 h 20"/>
                <a:gd name="T6" fmla="*/ 8 w 33"/>
                <a:gd name="T7" fmla="*/ 6 h 20"/>
                <a:gd name="T8" fmla="*/ 28 w 33"/>
                <a:gd name="T9" fmla="*/ 4 h 20"/>
                <a:gd name="T10" fmla="*/ 7 w 33"/>
                <a:gd name="T11" fmla="*/ 16 h 20"/>
                <a:gd name="T12" fmla="*/ 23 w 33"/>
                <a:gd name="T13" fmla="*/ 14 h 20"/>
                <a:gd name="T14" fmla="*/ 26 w 33"/>
                <a:gd name="T15" fmla="*/ 5 h 20"/>
                <a:gd name="T16" fmla="*/ 10 w 33"/>
                <a:gd name="T17" fmla="*/ 7 h 20"/>
                <a:gd name="T18" fmla="*/ 7 w 33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4"/>
                  </a:moveTo>
                  <a:cubicBezTo>
                    <a:pt x="33" y="7"/>
                    <a:pt x="32" y="11"/>
                    <a:pt x="24" y="15"/>
                  </a:cubicBezTo>
                  <a:cubicBezTo>
                    <a:pt x="17" y="19"/>
                    <a:pt x="10" y="20"/>
                    <a:pt x="5" y="17"/>
                  </a:cubicBezTo>
                  <a:cubicBezTo>
                    <a:pt x="0" y="14"/>
                    <a:pt x="1" y="10"/>
                    <a:pt x="8" y="6"/>
                  </a:cubicBezTo>
                  <a:cubicBezTo>
                    <a:pt x="16" y="1"/>
                    <a:pt x="22" y="0"/>
                    <a:pt x="28" y="4"/>
                  </a:cubicBezTo>
                  <a:close/>
                  <a:moveTo>
                    <a:pt x="7" y="16"/>
                  </a:moveTo>
                  <a:cubicBezTo>
                    <a:pt x="12" y="18"/>
                    <a:pt x="17" y="17"/>
                    <a:pt x="23" y="14"/>
                  </a:cubicBezTo>
                  <a:cubicBezTo>
                    <a:pt x="28" y="10"/>
                    <a:pt x="30" y="7"/>
                    <a:pt x="26" y="5"/>
                  </a:cubicBezTo>
                  <a:cubicBezTo>
                    <a:pt x="21" y="2"/>
                    <a:pt x="16" y="3"/>
                    <a:pt x="10" y="7"/>
                  </a:cubicBezTo>
                  <a:cubicBezTo>
                    <a:pt x="5" y="10"/>
                    <a:pt x="3" y="13"/>
                    <a:pt x="7" y="1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69" name="Freeform 103">
              <a:extLst>
                <a:ext uri="{FF2B5EF4-FFF2-40B4-BE49-F238E27FC236}">
                  <a16:creationId xmlns:a16="http://schemas.microsoft.com/office/drawing/2014/main" id="{96BE2E3B-8788-4EBC-AA61-F817157509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11616" y="2369360"/>
              <a:ext cx="146539" cy="87074"/>
            </a:xfrm>
            <a:custGeom>
              <a:avLst/>
              <a:gdLst>
                <a:gd name="T0" fmla="*/ 28 w 33"/>
                <a:gd name="T1" fmla="*/ 3 h 20"/>
                <a:gd name="T2" fmla="*/ 25 w 33"/>
                <a:gd name="T3" fmla="*/ 15 h 20"/>
                <a:gd name="T4" fmla="*/ 5 w 33"/>
                <a:gd name="T5" fmla="*/ 17 h 20"/>
                <a:gd name="T6" fmla="*/ 8 w 33"/>
                <a:gd name="T7" fmla="*/ 5 h 20"/>
                <a:gd name="T8" fmla="*/ 28 w 33"/>
                <a:gd name="T9" fmla="*/ 3 h 20"/>
                <a:gd name="T10" fmla="*/ 7 w 33"/>
                <a:gd name="T11" fmla="*/ 15 h 20"/>
                <a:gd name="T12" fmla="*/ 23 w 33"/>
                <a:gd name="T13" fmla="*/ 13 h 20"/>
                <a:gd name="T14" fmla="*/ 26 w 33"/>
                <a:gd name="T15" fmla="*/ 5 h 20"/>
                <a:gd name="T16" fmla="*/ 10 w 33"/>
                <a:gd name="T17" fmla="*/ 6 h 20"/>
                <a:gd name="T18" fmla="*/ 7 w 33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3"/>
                  </a:moveTo>
                  <a:cubicBezTo>
                    <a:pt x="33" y="6"/>
                    <a:pt x="32" y="10"/>
                    <a:pt x="25" y="15"/>
                  </a:cubicBezTo>
                  <a:cubicBezTo>
                    <a:pt x="18" y="19"/>
                    <a:pt x="11" y="20"/>
                    <a:pt x="5" y="17"/>
                  </a:cubicBezTo>
                  <a:cubicBezTo>
                    <a:pt x="0" y="14"/>
                    <a:pt x="1" y="9"/>
                    <a:pt x="8" y="5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2" y="18"/>
                    <a:pt x="17" y="17"/>
                    <a:pt x="23" y="13"/>
                  </a:cubicBezTo>
                  <a:cubicBezTo>
                    <a:pt x="28" y="10"/>
                    <a:pt x="30" y="7"/>
                    <a:pt x="26" y="5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10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0" name="Freeform 104">
              <a:extLst>
                <a:ext uri="{FF2B5EF4-FFF2-40B4-BE49-F238E27FC236}">
                  <a16:creationId xmlns:a16="http://schemas.microsoft.com/office/drawing/2014/main" id="{B4A645FB-9CF3-41D2-A3F2-0387559B5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196934" y="2301399"/>
              <a:ext cx="146539" cy="89198"/>
            </a:xfrm>
            <a:custGeom>
              <a:avLst/>
              <a:gdLst>
                <a:gd name="T0" fmla="*/ 28 w 33"/>
                <a:gd name="T1" fmla="*/ 3 h 20"/>
                <a:gd name="T2" fmla="*/ 25 w 33"/>
                <a:gd name="T3" fmla="*/ 15 h 20"/>
                <a:gd name="T4" fmla="*/ 5 w 33"/>
                <a:gd name="T5" fmla="*/ 17 h 20"/>
                <a:gd name="T6" fmla="*/ 8 w 33"/>
                <a:gd name="T7" fmla="*/ 6 h 20"/>
                <a:gd name="T8" fmla="*/ 28 w 33"/>
                <a:gd name="T9" fmla="*/ 3 h 20"/>
                <a:gd name="T10" fmla="*/ 7 w 33"/>
                <a:gd name="T11" fmla="*/ 15 h 20"/>
                <a:gd name="T12" fmla="*/ 23 w 33"/>
                <a:gd name="T13" fmla="*/ 14 h 20"/>
                <a:gd name="T14" fmla="*/ 26 w 33"/>
                <a:gd name="T15" fmla="*/ 5 h 20"/>
                <a:gd name="T16" fmla="*/ 10 w 33"/>
                <a:gd name="T17" fmla="*/ 7 h 20"/>
                <a:gd name="T18" fmla="*/ 7 w 33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3"/>
                  </a:moveTo>
                  <a:cubicBezTo>
                    <a:pt x="33" y="7"/>
                    <a:pt x="32" y="11"/>
                    <a:pt x="25" y="15"/>
                  </a:cubicBezTo>
                  <a:cubicBezTo>
                    <a:pt x="18" y="19"/>
                    <a:pt x="11" y="20"/>
                    <a:pt x="5" y="17"/>
                  </a:cubicBezTo>
                  <a:cubicBezTo>
                    <a:pt x="0" y="14"/>
                    <a:pt x="1" y="10"/>
                    <a:pt x="8" y="6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2" y="18"/>
                    <a:pt x="17" y="17"/>
                    <a:pt x="23" y="14"/>
                  </a:cubicBezTo>
                  <a:cubicBezTo>
                    <a:pt x="28" y="10"/>
                    <a:pt x="30" y="7"/>
                    <a:pt x="26" y="5"/>
                  </a:cubicBezTo>
                  <a:cubicBezTo>
                    <a:pt x="21" y="2"/>
                    <a:pt x="16" y="3"/>
                    <a:pt x="10" y="7"/>
                  </a:cubicBezTo>
                  <a:cubicBezTo>
                    <a:pt x="5" y="10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1" name="Freeform 105">
              <a:extLst>
                <a:ext uri="{FF2B5EF4-FFF2-40B4-BE49-F238E27FC236}">
                  <a16:creationId xmlns:a16="http://schemas.microsoft.com/office/drawing/2014/main" id="{A58FA194-A6CD-46E0-81EF-D11612CB7BD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118355" y="2258924"/>
              <a:ext cx="146539" cy="87074"/>
            </a:xfrm>
            <a:custGeom>
              <a:avLst/>
              <a:gdLst>
                <a:gd name="T0" fmla="*/ 28 w 33"/>
                <a:gd name="T1" fmla="*/ 3 h 20"/>
                <a:gd name="T2" fmla="*/ 25 w 33"/>
                <a:gd name="T3" fmla="*/ 14 h 20"/>
                <a:gd name="T4" fmla="*/ 5 w 33"/>
                <a:gd name="T5" fmla="*/ 17 h 20"/>
                <a:gd name="T6" fmla="*/ 8 w 33"/>
                <a:gd name="T7" fmla="*/ 5 h 20"/>
                <a:gd name="T8" fmla="*/ 28 w 33"/>
                <a:gd name="T9" fmla="*/ 3 h 20"/>
                <a:gd name="T10" fmla="*/ 7 w 33"/>
                <a:gd name="T11" fmla="*/ 15 h 20"/>
                <a:gd name="T12" fmla="*/ 23 w 33"/>
                <a:gd name="T13" fmla="*/ 13 h 20"/>
                <a:gd name="T14" fmla="*/ 26 w 33"/>
                <a:gd name="T15" fmla="*/ 5 h 20"/>
                <a:gd name="T16" fmla="*/ 10 w 33"/>
                <a:gd name="T17" fmla="*/ 6 h 20"/>
                <a:gd name="T18" fmla="*/ 7 w 33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3"/>
                  </a:moveTo>
                  <a:cubicBezTo>
                    <a:pt x="33" y="6"/>
                    <a:pt x="32" y="10"/>
                    <a:pt x="25" y="14"/>
                  </a:cubicBezTo>
                  <a:cubicBezTo>
                    <a:pt x="18" y="19"/>
                    <a:pt x="11" y="20"/>
                    <a:pt x="5" y="17"/>
                  </a:cubicBezTo>
                  <a:cubicBezTo>
                    <a:pt x="0" y="13"/>
                    <a:pt x="1" y="9"/>
                    <a:pt x="8" y="5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2" y="18"/>
                    <a:pt x="17" y="17"/>
                    <a:pt x="23" y="13"/>
                  </a:cubicBezTo>
                  <a:cubicBezTo>
                    <a:pt x="28" y="10"/>
                    <a:pt x="30" y="7"/>
                    <a:pt x="26" y="5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10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2" name="Freeform 106">
              <a:extLst>
                <a:ext uri="{FF2B5EF4-FFF2-40B4-BE49-F238E27FC236}">
                  <a16:creationId xmlns:a16="http://schemas.microsoft.com/office/drawing/2014/main" id="{92A1984B-211D-4481-BAC2-0B7E87BB0D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39776" y="2214326"/>
              <a:ext cx="144415" cy="82826"/>
            </a:xfrm>
            <a:custGeom>
              <a:avLst/>
              <a:gdLst>
                <a:gd name="T0" fmla="*/ 28 w 33"/>
                <a:gd name="T1" fmla="*/ 3 h 19"/>
                <a:gd name="T2" fmla="*/ 25 w 33"/>
                <a:gd name="T3" fmla="*/ 14 h 19"/>
                <a:gd name="T4" fmla="*/ 5 w 33"/>
                <a:gd name="T5" fmla="*/ 16 h 19"/>
                <a:gd name="T6" fmla="*/ 9 w 33"/>
                <a:gd name="T7" fmla="*/ 5 h 19"/>
                <a:gd name="T8" fmla="*/ 28 w 33"/>
                <a:gd name="T9" fmla="*/ 3 h 19"/>
                <a:gd name="T10" fmla="*/ 7 w 33"/>
                <a:gd name="T11" fmla="*/ 15 h 19"/>
                <a:gd name="T12" fmla="*/ 23 w 33"/>
                <a:gd name="T13" fmla="*/ 13 h 19"/>
                <a:gd name="T14" fmla="*/ 26 w 33"/>
                <a:gd name="T15" fmla="*/ 4 h 19"/>
                <a:gd name="T16" fmla="*/ 10 w 33"/>
                <a:gd name="T17" fmla="*/ 6 h 19"/>
                <a:gd name="T18" fmla="*/ 7 w 33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9">
                  <a:moveTo>
                    <a:pt x="28" y="3"/>
                  </a:moveTo>
                  <a:cubicBezTo>
                    <a:pt x="33" y="6"/>
                    <a:pt x="32" y="10"/>
                    <a:pt x="25" y="14"/>
                  </a:cubicBezTo>
                  <a:cubicBezTo>
                    <a:pt x="18" y="18"/>
                    <a:pt x="11" y="19"/>
                    <a:pt x="5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1"/>
                    <a:pt x="23" y="0"/>
                    <a:pt x="28" y="3"/>
                  </a:cubicBezTo>
                  <a:close/>
                  <a:moveTo>
                    <a:pt x="7" y="15"/>
                  </a:moveTo>
                  <a:cubicBezTo>
                    <a:pt x="12" y="17"/>
                    <a:pt x="17" y="16"/>
                    <a:pt x="23" y="13"/>
                  </a:cubicBezTo>
                  <a:cubicBezTo>
                    <a:pt x="28" y="10"/>
                    <a:pt x="30" y="7"/>
                    <a:pt x="26" y="4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9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3" name="Freeform 107">
              <a:extLst>
                <a:ext uri="{FF2B5EF4-FFF2-40B4-BE49-F238E27FC236}">
                  <a16:creationId xmlns:a16="http://schemas.microsoft.com/office/drawing/2014/main" id="{211220AD-0302-4B5E-8873-F6CD0C98B8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59073" y="2169727"/>
              <a:ext cx="146539" cy="84950"/>
            </a:xfrm>
            <a:custGeom>
              <a:avLst/>
              <a:gdLst>
                <a:gd name="T0" fmla="*/ 28 w 33"/>
                <a:gd name="T1" fmla="*/ 3 h 19"/>
                <a:gd name="T2" fmla="*/ 25 w 33"/>
                <a:gd name="T3" fmla="*/ 14 h 19"/>
                <a:gd name="T4" fmla="*/ 5 w 33"/>
                <a:gd name="T5" fmla="*/ 16 h 19"/>
                <a:gd name="T6" fmla="*/ 9 w 33"/>
                <a:gd name="T7" fmla="*/ 5 h 19"/>
                <a:gd name="T8" fmla="*/ 28 w 33"/>
                <a:gd name="T9" fmla="*/ 3 h 19"/>
                <a:gd name="T10" fmla="*/ 7 w 33"/>
                <a:gd name="T11" fmla="*/ 15 h 19"/>
                <a:gd name="T12" fmla="*/ 23 w 33"/>
                <a:gd name="T13" fmla="*/ 13 h 19"/>
                <a:gd name="T14" fmla="*/ 26 w 33"/>
                <a:gd name="T15" fmla="*/ 4 h 19"/>
                <a:gd name="T16" fmla="*/ 11 w 33"/>
                <a:gd name="T17" fmla="*/ 6 h 19"/>
                <a:gd name="T18" fmla="*/ 7 w 33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9">
                  <a:moveTo>
                    <a:pt x="28" y="3"/>
                  </a:moveTo>
                  <a:cubicBezTo>
                    <a:pt x="33" y="6"/>
                    <a:pt x="32" y="10"/>
                    <a:pt x="25" y="14"/>
                  </a:cubicBezTo>
                  <a:cubicBezTo>
                    <a:pt x="18" y="18"/>
                    <a:pt x="11" y="19"/>
                    <a:pt x="5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1"/>
                    <a:pt x="23" y="0"/>
                    <a:pt x="28" y="3"/>
                  </a:cubicBezTo>
                  <a:close/>
                  <a:moveTo>
                    <a:pt x="7" y="15"/>
                  </a:moveTo>
                  <a:cubicBezTo>
                    <a:pt x="12" y="17"/>
                    <a:pt x="17" y="16"/>
                    <a:pt x="23" y="13"/>
                  </a:cubicBezTo>
                  <a:cubicBezTo>
                    <a:pt x="28" y="9"/>
                    <a:pt x="30" y="6"/>
                    <a:pt x="26" y="4"/>
                  </a:cubicBezTo>
                  <a:cubicBezTo>
                    <a:pt x="22" y="2"/>
                    <a:pt x="16" y="2"/>
                    <a:pt x="11" y="6"/>
                  </a:cubicBezTo>
                  <a:cubicBezTo>
                    <a:pt x="5" y="9"/>
                    <a:pt x="3" y="12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4" name="Freeform 108">
              <a:extLst>
                <a:ext uri="{FF2B5EF4-FFF2-40B4-BE49-F238E27FC236}">
                  <a16:creationId xmlns:a16="http://schemas.microsoft.com/office/drawing/2014/main" id="{178253C5-1833-47F1-8DF8-36E619A0C1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6686" y="2248306"/>
              <a:ext cx="879234" cy="509701"/>
            </a:xfrm>
            <a:custGeom>
              <a:avLst/>
              <a:gdLst>
                <a:gd name="T0" fmla="*/ 74 w 199"/>
                <a:gd name="T1" fmla="*/ 107 h 115"/>
                <a:gd name="T2" fmla="*/ 14 w 199"/>
                <a:gd name="T3" fmla="*/ 72 h 115"/>
                <a:gd name="T4" fmla="*/ 18 w 199"/>
                <a:gd name="T5" fmla="*/ 40 h 115"/>
                <a:gd name="T6" fmla="*/ 70 w 199"/>
                <a:gd name="T7" fmla="*/ 11 h 115"/>
                <a:gd name="T8" fmla="*/ 125 w 199"/>
                <a:gd name="T9" fmla="*/ 8 h 115"/>
                <a:gd name="T10" fmla="*/ 185 w 199"/>
                <a:gd name="T11" fmla="*/ 43 h 115"/>
                <a:gd name="T12" fmla="*/ 181 w 199"/>
                <a:gd name="T13" fmla="*/ 75 h 115"/>
                <a:gd name="T14" fmla="*/ 129 w 199"/>
                <a:gd name="T15" fmla="*/ 104 h 115"/>
                <a:gd name="T16" fmla="*/ 74 w 199"/>
                <a:gd name="T17" fmla="*/ 10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115">
                  <a:moveTo>
                    <a:pt x="74" y="107"/>
                  </a:moveTo>
                  <a:cubicBezTo>
                    <a:pt x="14" y="72"/>
                    <a:pt x="14" y="72"/>
                    <a:pt x="14" y="72"/>
                  </a:cubicBezTo>
                  <a:cubicBezTo>
                    <a:pt x="0" y="64"/>
                    <a:pt x="2" y="50"/>
                    <a:pt x="18" y="40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86" y="1"/>
                    <a:pt x="111" y="0"/>
                    <a:pt x="125" y="8"/>
                  </a:cubicBezTo>
                  <a:cubicBezTo>
                    <a:pt x="185" y="43"/>
                    <a:pt x="185" y="43"/>
                    <a:pt x="185" y="43"/>
                  </a:cubicBezTo>
                  <a:cubicBezTo>
                    <a:pt x="199" y="51"/>
                    <a:pt x="197" y="65"/>
                    <a:pt x="181" y="75"/>
                  </a:cubicBezTo>
                  <a:cubicBezTo>
                    <a:pt x="129" y="104"/>
                    <a:pt x="129" y="104"/>
                    <a:pt x="129" y="104"/>
                  </a:cubicBezTo>
                  <a:cubicBezTo>
                    <a:pt x="113" y="114"/>
                    <a:pt x="88" y="115"/>
                    <a:pt x="74" y="107"/>
                  </a:cubicBezTo>
                  <a:close/>
                </a:path>
              </a:pathLst>
            </a:custGeom>
            <a:solidFill>
              <a:srgbClr val="FFB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5" name="Freeform 109">
              <a:extLst>
                <a:ext uri="{FF2B5EF4-FFF2-40B4-BE49-F238E27FC236}">
                  <a16:creationId xmlns:a16="http://schemas.microsoft.com/office/drawing/2014/main" id="{047EF121-6177-44EF-9901-B32EECDF78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71553" y="2205831"/>
              <a:ext cx="851625" cy="511825"/>
            </a:xfrm>
            <a:custGeom>
              <a:avLst/>
              <a:gdLst>
                <a:gd name="T0" fmla="*/ 95 w 193"/>
                <a:gd name="T1" fmla="*/ 116 h 116"/>
                <a:gd name="T2" fmla="*/ 70 w 193"/>
                <a:gd name="T3" fmla="*/ 111 h 116"/>
                <a:gd name="T4" fmla="*/ 10 w 193"/>
                <a:gd name="T5" fmla="*/ 76 h 116"/>
                <a:gd name="T6" fmla="*/ 0 w 193"/>
                <a:gd name="T7" fmla="*/ 61 h 116"/>
                <a:gd name="T8" fmla="*/ 14 w 193"/>
                <a:gd name="T9" fmla="*/ 41 h 116"/>
                <a:gd name="T10" fmla="*/ 66 w 193"/>
                <a:gd name="T11" fmla="*/ 11 h 116"/>
                <a:gd name="T12" fmla="*/ 123 w 193"/>
                <a:gd name="T13" fmla="*/ 9 h 116"/>
                <a:gd name="T14" fmla="*/ 183 w 193"/>
                <a:gd name="T15" fmla="*/ 43 h 116"/>
                <a:gd name="T16" fmla="*/ 193 w 193"/>
                <a:gd name="T17" fmla="*/ 59 h 116"/>
                <a:gd name="T18" fmla="*/ 179 w 193"/>
                <a:gd name="T19" fmla="*/ 79 h 116"/>
                <a:gd name="T20" fmla="*/ 127 w 193"/>
                <a:gd name="T21" fmla="*/ 108 h 116"/>
                <a:gd name="T22" fmla="*/ 95 w 193"/>
                <a:gd name="T23" fmla="*/ 116 h 116"/>
                <a:gd name="T24" fmla="*/ 98 w 193"/>
                <a:gd name="T25" fmla="*/ 7 h 116"/>
                <a:gd name="T26" fmla="*/ 68 w 193"/>
                <a:gd name="T27" fmla="*/ 14 h 116"/>
                <a:gd name="T28" fmla="*/ 16 w 193"/>
                <a:gd name="T29" fmla="*/ 44 h 116"/>
                <a:gd name="T30" fmla="*/ 3 w 193"/>
                <a:gd name="T31" fmla="*/ 61 h 116"/>
                <a:gd name="T32" fmla="*/ 12 w 193"/>
                <a:gd name="T33" fmla="*/ 73 h 116"/>
                <a:gd name="T34" fmla="*/ 72 w 193"/>
                <a:gd name="T35" fmla="*/ 108 h 116"/>
                <a:gd name="T36" fmla="*/ 125 w 193"/>
                <a:gd name="T37" fmla="*/ 105 h 116"/>
                <a:gd name="T38" fmla="*/ 177 w 193"/>
                <a:gd name="T39" fmla="*/ 75 h 116"/>
                <a:gd name="T40" fmla="*/ 190 w 193"/>
                <a:gd name="T41" fmla="*/ 59 h 116"/>
                <a:gd name="T42" fmla="*/ 181 w 193"/>
                <a:gd name="T43" fmla="*/ 47 h 116"/>
                <a:gd name="T44" fmla="*/ 121 w 193"/>
                <a:gd name="T45" fmla="*/ 12 h 116"/>
                <a:gd name="T46" fmla="*/ 98 w 193"/>
                <a:gd name="T47" fmla="*/ 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3" h="116">
                  <a:moveTo>
                    <a:pt x="95" y="116"/>
                  </a:moveTo>
                  <a:cubicBezTo>
                    <a:pt x="85" y="116"/>
                    <a:pt x="77" y="115"/>
                    <a:pt x="70" y="111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3" y="72"/>
                    <a:pt x="0" y="67"/>
                    <a:pt x="0" y="61"/>
                  </a:cubicBezTo>
                  <a:cubicBezTo>
                    <a:pt x="0" y="54"/>
                    <a:pt x="5" y="46"/>
                    <a:pt x="14" y="41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83" y="2"/>
                    <a:pt x="108" y="0"/>
                    <a:pt x="123" y="9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90" y="47"/>
                    <a:pt x="193" y="53"/>
                    <a:pt x="193" y="59"/>
                  </a:cubicBezTo>
                  <a:cubicBezTo>
                    <a:pt x="193" y="66"/>
                    <a:pt x="188" y="73"/>
                    <a:pt x="179" y="79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18" y="114"/>
                    <a:pt x="106" y="116"/>
                    <a:pt x="95" y="116"/>
                  </a:cubicBezTo>
                  <a:close/>
                  <a:moveTo>
                    <a:pt x="98" y="7"/>
                  </a:moveTo>
                  <a:cubicBezTo>
                    <a:pt x="88" y="7"/>
                    <a:pt x="76" y="9"/>
                    <a:pt x="68" y="1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8" y="49"/>
                    <a:pt x="3" y="55"/>
                    <a:pt x="3" y="61"/>
                  </a:cubicBezTo>
                  <a:cubicBezTo>
                    <a:pt x="3" y="65"/>
                    <a:pt x="7" y="70"/>
                    <a:pt x="12" y="73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85" y="115"/>
                    <a:pt x="109" y="114"/>
                    <a:pt x="125" y="105"/>
                  </a:cubicBezTo>
                  <a:cubicBezTo>
                    <a:pt x="177" y="75"/>
                    <a:pt x="177" y="75"/>
                    <a:pt x="177" y="75"/>
                  </a:cubicBezTo>
                  <a:cubicBezTo>
                    <a:pt x="185" y="71"/>
                    <a:pt x="190" y="65"/>
                    <a:pt x="190" y="59"/>
                  </a:cubicBezTo>
                  <a:cubicBezTo>
                    <a:pt x="190" y="54"/>
                    <a:pt x="186" y="50"/>
                    <a:pt x="181" y="47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115" y="9"/>
                    <a:pt x="107" y="7"/>
                    <a:pt x="9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6" name="Freeform 110">
              <a:extLst>
                <a:ext uri="{FF2B5EF4-FFF2-40B4-BE49-F238E27FC236}">
                  <a16:creationId xmlns:a16="http://schemas.microsoft.com/office/drawing/2014/main" id="{630696F8-82ED-4D05-AFAE-EE9EB18346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1637" y="2411835"/>
              <a:ext cx="352543" cy="208128"/>
            </a:xfrm>
            <a:custGeom>
              <a:avLst/>
              <a:gdLst>
                <a:gd name="T0" fmla="*/ 24 w 80"/>
                <a:gd name="T1" fmla="*/ 41 h 47"/>
                <a:gd name="T2" fmla="*/ 9 w 80"/>
                <a:gd name="T3" fmla="*/ 33 h 47"/>
                <a:gd name="T4" fmla="*/ 11 w 80"/>
                <a:gd name="T5" fmla="*/ 13 h 47"/>
                <a:gd name="T6" fmla="*/ 21 w 80"/>
                <a:gd name="T7" fmla="*/ 7 h 47"/>
                <a:gd name="T8" fmla="*/ 56 w 80"/>
                <a:gd name="T9" fmla="*/ 6 h 47"/>
                <a:gd name="T10" fmla="*/ 71 w 80"/>
                <a:gd name="T11" fmla="*/ 14 h 47"/>
                <a:gd name="T12" fmla="*/ 69 w 80"/>
                <a:gd name="T13" fmla="*/ 34 h 47"/>
                <a:gd name="T14" fmla="*/ 59 w 80"/>
                <a:gd name="T15" fmla="*/ 40 h 47"/>
                <a:gd name="T16" fmla="*/ 24 w 80"/>
                <a:gd name="T17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47">
                  <a:moveTo>
                    <a:pt x="24" y="41"/>
                  </a:moveTo>
                  <a:cubicBezTo>
                    <a:pt x="9" y="33"/>
                    <a:pt x="9" y="33"/>
                    <a:pt x="9" y="33"/>
                  </a:cubicBezTo>
                  <a:cubicBezTo>
                    <a:pt x="0" y="28"/>
                    <a:pt x="1" y="19"/>
                    <a:pt x="11" y="13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32" y="1"/>
                    <a:pt x="47" y="0"/>
                    <a:pt x="56" y="6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80" y="19"/>
                    <a:pt x="79" y="28"/>
                    <a:pt x="69" y="34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48" y="46"/>
                    <a:pt x="33" y="47"/>
                    <a:pt x="24" y="41"/>
                  </a:cubicBezTo>
                  <a:close/>
                </a:path>
              </a:pathLst>
            </a:custGeom>
            <a:solidFill>
              <a:srgbClr val="FFE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7" name="Freeform 111">
              <a:extLst>
                <a:ext uri="{FF2B5EF4-FFF2-40B4-BE49-F238E27FC236}">
                  <a16:creationId xmlns:a16="http://schemas.microsoft.com/office/drawing/2014/main" id="{00C2C5C8-B664-41C9-BDEB-7ADA681B65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45884" y="2373607"/>
              <a:ext cx="344048" cy="210252"/>
            </a:xfrm>
            <a:custGeom>
              <a:avLst/>
              <a:gdLst>
                <a:gd name="T0" fmla="*/ 38 w 78"/>
                <a:gd name="T1" fmla="*/ 48 h 48"/>
                <a:gd name="T2" fmla="*/ 22 w 78"/>
                <a:gd name="T3" fmla="*/ 44 h 48"/>
                <a:gd name="T4" fmla="*/ 7 w 78"/>
                <a:gd name="T5" fmla="*/ 36 h 48"/>
                <a:gd name="T6" fmla="*/ 0 w 78"/>
                <a:gd name="T7" fmla="*/ 25 h 48"/>
                <a:gd name="T8" fmla="*/ 9 w 78"/>
                <a:gd name="T9" fmla="*/ 12 h 48"/>
                <a:gd name="T10" fmla="*/ 19 w 78"/>
                <a:gd name="T11" fmla="*/ 7 h 48"/>
                <a:gd name="T12" fmla="*/ 56 w 78"/>
                <a:gd name="T13" fmla="*/ 5 h 48"/>
                <a:gd name="T14" fmla="*/ 71 w 78"/>
                <a:gd name="T15" fmla="*/ 14 h 48"/>
                <a:gd name="T16" fmla="*/ 78 w 78"/>
                <a:gd name="T17" fmla="*/ 24 h 48"/>
                <a:gd name="T18" fmla="*/ 68 w 78"/>
                <a:gd name="T19" fmla="*/ 37 h 48"/>
                <a:gd name="T20" fmla="*/ 59 w 78"/>
                <a:gd name="T21" fmla="*/ 43 h 48"/>
                <a:gd name="T22" fmla="*/ 38 w 78"/>
                <a:gd name="T23" fmla="*/ 48 h 48"/>
                <a:gd name="T24" fmla="*/ 40 w 78"/>
                <a:gd name="T25" fmla="*/ 5 h 48"/>
                <a:gd name="T26" fmla="*/ 21 w 78"/>
                <a:gd name="T27" fmla="*/ 10 h 48"/>
                <a:gd name="T28" fmla="*/ 11 w 78"/>
                <a:gd name="T29" fmla="*/ 16 h 48"/>
                <a:gd name="T30" fmla="*/ 4 w 78"/>
                <a:gd name="T31" fmla="*/ 25 h 48"/>
                <a:gd name="T32" fmla="*/ 9 w 78"/>
                <a:gd name="T33" fmla="*/ 32 h 48"/>
                <a:gd name="T34" fmla="*/ 24 w 78"/>
                <a:gd name="T35" fmla="*/ 41 h 48"/>
                <a:gd name="T36" fmla="*/ 57 w 78"/>
                <a:gd name="T37" fmla="*/ 40 h 48"/>
                <a:gd name="T38" fmla="*/ 67 w 78"/>
                <a:gd name="T39" fmla="*/ 34 h 48"/>
                <a:gd name="T40" fmla="*/ 74 w 78"/>
                <a:gd name="T41" fmla="*/ 24 h 48"/>
                <a:gd name="T42" fmla="*/ 69 w 78"/>
                <a:gd name="T43" fmla="*/ 17 h 48"/>
                <a:gd name="T44" fmla="*/ 54 w 78"/>
                <a:gd name="T45" fmla="*/ 8 h 48"/>
                <a:gd name="T46" fmla="*/ 40 w 78"/>
                <a:gd name="T47" fmla="*/ 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8" h="48">
                  <a:moveTo>
                    <a:pt x="38" y="48"/>
                  </a:moveTo>
                  <a:cubicBezTo>
                    <a:pt x="32" y="48"/>
                    <a:pt x="26" y="47"/>
                    <a:pt x="22" y="44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2" y="33"/>
                    <a:pt x="0" y="29"/>
                    <a:pt x="0" y="25"/>
                  </a:cubicBezTo>
                  <a:cubicBezTo>
                    <a:pt x="0" y="21"/>
                    <a:pt x="3" y="16"/>
                    <a:pt x="9" y="1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30" y="0"/>
                    <a:pt x="47" y="0"/>
                    <a:pt x="56" y="5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5" y="16"/>
                    <a:pt x="78" y="20"/>
                    <a:pt x="78" y="24"/>
                  </a:cubicBezTo>
                  <a:cubicBezTo>
                    <a:pt x="78" y="29"/>
                    <a:pt x="74" y="34"/>
                    <a:pt x="68" y="37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3" y="46"/>
                    <a:pt x="45" y="48"/>
                    <a:pt x="38" y="48"/>
                  </a:cubicBezTo>
                  <a:close/>
                  <a:moveTo>
                    <a:pt x="40" y="5"/>
                  </a:moveTo>
                  <a:cubicBezTo>
                    <a:pt x="33" y="5"/>
                    <a:pt x="27" y="7"/>
                    <a:pt x="21" y="1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6" y="18"/>
                    <a:pt x="4" y="22"/>
                    <a:pt x="4" y="25"/>
                  </a:cubicBezTo>
                  <a:cubicBezTo>
                    <a:pt x="4" y="28"/>
                    <a:pt x="5" y="30"/>
                    <a:pt x="9" y="32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2" y="46"/>
                    <a:pt x="47" y="45"/>
                    <a:pt x="57" y="40"/>
                  </a:cubicBezTo>
                  <a:cubicBezTo>
                    <a:pt x="67" y="34"/>
                    <a:pt x="67" y="34"/>
                    <a:pt x="67" y="34"/>
                  </a:cubicBezTo>
                  <a:cubicBezTo>
                    <a:pt x="71" y="31"/>
                    <a:pt x="74" y="28"/>
                    <a:pt x="74" y="24"/>
                  </a:cubicBezTo>
                  <a:cubicBezTo>
                    <a:pt x="74" y="21"/>
                    <a:pt x="72" y="19"/>
                    <a:pt x="69" y="17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0" y="6"/>
                    <a:pt x="45" y="5"/>
                    <a:pt x="40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8" name="Freeform 112">
              <a:extLst>
                <a:ext uri="{FF2B5EF4-FFF2-40B4-BE49-F238E27FC236}">
                  <a16:creationId xmlns:a16="http://schemas.microsoft.com/office/drawing/2014/main" id="{D5038E17-8FA6-4FC7-AB00-51B541515E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66283" y="1759842"/>
              <a:ext cx="172024" cy="101940"/>
            </a:xfrm>
            <a:custGeom>
              <a:avLst/>
              <a:gdLst>
                <a:gd name="T0" fmla="*/ 24 w 39"/>
                <a:gd name="T1" fmla="*/ 21 h 23"/>
                <a:gd name="T2" fmla="*/ 23 w 39"/>
                <a:gd name="T3" fmla="*/ 23 h 23"/>
                <a:gd name="T4" fmla="*/ 7 w 39"/>
                <a:gd name="T5" fmla="*/ 19 h 23"/>
                <a:gd name="T6" fmla="*/ 7 w 39"/>
                <a:gd name="T7" fmla="*/ 4 h 23"/>
                <a:gd name="T8" fmla="*/ 33 w 39"/>
                <a:gd name="T9" fmla="*/ 4 h 23"/>
                <a:gd name="T10" fmla="*/ 39 w 39"/>
                <a:gd name="T11" fmla="*/ 13 h 23"/>
                <a:gd name="T12" fmla="*/ 37 w 39"/>
                <a:gd name="T13" fmla="*/ 14 h 23"/>
                <a:gd name="T14" fmla="*/ 36 w 39"/>
                <a:gd name="T15" fmla="*/ 13 h 23"/>
                <a:gd name="T16" fmla="*/ 35 w 39"/>
                <a:gd name="T17" fmla="*/ 12 h 23"/>
                <a:gd name="T18" fmla="*/ 31 w 39"/>
                <a:gd name="T19" fmla="*/ 6 h 23"/>
                <a:gd name="T20" fmla="*/ 10 w 39"/>
                <a:gd name="T21" fmla="*/ 6 h 23"/>
                <a:gd name="T22" fmla="*/ 10 w 39"/>
                <a:gd name="T23" fmla="*/ 18 h 23"/>
                <a:gd name="T24" fmla="*/ 21 w 39"/>
                <a:gd name="T25" fmla="*/ 20 h 23"/>
                <a:gd name="T26" fmla="*/ 23 w 39"/>
                <a:gd name="T27" fmla="*/ 21 h 23"/>
                <a:gd name="T28" fmla="*/ 24 w 39"/>
                <a:gd name="T2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3">
                  <a:moveTo>
                    <a:pt x="24" y="21"/>
                  </a:moveTo>
                  <a:cubicBezTo>
                    <a:pt x="24" y="22"/>
                    <a:pt x="24" y="22"/>
                    <a:pt x="23" y="23"/>
                  </a:cubicBezTo>
                  <a:cubicBezTo>
                    <a:pt x="17" y="23"/>
                    <a:pt x="12" y="22"/>
                    <a:pt x="7" y="19"/>
                  </a:cubicBezTo>
                  <a:cubicBezTo>
                    <a:pt x="0" y="15"/>
                    <a:pt x="0" y="8"/>
                    <a:pt x="7" y="4"/>
                  </a:cubicBezTo>
                  <a:cubicBezTo>
                    <a:pt x="14" y="0"/>
                    <a:pt x="26" y="0"/>
                    <a:pt x="33" y="4"/>
                  </a:cubicBezTo>
                  <a:cubicBezTo>
                    <a:pt x="38" y="7"/>
                    <a:pt x="39" y="10"/>
                    <a:pt x="39" y="13"/>
                  </a:cubicBezTo>
                  <a:cubicBezTo>
                    <a:pt x="39" y="14"/>
                    <a:pt x="38" y="14"/>
                    <a:pt x="37" y="14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5" y="13"/>
                    <a:pt x="35" y="12"/>
                    <a:pt x="35" y="12"/>
                  </a:cubicBezTo>
                  <a:cubicBezTo>
                    <a:pt x="35" y="10"/>
                    <a:pt x="34" y="8"/>
                    <a:pt x="31" y="6"/>
                  </a:cubicBezTo>
                  <a:cubicBezTo>
                    <a:pt x="25" y="3"/>
                    <a:pt x="16" y="3"/>
                    <a:pt x="10" y="6"/>
                  </a:cubicBezTo>
                  <a:cubicBezTo>
                    <a:pt x="4" y="9"/>
                    <a:pt x="4" y="15"/>
                    <a:pt x="10" y="18"/>
                  </a:cubicBezTo>
                  <a:cubicBezTo>
                    <a:pt x="13" y="20"/>
                    <a:pt x="17" y="21"/>
                    <a:pt x="21" y="20"/>
                  </a:cubicBezTo>
                  <a:cubicBezTo>
                    <a:pt x="22" y="20"/>
                    <a:pt x="22" y="21"/>
                    <a:pt x="23" y="21"/>
                  </a:cubicBezTo>
                  <a:lnTo>
                    <a:pt x="24" y="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79" name="Freeform 113">
              <a:extLst>
                <a:ext uri="{FF2B5EF4-FFF2-40B4-BE49-F238E27FC236}">
                  <a16:creationId xmlns:a16="http://schemas.microsoft.com/office/drawing/2014/main" id="{348D9EAF-E0D5-4BF2-81BC-8BDE583391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2471" y="1821431"/>
              <a:ext cx="167777" cy="106188"/>
            </a:xfrm>
            <a:custGeom>
              <a:avLst/>
              <a:gdLst>
                <a:gd name="T0" fmla="*/ 0 w 38"/>
                <a:gd name="T1" fmla="*/ 15 h 24"/>
                <a:gd name="T2" fmla="*/ 0 w 38"/>
                <a:gd name="T3" fmla="*/ 14 h 24"/>
                <a:gd name="T4" fmla="*/ 24 w 38"/>
                <a:gd name="T5" fmla="*/ 0 h 24"/>
                <a:gd name="T6" fmla="*/ 26 w 38"/>
                <a:gd name="T7" fmla="*/ 0 h 24"/>
                <a:gd name="T8" fmla="*/ 33 w 38"/>
                <a:gd name="T9" fmla="*/ 4 h 24"/>
                <a:gd name="T10" fmla="*/ 33 w 38"/>
                <a:gd name="T11" fmla="*/ 14 h 24"/>
                <a:gd name="T12" fmla="*/ 20 w 38"/>
                <a:gd name="T13" fmla="*/ 15 h 24"/>
                <a:gd name="T14" fmla="*/ 18 w 38"/>
                <a:gd name="T15" fmla="*/ 23 h 24"/>
                <a:gd name="T16" fmla="*/ 16 w 38"/>
                <a:gd name="T17" fmla="*/ 24 h 24"/>
                <a:gd name="T18" fmla="*/ 15 w 38"/>
                <a:gd name="T19" fmla="*/ 23 h 24"/>
                <a:gd name="T20" fmla="*/ 14 w 38"/>
                <a:gd name="T21" fmla="*/ 22 h 24"/>
                <a:gd name="T22" fmla="*/ 16 w 38"/>
                <a:gd name="T23" fmla="*/ 13 h 24"/>
                <a:gd name="T24" fmla="*/ 12 w 38"/>
                <a:gd name="T25" fmla="*/ 10 h 24"/>
                <a:gd name="T26" fmla="*/ 3 w 38"/>
                <a:gd name="T27" fmla="*/ 15 h 24"/>
                <a:gd name="T28" fmla="*/ 1 w 38"/>
                <a:gd name="T29" fmla="*/ 15 h 24"/>
                <a:gd name="T30" fmla="*/ 0 w 38"/>
                <a:gd name="T31" fmla="*/ 15 h 24"/>
                <a:gd name="T32" fmla="*/ 20 w 38"/>
                <a:gd name="T33" fmla="*/ 12 h 24"/>
                <a:gd name="T34" fmla="*/ 31 w 38"/>
                <a:gd name="T35" fmla="*/ 12 h 24"/>
                <a:gd name="T36" fmla="*/ 31 w 38"/>
                <a:gd name="T37" fmla="*/ 6 h 24"/>
                <a:gd name="T38" fmla="*/ 25 w 38"/>
                <a:gd name="T39" fmla="*/ 3 h 24"/>
                <a:gd name="T40" fmla="*/ 14 w 38"/>
                <a:gd name="T41" fmla="*/ 9 h 24"/>
                <a:gd name="T42" fmla="*/ 20 w 38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24">
                  <a:moveTo>
                    <a:pt x="0" y="15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6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8" y="7"/>
                    <a:pt x="38" y="11"/>
                    <a:pt x="33" y="14"/>
                  </a:cubicBezTo>
                  <a:cubicBezTo>
                    <a:pt x="29" y="16"/>
                    <a:pt x="24" y="16"/>
                    <a:pt x="20" y="15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4"/>
                    <a:pt x="17" y="24"/>
                    <a:pt x="16" y="24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4" y="23"/>
                    <a:pt x="14" y="23"/>
                    <a:pt x="14" y="22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6"/>
                    <a:pt x="2" y="16"/>
                    <a:pt x="1" y="15"/>
                  </a:cubicBezTo>
                  <a:lnTo>
                    <a:pt x="0" y="15"/>
                  </a:lnTo>
                  <a:close/>
                  <a:moveTo>
                    <a:pt x="20" y="12"/>
                  </a:moveTo>
                  <a:cubicBezTo>
                    <a:pt x="23" y="14"/>
                    <a:pt x="27" y="14"/>
                    <a:pt x="31" y="12"/>
                  </a:cubicBezTo>
                  <a:cubicBezTo>
                    <a:pt x="34" y="10"/>
                    <a:pt x="34" y="8"/>
                    <a:pt x="31" y="6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14" y="9"/>
                    <a:pt x="14" y="9"/>
                    <a:pt x="14" y="9"/>
                  </a:cubicBezTo>
                  <a:lnTo>
                    <a:pt x="20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0" name="Freeform 114">
              <a:extLst>
                <a:ext uri="{FF2B5EF4-FFF2-40B4-BE49-F238E27FC236}">
                  <a16:creationId xmlns:a16="http://schemas.microsoft.com/office/drawing/2014/main" id="{34BA7DBB-75D1-46B6-A604-04291468F3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3792" y="1874525"/>
              <a:ext cx="178395" cy="101940"/>
            </a:xfrm>
            <a:custGeom>
              <a:avLst/>
              <a:gdLst>
                <a:gd name="T0" fmla="*/ 1 w 40"/>
                <a:gd name="T1" fmla="*/ 15 h 23"/>
                <a:gd name="T2" fmla="*/ 1 w 40"/>
                <a:gd name="T3" fmla="*/ 14 h 23"/>
                <a:gd name="T4" fmla="*/ 24 w 40"/>
                <a:gd name="T5" fmla="*/ 1 h 23"/>
                <a:gd name="T6" fmla="*/ 26 w 40"/>
                <a:gd name="T7" fmla="*/ 1 h 23"/>
                <a:gd name="T8" fmla="*/ 39 w 40"/>
                <a:gd name="T9" fmla="*/ 8 h 23"/>
                <a:gd name="T10" fmla="*/ 39 w 40"/>
                <a:gd name="T11" fmla="*/ 9 h 23"/>
                <a:gd name="T12" fmla="*/ 39 w 40"/>
                <a:gd name="T13" fmla="*/ 9 h 23"/>
                <a:gd name="T14" fmla="*/ 36 w 40"/>
                <a:gd name="T15" fmla="*/ 9 h 23"/>
                <a:gd name="T16" fmla="*/ 25 w 40"/>
                <a:gd name="T17" fmla="*/ 3 h 23"/>
                <a:gd name="T18" fmla="*/ 18 w 40"/>
                <a:gd name="T19" fmla="*/ 7 h 23"/>
                <a:gd name="T20" fmla="*/ 29 w 40"/>
                <a:gd name="T21" fmla="*/ 13 h 23"/>
                <a:gd name="T22" fmla="*/ 29 w 40"/>
                <a:gd name="T23" fmla="*/ 14 h 23"/>
                <a:gd name="T24" fmla="*/ 28 w 40"/>
                <a:gd name="T25" fmla="*/ 14 h 23"/>
                <a:gd name="T26" fmla="*/ 26 w 40"/>
                <a:gd name="T27" fmla="*/ 14 h 23"/>
                <a:gd name="T28" fmla="*/ 16 w 40"/>
                <a:gd name="T29" fmla="*/ 8 h 23"/>
                <a:gd name="T30" fmla="*/ 5 w 40"/>
                <a:gd name="T31" fmla="*/ 15 h 23"/>
                <a:gd name="T32" fmla="*/ 16 w 40"/>
                <a:gd name="T33" fmla="*/ 21 h 23"/>
                <a:gd name="T34" fmla="*/ 16 w 40"/>
                <a:gd name="T35" fmla="*/ 22 h 23"/>
                <a:gd name="T36" fmla="*/ 16 w 40"/>
                <a:gd name="T37" fmla="*/ 23 h 23"/>
                <a:gd name="T38" fmla="*/ 13 w 40"/>
                <a:gd name="T39" fmla="*/ 23 h 23"/>
                <a:gd name="T40" fmla="*/ 1 w 40"/>
                <a:gd name="T41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23">
                  <a:moveTo>
                    <a:pt x="1" y="15"/>
                  </a:moveTo>
                  <a:cubicBezTo>
                    <a:pt x="0" y="15"/>
                    <a:pt x="0" y="14"/>
                    <a:pt x="1" y="14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0"/>
                    <a:pt x="26" y="0"/>
                    <a:pt x="26" y="1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8"/>
                    <a:pt x="40" y="9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10"/>
                    <a:pt x="37" y="10"/>
                    <a:pt x="36" y="9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4"/>
                    <a:pt x="29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5"/>
                    <a:pt x="27" y="15"/>
                    <a:pt x="26" y="14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7" y="21"/>
                    <a:pt x="17" y="22"/>
                    <a:pt x="16" y="22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5" y="23"/>
                    <a:pt x="14" y="23"/>
                    <a:pt x="13" y="23"/>
                  </a:cubicBezTo>
                  <a:lnTo>
                    <a:pt x="1" y="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1" name="Freeform 115">
              <a:extLst>
                <a:ext uri="{FF2B5EF4-FFF2-40B4-BE49-F238E27FC236}">
                  <a16:creationId xmlns:a16="http://schemas.microsoft.com/office/drawing/2014/main" id="{EE5481AA-5296-4639-A29B-77FE395207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52990" y="1927619"/>
              <a:ext cx="180519" cy="101940"/>
            </a:xfrm>
            <a:custGeom>
              <a:avLst/>
              <a:gdLst>
                <a:gd name="T0" fmla="*/ 1 w 41"/>
                <a:gd name="T1" fmla="*/ 15 h 23"/>
                <a:gd name="T2" fmla="*/ 1 w 41"/>
                <a:gd name="T3" fmla="*/ 14 h 23"/>
                <a:gd name="T4" fmla="*/ 24 w 41"/>
                <a:gd name="T5" fmla="*/ 0 h 23"/>
                <a:gd name="T6" fmla="*/ 26 w 41"/>
                <a:gd name="T7" fmla="*/ 0 h 23"/>
                <a:gd name="T8" fmla="*/ 32 w 41"/>
                <a:gd name="T9" fmla="*/ 3 h 23"/>
                <a:gd name="T10" fmla="*/ 32 w 41"/>
                <a:gd name="T11" fmla="*/ 18 h 23"/>
                <a:gd name="T12" fmla="*/ 7 w 41"/>
                <a:gd name="T13" fmla="*/ 18 h 23"/>
                <a:gd name="T14" fmla="*/ 1 w 41"/>
                <a:gd name="T15" fmla="*/ 15 h 23"/>
                <a:gd name="T16" fmla="*/ 9 w 41"/>
                <a:gd name="T17" fmla="*/ 17 h 23"/>
                <a:gd name="T18" fmla="*/ 30 w 41"/>
                <a:gd name="T19" fmla="*/ 17 h 23"/>
                <a:gd name="T20" fmla="*/ 30 w 41"/>
                <a:gd name="T21" fmla="*/ 5 h 23"/>
                <a:gd name="T22" fmla="*/ 25 w 41"/>
                <a:gd name="T23" fmla="*/ 3 h 23"/>
                <a:gd name="T24" fmla="*/ 5 w 41"/>
                <a:gd name="T25" fmla="*/ 14 h 23"/>
                <a:gd name="T26" fmla="*/ 9 w 41"/>
                <a:gd name="T2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1" h="23">
                  <a:moveTo>
                    <a:pt x="1" y="15"/>
                  </a:moveTo>
                  <a:cubicBezTo>
                    <a:pt x="0" y="14"/>
                    <a:pt x="0" y="14"/>
                    <a:pt x="1" y="1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41" y="9"/>
                    <a:pt x="41" y="13"/>
                    <a:pt x="32" y="18"/>
                  </a:cubicBezTo>
                  <a:cubicBezTo>
                    <a:pt x="23" y="23"/>
                    <a:pt x="16" y="23"/>
                    <a:pt x="7" y="18"/>
                  </a:cubicBezTo>
                  <a:lnTo>
                    <a:pt x="1" y="15"/>
                  </a:lnTo>
                  <a:close/>
                  <a:moveTo>
                    <a:pt x="9" y="17"/>
                  </a:moveTo>
                  <a:cubicBezTo>
                    <a:pt x="16" y="21"/>
                    <a:pt x="22" y="21"/>
                    <a:pt x="30" y="17"/>
                  </a:cubicBezTo>
                  <a:cubicBezTo>
                    <a:pt x="37" y="12"/>
                    <a:pt x="37" y="9"/>
                    <a:pt x="30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5" y="14"/>
                    <a:pt x="5" y="14"/>
                    <a:pt x="5" y="14"/>
                  </a:cubicBezTo>
                  <a:lnTo>
                    <a:pt x="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2" name="Freeform 116">
              <a:extLst>
                <a:ext uri="{FF2B5EF4-FFF2-40B4-BE49-F238E27FC236}">
                  <a16:creationId xmlns:a16="http://schemas.microsoft.com/office/drawing/2014/main" id="{26A9D0CF-915D-40AF-9D4A-7CFABAA70F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59177" y="1989208"/>
              <a:ext cx="118930" cy="65836"/>
            </a:xfrm>
            <a:custGeom>
              <a:avLst/>
              <a:gdLst>
                <a:gd name="T0" fmla="*/ 1 w 27"/>
                <a:gd name="T1" fmla="*/ 15 h 15"/>
                <a:gd name="T2" fmla="*/ 1 w 27"/>
                <a:gd name="T3" fmla="*/ 13 h 15"/>
                <a:gd name="T4" fmla="*/ 24 w 27"/>
                <a:gd name="T5" fmla="*/ 0 h 15"/>
                <a:gd name="T6" fmla="*/ 26 w 27"/>
                <a:gd name="T7" fmla="*/ 0 h 15"/>
                <a:gd name="T8" fmla="*/ 27 w 27"/>
                <a:gd name="T9" fmla="*/ 0 h 15"/>
                <a:gd name="T10" fmla="*/ 27 w 27"/>
                <a:gd name="T11" fmla="*/ 2 h 15"/>
                <a:gd name="T12" fmla="*/ 4 w 27"/>
                <a:gd name="T13" fmla="*/ 15 h 15"/>
                <a:gd name="T14" fmla="*/ 1 w 27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">
                  <a:moveTo>
                    <a:pt x="1" y="15"/>
                  </a:moveTo>
                  <a:cubicBezTo>
                    <a:pt x="0" y="14"/>
                    <a:pt x="0" y="14"/>
                    <a:pt x="1" y="1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"/>
                    <a:pt x="27" y="1"/>
                    <a:pt x="27" y="2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2" y="15"/>
                    <a:pt x="1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3" name="Freeform 117">
              <a:extLst>
                <a:ext uri="{FF2B5EF4-FFF2-40B4-BE49-F238E27FC236}">
                  <a16:creationId xmlns:a16="http://schemas.microsoft.com/office/drawing/2014/main" id="{B6F578DB-CB68-4A14-AC15-28126125CA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5014" y="2001950"/>
              <a:ext cx="155034" cy="93445"/>
            </a:xfrm>
            <a:custGeom>
              <a:avLst/>
              <a:gdLst>
                <a:gd name="T0" fmla="*/ 0 w 35"/>
                <a:gd name="T1" fmla="*/ 20 h 21"/>
                <a:gd name="T2" fmla="*/ 0 w 35"/>
                <a:gd name="T3" fmla="*/ 19 h 21"/>
                <a:gd name="T4" fmla="*/ 22 w 35"/>
                <a:gd name="T5" fmla="*/ 6 h 21"/>
                <a:gd name="T6" fmla="*/ 15 w 35"/>
                <a:gd name="T7" fmla="*/ 2 h 21"/>
                <a:gd name="T8" fmla="*/ 15 w 35"/>
                <a:gd name="T9" fmla="*/ 1 h 21"/>
                <a:gd name="T10" fmla="*/ 15 w 35"/>
                <a:gd name="T11" fmla="*/ 0 h 21"/>
                <a:gd name="T12" fmla="*/ 17 w 35"/>
                <a:gd name="T13" fmla="*/ 0 h 21"/>
                <a:gd name="T14" fmla="*/ 35 w 35"/>
                <a:gd name="T15" fmla="*/ 10 h 21"/>
                <a:gd name="T16" fmla="*/ 35 w 35"/>
                <a:gd name="T17" fmla="*/ 12 h 21"/>
                <a:gd name="T18" fmla="*/ 34 w 35"/>
                <a:gd name="T19" fmla="*/ 12 h 21"/>
                <a:gd name="T20" fmla="*/ 32 w 35"/>
                <a:gd name="T21" fmla="*/ 12 h 21"/>
                <a:gd name="T22" fmla="*/ 25 w 35"/>
                <a:gd name="T23" fmla="*/ 8 h 21"/>
                <a:gd name="T24" fmla="*/ 3 w 35"/>
                <a:gd name="T25" fmla="*/ 20 h 21"/>
                <a:gd name="T26" fmla="*/ 1 w 35"/>
                <a:gd name="T27" fmla="*/ 20 h 21"/>
                <a:gd name="T28" fmla="*/ 0 w 35"/>
                <a:gd name="T2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21">
                  <a:moveTo>
                    <a:pt x="0" y="20"/>
                  </a:moveTo>
                  <a:cubicBezTo>
                    <a:pt x="0" y="20"/>
                    <a:pt x="0" y="19"/>
                    <a:pt x="0" y="19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1"/>
                    <a:pt x="14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6" y="0"/>
                    <a:pt x="17" y="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1"/>
                    <a:pt x="35" y="11"/>
                    <a:pt x="35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3" y="12"/>
                    <a:pt x="32" y="12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2" y="21"/>
                    <a:pt x="1" y="21"/>
                    <a:pt x="1" y="2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4" name="Freeform 118">
              <a:extLst>
                <a:ext uri="{FF2B5EF4-FFF2-40B4-BE49-F238E27FC236}">
                  <a16:creationId xmlns:a16="http://schemas.microsoft.com/office/drawing/2014/main" id="{DAD44EF5-2CF7-4CC4-84B3-18E351A424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5070774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5" name="Freeform 119">
              <a:extLst>
                <a:ext uri="{FF2B5EF4-FFF2-40B4-BE49-F238E27FC236}">
                  <a16:creationId xmlns:a16="http://schemas.microsoft.com/office/drawing/2014/main" id="{4C8A3EE3-CEEC-465F-AA18-D856CD588A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5034670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6" name="Freeform 120">
              <a:extLst>
                <a:ext uri="{FF2B5EF4-FFF2-40B4-BE49-F238E27FC236}">
                  <a16:creationId xmlns:a16="http://schemas.microsoft.com/office/drawing/2014/main" id="{A28B1A47-2CAE-45C6-A290-D5E87BA2BA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500493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7" name="Freeform 121">
              <a:extLst>
                <a:ext uri="{FF2B5EF4-FFF2-40B4-BE49-F238E27FC236}">
                  <a16:creationId xmlns:a16="http://schemas.microsoft.com/office/drawing/2014/main" id="{764078EE-DD90-4B19-857C-DE2EAD0366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96883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8" name="Freeform 122">
              <a:extLst>
                <a:ext uri="{FF2B5EF4-FFF2-40B4-BE49-F238E27FC236}">
                  <a16:creationId xmlns:a16="http://schemas.microsoft.com/office/drawing/2014/main" id="{0F9CD93D-65AA-4FF6-B544-98C2F6B7AA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474" y="493697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89" name="Freeform 123">
              <a:extLst>
                <a:ext uri="{FF2B5EF4-FFF2-40B4-BE49-F238E27FC236}">
                  <a16:creationId xmlns:a16="http://schemas.microsoft.com/office/drawing/2014/main" id="{4F2CBB0E-A09A-4B1E-9F07-9078DC831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1816" y="490299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0" name="Freeform 124">
              <a:extLst>
                <a:ext uri="{FF2B5EF4-FFF2-40B4-BE49-F238E27FC236}">
                  <a16:creationId xmlns:a16="http://schemas.microsoft.com/office/drawing/2014/main" id="{13ADE9FD-8A89-4E27-88D7-B0008AF9E9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9157" y="487114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1" name="Freeform 125">
              <a:extLst>
                <a:ext uri="{FF2B5EF4-FFF2-40B4-BE49-F238E27FC236}">
                  <a16:creationId xmlns:a16="http://schemas.microsoft.com/office/drawing/2014/main" id="{3BF32209-31F4-432B-95A3-4136D9A6E2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2" name="Freeform 126">
              <a:extLst>
                <a:ext uri="{FF2B5EF4-FFF2-40B4-BE49-F238E27FC236}">
                  <a16:creationId xmlns:a16="http://schemas.microsoft.com/office/drawing/2014/main" id="{A927A5D4-8398-4715-BA85-0988DDA0E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480530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3" name="Freeform 127">
              <a:extLst>
                <a:ext uri="{FF2B5EF4-FFF2-40B4-BE49-F238E27FC236}">
                  <a16:creationId xmlns:a16="http://schemas.microsoft.com/office/drawing/2014/main" id="{781B5BE7-572C-4685-B6C9-570A59ABF6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3305" y="4769201"/>
              <a:ext cx="33980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4" name="Freeform 128">
              <a:extLst>
                <a:ext uri="{FF2B5EF4-FFF2-40B4-BE49-F238E27FC236}">
                  <a16:creationId xmlns:a16="http://schemas.microsoft.com/office/drawing/2014/main" id="{8EF6BDEB-0CD2-4C74-AC6B-59ABB5393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5034670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5" name="Freeform 129">
              <a:extLst>
                <a:ext uri="{FF2B5EF4-FFF2-40B4-BE49-F238E27FC236}">
                  <a16:creationId xmlns:a16="http://schemas.microsoft.com/office/drawing/2014/main" id="{EC17A899-0F59-4846-96E5-98190D6CE5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500493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6" name="Freeform 130">
              <a:extLst>
                <a:ext uri="{FF2B5EF4-FFF2-40B4-BE49-F238E27FC236}">
                  <a16:creationId xmlns:a16="http://schemas.microsoft.com/office/drawing/2014/main" id="{DA846177-F471-4029-B2F2-B920CD27F7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96883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7" name="Freeform 131">
              <a:extLst>
                <a:ext uri="{FF2B5EF4-FFF2-40B4-BE49-F238E27FC236}">
                  <a16:creationId xmlns:a16="http://schemas.microsoft.com/office/drawing/2014/main" id="{867AF295-4F9E-489C-99E9-5F7910376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493697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8" name="Freeform 132">
              <a:extLst>
                <a:ext uri="{FF2B5EF4-FFF2-40B4-BE49-F238E27FC236}">
                  <a16:creationId xmlns:a16="http://schemas.microsoft.com/office/drawing/2014/main" id="{E9354165-B614-4A4F-ACC3-19BDE1EF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90299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99" name="Freeform 133">
              <a:extLst>
                <a:ext uri="{FF2B5EF4-FFF2-40B4-BE49-F238E27FC236}">
                  <a16:creationId xmlns:a16="http://schemas.microsoft.com/office/drawing/2014/main" id="{5D70BFCD-058F-4097-9D93-0D8E1F2BD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474" y="487114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0" name="Freeform 134">
              <a:extLst>
                <a:ext uri="{FF2B5EF4-FFF2-40B4-BE49-F238E27FC236}">
                  <a16:creationId xmlns:a16="http://schemas.microsoft.com/office/drawing/2014/main" id="{11AD5A58-591F-478D-B5EF-F554BAB677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1816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1" name="Freeform 135">
              <a:extLst>
                <a:ext uri="{FF2B5EF4-FFF2-40B4-BE49-F238E27FC236}">
                  <a16:creationId xmlns:a16="http://schemas.microsoft.com/office/drawing/2014/main" id="{5F47D4DA-5E1E-45D2-AD7C-755437834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9157" y="480530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2" name="Freeform 136">
              <a:extLst>
                <a:ext uri="{FF2B5EF4-FFF2-40B4-BE49-F238E27FC236}">
                  <a16:creationId xmlns:a16="http://schemas.microsoft.com/office/drawing/2014/main" id="{041ED02D-DFF5-4E39-82DC-2E4A9F5857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3" name="Freeform 137">
              <a:extLst>
                <a:ext uri="{FF2B5EF4-FFF2-40B4-BE49-F238E27FC236}">
                  <a16:creationId xmlns:a16="http://schemas.microsoft.com/office/drawing/2014/main" id="{259E1806-210E-494A-83E0-C2EC2B28D9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473946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4" name="Freeform 138">
              <a:extLst>
                <a:ext uri="{FF2B5EF4-FFF2-40B4-BE49-F238E27FC236}">
                  <a16:creationId xmlns:a16="http://schemas.microsoft.com/office/drawing/2014/main" id="{276BDEE2-78E7-46EA-8A70-B9BDD8A8CE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500493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5" name="Freeform 139">
              <a:extLst>
                <a:ext uri="{FF2B5EF4-FFF2-40B4-BE49-F238E27FC236}">
                  <a16:creationId xmlns:a16="http://schemas.microsoft.com/office/drawing/2014/main" id="{D7F744FF-2C7A-4B50-8390-BE46C3CC85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96883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6" name="Freeform 140">
              <a:extLst>
                <a:ext uri="{FF2B5EF4-FFF2-40B4-BE49-F238E27FC236}">
                  <a16:creationId xmlns:a16="http://schemas.microsoft.com/office/drawing/2014/main" id="{22C99AC8-50A8-4E21-BEA1-2F2080B519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93697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7" name="Freeform 141">
              <a:extLst>
                <a:ext uri="{FF2B5EF4-FFF2-40B4-BE49-F238E27FC236}">
                  <a16:creationId xmlns:a16="http://schemas.microsoft.com/office/drawing/2014/main" id="{DDFEB964-C5C1-48F8-BC65-43623A8A2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90299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8" name="Freeform 142">
              <a:extLst>
                <a:ext uri="{FF2B5EF4-FFF2-40B4-BE49-F238E27FC236}">
                  <a16:creationId xmlns:a16="http://schemas.microsoft.com/office/drawing/2014/main" id="{520BA3C0-15B6-4B4B-ADC2-DC5114845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487114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09" name="Freeform 143">
              <a:extLst>
                <a:ext uri="{FF2B5EF4-FFF2-40B4-BE49-F238E27FC236}">
                  <a16:creationId xmlns:a16="http://schemas.microsoft.com/office/drawing/2014/main" id="{26C6DCE5-BF15-4CF5-88B0-3991F171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0" name="Freeform 144">
              <a:extLst>
                <a:ext uri="{FF2B5EF4-FFF2-40B4-BE49-F238E27FC236}">
                  <a16:creationId xmlns:a16="http://schemas.microsoft.com/office/drawing/2014/main" id="{BD6FDE23-56DD-418C-94FC-A7792C830C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474" y="480530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1" name="Freeform 145">
              <a:extLst>
                <a:ext uri="{FF2B5EF4-FFF2-40B4-BE49-F238E27FC236}">
                  <a16:creationId xmlns:a16="http://schemas.microsoft.com/office/drawing/2014/main" id="{ED69EC03-BE31-4D7E-A8CB-63AA88A09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1816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2" name="Freeform 146">
              <a:extLst>
                <a:ext uri="{FF2B5EF4-FFF2-40B4-BE49-F238E27FC236}">
                  <a16:creationId xmlns:a16="http://schemas.microsoft.com/office/drawing/2014/main" id="{ABDF1142-3D5E-49B0-99B8-23963ECF20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9157" y="473946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3" name="Freeform 147">
              <a:extLst>
                <a:ext uri="{FF2B5EF4-FFF2-40B4-BE49-F238E27FC236}">
                  <a16:creationId xmlns:a16="http://schemas.microsoft.com/office/drawing/2014/main" id="{6B8BFA0B-3AA6-4570-BAB1-BE248D88BD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96883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4" name="Freeform 148">
              <a:extLst>
                <a:ext uri="{FF2B5EF4-FFF2-40B4-BE49-F238E27FC236}">
                  <a16:creationId xmlns:a16="http://schemas.microsoft.com/office/drawing/2014/main" id="{BA64CCF5-D13E-4301-B5D1-72BE2DF438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93697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5" name="Freeform 149">
              <a:extLst>
                <a:ext uri="{FF2B5EF4-FFF2-40B4-BE49-F238E27FC236}">
                  <a16:creationId xmlns:a16="http://schemas.microsoft.com/office/drawing/2014/main" id="{2C9BE698-D998-4653-8C2D-A7121C40D4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90299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6" name="Freeform 150">
              <a:extLst>
                <a:ext uri="{FF2B5EF4-FFF2-40B4-BE49-F238E27FC236}">
                  <a16:creationId xmlns:a16="http://schemas.microsoft.com/office/drawing/2014/main" id="{3B541553-BA9F-44E3-8924-30F15D07B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87114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7" name="Freeform 151">
              <a:extLst>
                <a:ext uri="{FF2B5EF4-FFF2-40B4-BE49-F238E27FC236}">
                  <a16:creationId xmlns:a16="http://schemas.microsoft.com/office/drawing/2014/main" id="{87F1A4FF-4FEE-4309-ADD6-7BEF07DFE4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8" name="Freeform 152">
              <a:extLst>
                <a:ext uri="{FF2B5EF4-FFF2-40B4-BE49-F238E27FC236}">
                  <a16:creationId xmlns:a16="http://schemas.microsoft.com/office/drawing/2014/main" id="{00043475-9B5B-46DF-9C9A-F5B31A3910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480530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19" name="Freeform 153">
              <a:extLst>
                <a:ext uri="{FF2B5EF4-FFF2-40B4-BE49-F238E27FC236}">
                  <a16:creationId xmlns:a16="http://schemas.microsoft.com/office/drawing/2014/main" id="{11FA9B02-17D5-46B3-856A-E9AA2DA076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0" name="Freeform 154">
              <a:extLst>
                <a:ext uri="{FF2B5EF4-FFF2-40B4-BE49-F238E27FC236}">
                  <a16:creationId xmlns:a16="http://schemas.microsoft.com/office/drawing/2014/main" id="{DE06F48C-901A-447E-A1CE-E042ACB404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474" y="473946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1" name="Freeform 155">
              <a:extLst>
                <a:ext uri="{FF2B5EF4-FFF2-40B4-BE49-F238E27FC236}">
                  <a16:creationId xmlns:a16="http://schemas.microsoft.com/office/drawing/2014/main" id="{E225B09B-13AB-4888-9C78-CA8EC25B31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1816" y="470336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2" name="Freeform 156">
              <a:extLst>
                <a:ext uri="{FF2B5EF4-FFF2-40B4-BE49-F238E27FC236}">
                  <a16:creationId xmlns:a16="http://schemas.microsoft.com/office/drawing/2014/main" id="{C7E22494-E1E1-4180-874B-A74B32B37C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93697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3" name="Freeform 157">
              <a:extLst>
                <a:ext uri="{FF2B5EF4-FFF2-40B4-BE49-F238E27FC236}">
                  <a16:creationId xmlns:a16="http://schemas.microsoft.com/office/drawing/2014/main" id="{8A40BA33-5B68-4660-99B6-8B9CA64030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90299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4" name="Freeform 158">
              <a:extLst>
                <a:ext uri="{FF2B5EF4-FFF2-40B4-BE49-F238E27FC236}">
                  <a16:creationId xmlns:a16="http://schemas.microsoft.com/office/drawing/2014/main" id="{75987FA0-78D9-470A-9ED5-6731A04544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87114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5" name="Freeform 159">
              <a:extLst>
                <a:ext uri="{FF2B5EF4-FFF2-40B4-BE49-F238E27FC236}">
                  <a16:creationId xmlns:a16="http://schemas.microsoft.com/office/drawing/2014/main" id="{0B04DA9A-5E9B-46D1-967F-F88C94B6FC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6" name="Freeform 160">
              <a:extLst>
                <a:ext uri="{FF2B5EF4-FFF2-40B4-BE49-F238E27FC236}">
                  <a16:creationId xmlns:a16="http://schemas.microsoft.com/office/drawing/2014/main" id="{5B320825-6770-494A-9CA9-1F5088985E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80530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7" name="Freeform 161">
              <a:extLst>
                <a:ext uri="{FF2B5EF4-FFF2-40B4-BE49-F238E27FC236}">
                  <a16:creationId xmlns:a16="http://schemas.microsoft.com/office/drawing/2014/main" id="{AAEC8005-8449-471C-86E7-2FB694327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8" name="Freeform 162">
              <a:extLst>
                <a:ext uri="{FF2B5EF4-FFF2-40B4-BE49-F238E27FC236}">
                  <a16:creationId xmlns:a16="http://schemas.microsoft.com/office/drawing/2014/main" id="{5CEF4E94-1FB3-4BCE-AA91-DE9E92D92E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473946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29" name="Freeform 163">
              <a:extLst>
                <a:ext uri="{FF2B5EF4-FFF2-40B4-BE49-F238E27FC236}">
                  <a16:creationId xmlns:a16="http://schemas.microsoft.com/office/drawing/2014/main" id="{7829E02A-77CD-47F8-A621-1BCC11561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70336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0" name="Freeform 164">
              <a:extLst>
                <a:ext uri="{FF2B5EF4-FFF2-40B4-BE49-F238E27FC236}">
                  <a16:creationId xmlns:a16="http://schemas.microsoft.com/office/drawing/2014/main" id="{2F013D42-2ED5-4B78-9FCE-EF01DA8952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474" y="4673632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  <a:gd name="T10" fmla="*/ 7 w 8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8" y="1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1" name="Freeform 165">
              <a:extLst>
                <a:ext uri="{FF2B5EF4-FFF2-40B4-BE49-F238E27FC236}">
                  <a16:creationId xmlns:a16="http://schemas.microsoft.com/office/drawing/2014/main" id="{9F3130A0-218F-4FFA-8832-F1EC826E4C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8402" y="4902997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2" name="Freeform 166">
              <a:extLst>
                <a:ext uri="{FF2B5EF4-FFF2-40B4-BE49-F238E27FC236}">
                  <a16:creationId xmlns:a16="http://schemas.microsoft.com/office/drawing/2014/main" id="{3E4C6761-17C1-4CA2-BC79-BC16D1C309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87114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3" name="Freeform 167">
              <a:extLst>
                <a:ext uri="{FF2B5EF4-FFF2-40B4-BE49-F238E27FC236}">
                  <a16:creationId xmlns:a16="http://schemas.microsoft.com/office/drawing/2014/main" id="{2D247D11-F34C-47F0-AC72-2E573E44BE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4" name="Freeform 168">
              <a:extLst>
                <a:ext uri="{FF2B5EF4-FFF2-40B4-BE49-F238E27FC236}">
                  <a16:creationId xmlns:a16="http://schemas.microsoft.com/office/drawing/2014/main" id="{5B60C26A-29B2-4337-9404-38C034C151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805305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5" name="Freeform 169">
              <a:extLst>
                <a:ext uri="{FF2B5EF4-FFF2-40B4-BE49-F238E27FC236}">
                  <a16:creationId xmlns:a16="http://schemas.microsoft.com/office/drawing/2014/main" id="{7FE4BF67-4C00-4CE8-9033-00A3AFE60A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6" name="Freeform 170">
              <a:extLst>
                <a:ext uri="{FF2B5EF4-FFF2-40B4-BE49-F238E27FC236}">
                  <a16:creationId xmlns:a16="http://schemas.microsoft.com/office/drawing/2014/main" id="{A0F19405-ADF4-43C2-8E96-7B997A8475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739468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7" name="Freeform 171">
              <a:extLst>
                <a:ext uri="{FF2B5EF4-FFF2-40B4-BE49-F238E27FC236}">
                  <a16:creationId xmlns:a16="http://schemas.microsoft.com/office/drawing/2014/main" id="{DAD53F3C-FD93-43F5-BFD6-B6AF605080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70336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8" name="Freeform 172">
              <a:extLst>
                <a:ext uri="{FF2B5EF4-FFF2-40B4-BE49-F238E27FC236}">
                  <a16:creationId xmlns:a16="http://schemas.microsoft.com/office/drawing/2014/main" id="{78EF35B6-4599-4F3C-9DDB-558C3A30B6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467363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39" name="Freeform 173">
              <a:extLst>
                <a:ext uri="{FF2B5EF4-FFF2-40B4-BE49-F238E27FC236}">
                  <a16:creationId xmlns:a16="http://schemas.microsoft.com/office/drawing/2014/main" id="{23940DDE-4750-4A98-8DC3-C349BCBE93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637528"/>
              <a:ext cx="36104" cy="21238"/>
            </a:xfrm>
            <a:custGeom>
              <a:avLst/>
              <a:gdLst>
                <a:gd name="T0" fmla="*/ 7 w 8"/>
                <a:gd name="T1" fmla="*/ 4 h 5"/>
                <a:gd name="T2" fmla="*/ 2 w 8"/>
                <a:gd name="T3" fmla="*/ 4 h 5"/>
                <a:gd name="T4" fmla="*/ 2 w 8"/>
                <a:gd name="T5" fmla="*/ 1 h 5"/>
                <a:gd name="T6" fmla="*/ 7 w 8"/>
                <a:gd name="T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8" y="3"/>
                    <a:pt x="7" y="4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0" name="Freeform 174">
              <a:extLst>
                <a:ext uri="{FF2B5EF4-FFF2-40B4-BE49-F238E27FC236}">
                  <a16:creationId xmlns:a16="http://schemas.microsoft.com/office/drawing/2014/main" id="{41375BE9-86D8-47EA-89E6-DE3A43D596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1061" y="487114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1" name="Freeform 175">
              <a:extLst>
                <a:ext uri="{FF2B5EF4-FFF2-40B4-BE49-F238E27FC236}">
                  <a16:creationId xmlns:a16="http://schemas.microsoft.com/office/drawing/2014/main" id="{2C42ED0F-04C7-448D-9C2A-A0CCE1B17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8402" y="4837161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2" name="Freeform 176">
              <a:extLst>
                <a:ext uri="{FF2B5EF4-FFF2-40B4-BE49-F238E27FC236}">
                  <a16:creationId xmlns:a16="http://schemas.microsoft.com/office/drawing/2014/main" id="{90985E43-9BB8-4CF7-9769-937A0D7891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805305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3" name="Freeform 177">
              <a:extLst>
                <a:ext uri="{FF2B5EF4-FFF2-40B4-BE49-F238E27FC236}">
                  <a16:creationId xmlns:a16="http://schemas.microsoft.com/office/drawing/2014/main" id="{1C10A77F-9D0A-4ED4-9797-2ED834FC93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4" name="Freeform 178">
              <a:extLst>
                <a:ext uri="{FF2B5EF4-FFF2-40B4-BE49-F238E27FC236}">
                  <a16:creationId xmlns:a16="http://schemas.microsoft.com/office/drawing/2014/main" id="{304FAD3A-5963-43EA-875D-E4152A7C52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739468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5" name="Freeform 179">
              <a:extLst>
                <a:ext uri="{FF2B5EF4-FFF2-40B4-BE49-F238E27FC236}">
                  <a16:creationId xmlns:a16="http://schemas.microsoft.com/office/drawing/2014/main" id="{8731BA91-346B-4F61-BD7B-D3E8B0B9FE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70336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6" name="Freeform 180">
              <a:extLst>
                <a:ext uri="{FF2B5EF4-FFF2-40B4-BE49-F238E27FC236}">
                  <a16:creationId xmlns:a16="http://schemas.microsoft.com/office/drawing/2014/main" id="{ADFEE6CD-589B-436D-A69A-1499F6CCBC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67363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7" name="Freeform 181">
              <a:extLst>
                <a:ext uri="{FF2B5EF4-FFF2-40B4-BE49-F238E27FC236}">
                  <a16:creationId xmlns:a16="http://schemas.microsoft.com/office/drawing/2014/main" id="{33EB0ED4-489B-4400-A4B3-57D3E0E8D2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637528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8" name="Freeform 182">
              <a:extLst>
                <a:ext uri="{FF2B5EF4-FFF2-40B4-BE49-F238E27FC236}">
                  <a16:creationId xmlns:a16="http://schemas.microsoft.com/office/drawing/2014/main" id="{C2037E4F-6257-43B0-941F-68917DFE71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3720" y="4837161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49" name="Freeform 183">
              <a:extLst>
                <a:ext uri="{FF2B5EF4-FFF2-40B4-BE49-F238E27FC236}">
                  <a16:creationId xmlns:a16="http://schemas.microsoft.com/office/drawing/2014/main" id="{F018E9EC-2CBD-4A61-8895-71FC4BB09B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1061" y="4805305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0" name="Freeform 184">
              <a:extLst>
                <a:ext uri="{FF2B5EF4-FFF2-40B4-BE49-F238E27FC236}">
                  <a16:creationId xmlns:a16="http://schemas.microsoft.com/office/drawing/2014/main" id="{19AC87A9-5646-4DB9-9C86-6AA0BBC08C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8402" y="4769201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1" name="Freeform 185">
              <a:extLst>
                <a:ext uri="{FF2B5EF4-FFF2-40B4-BE49-F238E27FC236}">
                  <a16:creationId xmlns:a16="http://schemas.microsoft.com/office/drawing/2014/main" id="{4441B0B5-1ED2-42EB-ADC6-EFD9EBA4BB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739468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2" name="Freeform 186">
              <a:extLst>
                <a:ext uri="{FF2B5EF4-FFF2-40B4-BE49-F238E27FC236}">
                  <a16:creationId xmlns:a16="http://schemas.microsoft.com/office/drawing/2014/main" id="{1907FB5E-3C9C-463C-88B2-F7554897B7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70336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3" name="Freeform 187">
              <a:extLst>
                <a:ext uri="{FF2B5EF4-FFF2-40B4-BE49-F238E27FC236}">
                  <a16:creationId xmlns:a16="http://schemas.microsoft.com/office/drawing/2014/main" id="{2A43BD06-B25B-42DB-A5B6-D2D7E87B4B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67363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4" name="Freeform 188">
              <a:extLst>
                <a:ext uri="{FF2B5EF4-FFF2-40B4-BE49-F238E27FC236}">
                  <a16:creationId xmlns:a16="http://schemas.microsoft.com/office/drawing/2014/main" id="{A084DEE0-181F-4988-A0D6-2E6D276AA9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637528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5" name="Freeform 189">
              <a:extLst>
                <a:ext uri="{FF2B5EF4-FFF2-40B4-BE49-F238E27FC236}">
                  <a16:creationId xmlns:a16="http://schemas.microsoft.com/office/drawing/2014/main" id="{C60745D0-83C7-4520-BBF4-D71F3085F6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605672"/>
              <a:ext cx="36104" cy="19114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6" name="Freeform 190">
              <a:extLst>
                <a:ext uri="{FF2B5EF4-FFF2-40B4-BE49-F238E27FC236}">
                  <a16:creationId xmlns:a16="http://schemas.microsoft.com/office/drawing/2014/main" id="{6B2137C7-8FE1-4B20-9868-F869109751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26378" y="4805305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7" name="Freeform 191">
              <a:extLst>
                <a:ext uri="{FF2B5EF4-FFF2-40B4-BE49-F238E27FC236}">
                  <a16:creationId xmlns:a16="http://schemas.microsoft.com/office/drawing/2014/main" id="{246E5934-EEA3-4AEA-BAE4-1F8C75709B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3720" y="4769201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8" name="Freeform 192">
              <a:extLst>
                <a:ext uri="{FF2B5EF4-FFF2-40B4-BE49-F238E27FC236}">
                  <a16:creationId xmlns:a16="http://schemas.microsoft.com/office/drawing/2014/main" id="{593246CA-55A7-4842-9FBF-2FCD7596BD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1061" y="4739468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59" name="Freeform 193">
              <a:extLst>
                <a:ext uri="{FF2B5EF4-FFF2-40B4-BE49-F238E27FC236}">
                  <a16:creationId xmlns:a16="http://schemas.microsoft.com/office/drawing/2014/main" id="{06F31918-9D3A-450E-B63B-3C5239BF4F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8402" y="4703365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0" name="Freeform 194">
              <a:extLst>
                <a:ext uri="{FF2B5EF4-FFF2-40B4-BE49-F238E27FC236}">
                  <a16:creationId xmlns:a16="http://schemas.microsoft.com/office/drawing/2014/main" id="{84EA8890-4746-4843-ACAA-816C7340C0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673632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1" name="Freeform 195">
              <a:extLst>
                <a:ext uri="{FF2B5EF4-FFF2-40B4-BE49-F238E27FC236}">
                  <a16:creationId xmlns:a16="http://schemas.microsoft.com/office/drawing/2014/main" id="{77E109FF-E946-4C43-A812-79E6A1A6DF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637528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2" name="Freeform 196">
              <a:extLst>
                <a:ext uri="{FF2B5EF4-FFF2-40B4-BE49-F238E27FC236}">
                  <a16:creationId xmlns:a16="http://schemas.microsoft.com/office/drawing/2014/main" id="{0D4EC683-5960-44A2-86EF-A208485D54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605672"/>
              <a:ext cx="36104" cy="19114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3" name="Freeform 197">
              <a:extLst>
                <a:ext uri="{FF2B5EF4-FFF2-40B4-BE49-F238E27FC236}">
                  <a16:creationId xmlns:a16="http://schemas.microsoft.com/office/drawing/2014/main" id="{7AAC709E-B81A-46C4-ABCC-18608BDAB6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571692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4" name="Freeform 198">
              <a:extLst>
                <a:ext uri="{FF2B5EF4-FFF2-40B4-BE49-F238E27FC236}">
                  <a16:creationId xmlns:a16="http://schemas.microsoft.com/office/drawing/2014/main" id="{73502022-8419-4E2A-BF63-4529E00330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9037" y="4769201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5" name="Freeform 199">
              <a:extLst>
                <a:ext uri="{FF2B5EF4-FFF2-40B4-BE49-F238E27FC236}">
                  <a16:creationId xmlns:a16="http://schemas.microsoft.com/office/drawing/2014/main" id="{23187AEE-6271-4A6C-B860-406115E78A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26378" y="4739468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6" name="Freeform 200">
              <a:extLst>
                <a:ext uri="{FF2B5EF4-FFF2-40B4-BE49-F238E27FC236}">
                  <a16:creationId xmlns:a16="http://schemas.microsoft.com/office/drawing/2014/main" id="{9104102F-F866-414B-B2CC-DCDC9553EC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3720" y="4703365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7" name="Freeform 201">
              <a:extLst>
                <a:ext uri="{FF2B5EF4-FFF2-40B4-BE49-F238E27FC236}">
                  <a16:creationId xmlns:a16="http://schemas.microsoft.com/office/drawing/2014/main" id="{7BB35126-B1F0-4387-BDD8-983180ED89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1061" y="4673632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8" name="Freeform 202">
              <a:extLst>
                <a:ext uri="{FF2B5EF4-FFF2-40B4-BE49-F238E27FC236}">
                  <a16:creationId xmlns:a16="http://schemas.microsoft.com/office/drawing/2014/main" id="{0911802E-BEB8-452D-89FA-1D5C54D148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8402" y="4637528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69" name="Freeform 203">
              <a:extLst>
                <a:ext uri="{FF2B5EF4-FFF2-40B4-BE49-F238E27FC236}">
                  <a16:creationId xmlns:a16="http://schemas.microsoft.com/office/drawing/2014/main" id="{4B1098B1-0B6F-461C-BF0C-F893EABD3F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605672"/>
              <a:ext cx="36104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70" name="Freeform 204">
              <a:extLst>
                <a:ext uri="{FF2B5EF4-FFF2-40B4-BE49-F238E27FC236}">
                  <a16:creationId xmlns:a16="http://schemas.microsoft.com/office/drawing/2014/main" id="{7F0FF029-5EEE-4D5A-8A19-B38316A307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571692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7" name="Group 406">
              <a:extLst>
                <a:ext uri="{FF2B5EF4-FFF2-40B4-BE49-F238E27FC236}">
                  <a16:creationId xmlns:a16="http://schemas.microsoft.com/office/drawing/2014/main" id="{3FE0BD51-1A1A-46BA-82C9-9C286D0A05DB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5939672" y="4372058"/>
              <a:ext cx="2565493" cy="1276376"/>
              <a:chOff x="3899" y="2181"/>
              <a:chExt cx="1208" cy="601"/>
            </a:xfrm>
          </p:grpSpPr>
          <p:sp>
            <p:nvSpPr>
              <p:cNvPr id="10971" name="Freeform 206">
                <a:extLst>
                  <a:ext uri="{FF2B5EF4-FFF2-40B4-BE49-F238E27FC236}">
                    <a16:creationId xmlns:a16="http://schemas.microsoft.com/office/drawing/2014/main" id="{C16E14C4-FDC1-48A7-90D7-ED6603D569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96" y="226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72" name="Freeform 207">
                <a:extLst>
                  <a:ext uri="{FF2B5EF4-FFF2-40B4-BE49-F238E27FC236}">
                    <a16:creationId xmlns:a16="http://schemas.microsoft.com/office/drawing/2014/main" id="{5600DADD-6913-42CC-A4C5-C22BDB62E6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35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73" name="Freeform 208">
                <a:extLst>
                  <a:ext uri="{FF2B5EF4-FFF2-40B4-BE49-F238E27FC236}">
                    <a16:creationId xmlns:a16="http://schemas.microsoft.com/office/drawing/2014/main" id="{AC5321B1-5E9B-45B9-B243-4358738EE1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33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74" name="Freeform 209">
                <a:extLst>
                  <a:ext uri="{FF2B5EF4-FFF2-40B4-BE49-F238E27FC236}">
                    <a16:creationId xmlns:a16="http://schemas.microsoft.com/office/drawing/2014/main" id="{9B046425-ADC2-40F9-B30C-E989D15AF0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323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75" name="Freeform 210">
                <a:extLst>
                  <a:ext uri="{FF2B5EF4-FFF2-40B4-BE49-F238E27FC236}">
                    <a16:creationId xmlns:a16="http://schemas.microsoft.com/office/drawing/2014/main" id="{053B70DE-A2CB-4DB7-A976-2B61EE4549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30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76" name="Freeform 211">
                <a:extLst>
                  <a:ext uri="{FF2B5EF4-FFF2-40B4-BE49-F238E27FC236}">
                    <a16:creationId xmlns:a16="http://schemas.microsoft.com/office/drawing/2014/main" id="{5FB10B1E-4748-43BF-9924-B5A297EC89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88" y="2291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77" name="Freeform 212">
                <a:extLst>
                  <a:ext uri="{FF2B5EF4-FFF2-40B4-BE49-F238E27FC236}">
                    <a16:creationId xmlns:a16="http://schemas.microsoft.com/office/drawing/2014/main" id="{3B651BFD-E2E2-4385-B5E8-9B2DA147C8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5" y="227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78" name="Freeform 213">
                <a:extLst>
                  <a:ext uri="{FF2B5EF4-FFF2-40B4-BE49-F238E27FC236}">
                    <a16:creationId xmlns:a16="http://schemas.microsoft.com/office/drawing/2014/main" id="{8489C68C-6EF0-47CA-8A8C-501DAFCD05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42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79" name="Freeform 214">
                <a:extLst>
                  <a:ext uri="{FF2B5EF4-FFF2-40B4-BE49-F238E27FC236}">
                    <a16:creationId xmlns:a16="http://schemas.microsoft.com/office/drawing/2014/main" id="{13F825E9-E31F-4573-B7F2-3B27AB8826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69" y="224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0" name="Freeform 215">
                <a:extLst>
                  <a:ext uri="{FF2B5EF4-FFF2-40B4-BE49-F238E27FC236}">
                    <a16:creationId xmlns:a16="http://schemas.microsoft.com/office/drawing/2014/main" id="{81E90489-C68E-495A-BADC-9ADA9A982E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33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1" name="Freeform 216">
                <a:extLst>
                  <a:ext uri="{FF2B5EF4-FFF2-40B4-BE49-F238E27FC236}">
                    <a16:creationId xmlns:a16="http://schemas.microsoft.com/office/drawing/2014/main" id="{5FF5BDA8-A7D0-4418-B9BD-EE5CB6C885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323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2" name="Freeform 217">
                <a:extLst>
                  <a:ext uri="{FF2B5EF4-FFF2-40B4-BE49-F238E27FC236}">
                    <a16:creationId xmlns:a16="http://schemas.microsoft.com/office/drawing/2014/main" id="{E39630F0-9C57-41B8-8371-3D5D492A2A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30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3" name="Freeform 218">
                <a:extLst>
                  <a:ext uri="{FF2B5EF4-FFF2-40B4-BE49-F238E27FC236}">
                    <a16:creationId xmlns:a16="http://schemas.microsoft.com/office/drawing/2014/main" id="{BFC71C2D-CEA1-4F5D-8026-5D3C878075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291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4" name="Freeform 219">
                <a:extLst>
                  <a:ext uri="{FF2B5EF4-FFF2-40B4-BE49-F238E27FC236}">
                    <a16:creationId xmlns:a16="http://schemas.microsoft.com/office/drawing/2014/main" id="{39E66AED-E36D-44BE-B61C-C4ED329BB0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27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5" name="Freeform 220">
                <a:extLst>
                  <a:ext uri="{FF2B5EF4-FFF2-40B4-BE49-F238E27FC236}">
                    <a16:creationId xmlns:a16="http://schemas.microsoft.com/office/drawing/2014/main" id="{48F9BE10-7713-4ED0-8209-7F44A74FC2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88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6" name="Freeform 221">
                <a:extLst>
                  <a:ext uri="{FF2B5EF4-FFF2-40B4-BE49-F238E27FC236}">
                    <a16:creationId xmlns:a16="http://schemas.microsoft.com/office/drawing/2014/main" id="{C33A5924-4876-45A4-8C54-D8385E2C7A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5" y="224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7" name="Freeform 222">
                <a:extLst>
                  <a:ext uri="{FF2B5EF4-FFF2-40B4-BE49-F238E27FC236}">
                    <a16:creationId xmlns:a16="http://schemas.microsoft.com/office/drawing/2014/main" id="{502763D9-6F95-4A3B-B76A-23CB40563C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42" y="222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  <a:gd name="T10" fmla="*/ 6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8" name="Freeform 223">
                <a:extLst>
                  <a:ext uri="{FF2B5EF4-FFF2-40B4-BE49-F238E27FC236}">
                    <a16:creationId xmlns:a16="http://schemas.microsoft.com/office/drawing/2014/main" id="{5BB057A6-0E4A-441F-A112-C3B2C5A743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323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9" name="Freeform 224">
                <a:extLst>
                  <a:ext uri="{FF2B5EF4-FFF2-40B4-BE49-F238E27FC236}">
                    <a16:creationId xmlns:a16="http://schemas.microsoft.com/office/drawing/2014/main" id="{E539FFE7-B515-444A-BE46-2A386F4F39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30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0" name="Freeform 225">
                <a:extLst>
                  <a:ext uri="{FF2B5EF4-FFF2-40B4-BE49-F238E27FC236}">
                    <a16:creationId xmlns:a16="http://schemas.microsoft.com/office/drawing/2014/main" id="{0D2AE1DC-BAD8-4375-8F24-1C20DAE990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291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1" name="Freeform 226">
                <a:extLst>
                  <a:ext uri="{FF2B5EF4-FFF2-40B4-BE49-F238E27FC236}">
                    <a16:creationId xmlns:a16="http://schemas.microsoft.com/office/drawing/2014/main" id="{D11F013C-76BC-4310-845A-FA5E4AE104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27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2" name="Freeform 227">
                <a:extLst>
                  <a:ext uri="{FF2B5EF4-FFF2-40B4-BE49-F238E27FC236}">
                    <a16:creationId xmlns:a16="http://schemas.microsoft.com/office/drawing/2014/main" id="{1743EAC1-99B2-4E1C-B8E6-DB198BF40D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3" name="Freeform 228">
                <a:extLst>
                  <a:ext uri="{FF2B5EF4-FFF2-40B4-BE49-F238E27FC236}">
                    <a16:creationId xmlns:a16="http://schemas.microsoft.com/office/drawing/2014/main" id="{7D4534AB-0F22-4CFE-9B9B-C5FDE786CC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24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4" name="Freeform 229">
                <a:extLst>
                  <a:ext uri="{FF2B5EF4-FFF2-40B4-BE49-F238E27FC236}">
                    <a16:creationId xmlns:a16="http://schemas.microsoft.com/office/drawing/2014/main" id="{FB1CE34E-183F-40FE-9A9B-7DD8710C54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88" y="222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5" name="Freeform 230">
                <a:extLst>
                  <a:ext uri="{FF2B5EF4-FFF2-40B4-BE49-F238E27FC236}">
                    <a16:creationId xmlns:a16="http://schemas.microsoft.com/office/drawing/2014/main" id="{A4279BEB-1120-4E6D-83DC-463023076D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5" y="2212"/>
                <a:ext cx="17" cy="11"/>
              </a:xfrm>
              <a:custGeom>
                <a:avLst/>
                <a:gdLst>
                  <a:gd name="T0" fmla="*/ 6 w 8"/>
                  <a:gd name="T1" fmla="*/ 4 h 5"/>
                  <a:gd name="T2" fmla="*/ 2 w 8"/>
                  <a:gd name="T3" fmla="*/ 4 h 5"/>
                  <a:gd name="T4" fmla="*/ 2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6" name="Freeform 231">
                <a:extLst>
                  <a:ext uri="{FF2B5EF4-FFF2-40B4-BE49-F238E27FC236}">
                    <a16:creationId xmlns:a16="http://schemas.microsoft.com/office/drawing/2014/main" id="{2CF238B8-32BF-4053-84CA-8D20CD86DA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99" y="230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7" name="Freeform 232">
                <a:extLst>
                  <a:ext uri="{FF2B5EF4-FFF2-40B4-BE49-F238E27FC236}">
                    <a16:creationId xmlns:a16="http://schemas.microsoft.com/office/drawing/2014/main" id="{1DA02B91-94F8-45CA-A5B9-D8BCD6BA30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291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8" name="Freeform 233">
                <a:extLst>
                  <a:ext uri="{FF2B5EF4-FFF2-40B4-BE49-F238E27FC236}">
                    <a16:creationId xmlns:a16="http://schemas.microsoft.com/office/drawing/2014/main" id="{EBCE031D-8005-4057-B826-1C71B9D223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27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9" name="Freeform 234">
                <a:extLst>
                  <a:ext uri="{FF2B5EF4-FFF2-40B4-BE49-F238E27FC236}">
                    <a16:creationId xmlns:a16="http://schemas.microsoft.com/office/drawing/2014/main" id="{D4FEDFB3-B2C0-4645-80D9-0B743F6F4D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0" name="Freeform 235">
                <a:extLst>
                  <a:ext uri="{FF2B5EF4-FFF2-40B4-BE49-F238E27FC236}">
                    <a16:creationId xmlns:a16="http://schemas.microsoft.com/office/drawing/2014/main" id="{585EC809-1DE2-47B1-9F22-2B1B197AAA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24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1" name="Freeform 236">
                <a:extLst>
                  <a:ext uri="{FF2B5EF4-FFF2-40B4-BE49-F238E27FC236}">
                    <a16:creationId xmlns:a16="http://schemas.microsoft.com/office/drawing/2014/main" id="{2D9795A3-0775-46ED-89E9-C0140EB2CE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227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2" name="Freeform 237">
                <a:extLst>
                  <a:ext uri="{FF2B5EF4-FFF2-40B4-BE49-F238E27FC236}">
                    <a16:creationId xmlns:a16="http://schemas.microsoft.com/office/drawing/2014/main" id="{F8E4BC40-72F3-4D11-BE89-42705491BA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212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3" name="Freeform 238">
                <a:extLst>
                  <a:ext uri="{FF2B5EF4-FFF2-40B4-BE49-F238E27FC236}">
                    <a16:creationId xmlns:a16="http://schemas.microsoft.com/office/drawing/2014/main" id="{D247AF4A-B614-4143-81C3-37BE398939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99" y="227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4" name="Freeform 239">
                <a:extLst>
                  <a:ext uri="{FF2B5EF4-FFF2-40B4-BE49-F238E27FC236}">
                    <a16:creationId xmlns:a16="http://schemas.microsoft.com/office/drawing/2014/main" id="{4F1D298B-3B84-4BB7-9CB4-A43CA23DBA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260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5" name="Freeform 240">
                <a:extLst>
                  <a:ext uri="{FF2B5EF4-FFF2-40B4-BE49-F238E27FC236}">
                    <a16:creationId xmlns:a16="http://schemas.microsoft.com/office/drawing/2014/main" id="{FBC8E523-4B27-4771-B19C-3D5FA96890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24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6" name="Freeform 241">
                <a:extLst>
                  <a:ext uri="{FF2B5EF4-FFF2-40B4-BE49-F238E27FC236}">
                    <a16:creationId xmlns:a16="http://schemas.microsoft.com/office/drawing/2014/main" id="{1D6CAD48-4C97-46B0-8B9D-87EF03FD16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227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7" name="Freeform 242">
                <a:extLst>
                  <a:ext uri="{FF2B5EF4-FFF2-40B4-BE49-F238E27FC236}">
                    <a16:creationId xmlns:a16="http://schemas.microsoft.com/office/drawing/2014/main" id="{F1DB503F-DF3C-4B92-BDF8-F1AF8AC92F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212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8" name="Freeform 243">
                <a:extLst>
                  <a:ext uri="{FF2B5EF4-FFF2-40B4-BE49-F238E27FC236}">
                    <a16:creationId xmlns:a16="http://schemas.microsoft.com/office/drawing/2014/main" id="{3A083A30-EFE5-4F59-AA72-C89CD59415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19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9" name="Freeform 244">
                <a:extLst>
                  <a:ext uri="{FF2B5EF4-FFF2-40B4-BE49-F238E27FC236}">
                    <a16:creationId xmlns:a16="http://schemas.microsoft.com/office/drawing/2014/main" id="{B714B015-C5B0-410F-9414-4A292B6676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99" y="224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0" name="Freeform 245">
                <a:extLst>
                  <a:ext uri="{FF2B5EF4-FFF2-40B4-BE49-F238E27FC236}">
                    <a16:creationId xmlns:a16="http://schemas.microsoft.com/office/drawing/2014/main" id="{18B4FB81-AC3E-43C5-AAF4-C550766EA7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22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1" name="Freeform 246">
                <a:extLst>
                  <a:ext uri="{FF2B5EF4-FFF2-40B4-BE49-F238E27FC236}">
                    <a16:creationId xmlns:a16="http://schemas.microsoft.com/office/drawing/2014/main" id="{DE84F25D-5B5F-4ACE-9B99-6097B78DE6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212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2" name="Freeform 247">
                <a:extLst>
                  <a:ext uri="{FF2B5EF4-FFF2-40B4-BE49-F238E27FC236}">
                    <a16:creationId xmlns:a16="http://schemas.microsoft.com/office/drawing/2014/main" id="{7E81B949-D9D2-4A26-836F-FA93654F22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19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3" name="Freeform 248">
                <a:extLst>
                  <a:ext uri="{FF2B5EF4-FFF2-40B4-BE49-F238E27FC236}">
                    <a16:creationId xmlns:a16="http://schemas.microsoft.com/office/drawing/2014/main" id="{0C559B80-F98D-408B-8599-C070AB661B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181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4" name="Freeform 249">
                <a:extLst>
                  <a:ext uri="{FF2B5EF4-FFF2-40B4-BE49-F238E27FC236}">
                    <a16:creationId xmlns:a16="http://schemas.microsoft.com/office/drawing/2014/main" id="{D7CE4884-9C42-444F-899F-AE3F495D41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772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5" name="Freeform 250">
                <a:extLst>
                  <a:ext uri="{FF2B5EF4-FFF2-40B4-BE49-F238E27FC236}">
                    <a16:creationId xmlns:a16="http://schemas.microsoft.com/office/drawing/2014/main" id="{C1A80748-3F2C-4F27-B5FC-785AD50F3F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757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6" name="Freeform 251">
                <a:extLst>
                  <a:ext uri="{FF2B5EF4-FFF2-40B4-BE49-F238E27FC236}">
                    <a16:creationId xmlns:a16="http://schemas.microsoft.com/office/drawing/2014/main" id="{362A4AF5-B1D5-4B5E-8685-EAAB0C8CD7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7" name="Freeform 252">
                <a:extLst>
                  <a:ext uri="{FF2B5EF4-FFF2-40B4-BE49-F238E27FC236}">
                    <a16:creationId xmlns:a16="http://schemas.microsoft.com/office/drawing/2014/main" id="{877DD6D8-44F9-46FD-AB63-5560EE592C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72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8" name="Freeform 253">
                <a:extLst>
                  <a:ext uri="{FF2B5EF4-FFF2-40B4-BE49-F238E27FC236}">
                    <a16:creationId xmlns:a16="http://schemas.microsoft.com/office/drawing/2014/main" id="{F3041BC5-1A4B-484D-8434-6B541CF332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9" name="Freeform 254">
                <a:extLst>
                  <a:ext uri="{FF2B5EF4-FFF2-40B4-BE49-F238E27FC236}">
                    <a16:creationId xmlns:a16="http://schemas.microsoft.com/office/drawing/2014/main" id="{5B7EFE9B-AB30-44FE-95F8-99A70D5DCE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9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0" name="Freeform 255">
                <a:extLst>
                  <a:ext uri="{FF2B5EF4-FFF2-40B4-BE49-F238E27FC236}">
                    <a16:creationId xmlns:a16="http://schemas.microsoft.com/office/drawing/2014/main" id="{67A96F9C-5165-41FE-B1B0-6D4CC9EED0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1" name="Freeform 256">
                <a:extLst>
                  <a:ext uri="{FF2B5EF4-FFF2-40B4-BE49-F238E27FC236}">
                    <a16:creationId xmlns:a16="http://schemas.microsoft.com/office/drawing/2014/main" id="{60A7CB72-FB4E-49D4-A824-36F72AA125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2" name="Freeform 257">
                <a:extLst>
                  <a:ext uri="{FF2B5EF4-FFF2-40B4-BE49-F238E27FC236}">
                    <a16:creationId xmlns:a16="http://schemas.microsoft.com/office/drawing/2014/main" id="{A15B8556-1FDB-4B0D-8DBC-C5919CB064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3" name="Freeform 258">
                <a:extLst>
                  <a:ext uri="{FF2B5EF4-FFF2-40B4-BE49-F238E27FC236}">
                    <a16:creationId xmlns:a16="http://schemas.microsoft.com/office/drawing/2014/main" id="{204FCC40-967F-4EDF-B459-3AC9AA1FC1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4" name="Freeform 259">
                <a:extLst>
                  <a:ext uri="{FF2B5EF4-FFF2-40B4-BE49-F238E27FC236}">
                    <a16:creationId xmlns:a16="http://schemas.microsoft.com/office/drawing/2014/main" id="{06348DF8-22D4-42DE-958D-9EE4D32C73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5" name="Freeform 260">
                <a:extLst>
                  <a:ext uri="{FF2B5EF4-FFF2-40B4-BE49-F238E27FC236}">
                    <a16:creationId xmlns:a16="http://schemas.microsoft.com/office/drawing/2014/main" id="{4FA355B3-5B81-4C2D-A7B8-C17179D15D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6" name="Freeform 261">
                <a:extLst>
                  <a:ext uri="{FF2B5EF4-FFF2-40B4-BE49-F238E27FC236}">
                    <a16:creationId xmlns:a16="http://schemas.microsoft.com/office/drawing/2014/main" id="{54227FD6-F658-47D9-835C-1DFFF6CF63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7" name="Freeform 262">
                <a:extLst>
                  <a:ext uri="{FF2B5EF4-FFF2-40B4-BE49-F238E27FC236}">
                    <a16:creationId xmlns:a16="http://schemas.microsoft.com/office/drawing/2014/main" id="{C20B9EDF-6205-4BA9-83D2-C72235EC16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8" name="Freeform 263">
                <a:extLst>
                  <a:ext uri="{FF2B5EF4-FFF2-40B4-BE49-F238E27FC236}">
                    <a16:creationId xmlns:a16="http://schemas.microsoft.com/office/drawing/2014/main" id="{4F842519-8D76-4D45-A57A-82AFA88575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9" name="Freeform 264">
                <a:extLst>
                  <a:ext uri="{FF2B5EF4-FFF2-40B4-BE49-F238E27FC236}">
                    <a16:creationId xmlns:a16="http://schemas.microsoft.com/office/drawing/2014/main" id="{F05719E3-EE6B-4C77-B619-AA0D6A0E6E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757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0" name="Freeform 265">
                <a:extLst>
                  <a:ext uri="{FF2B5EF4-FFF2-40B4-BE49-F238E27FC236}">
                    <a16:creationId xmlns:a16="http://schemas.microsoft.com/office/drawing/2014/main" id="{C1B1C212-11B9-4909-BDDF-C74255BB88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74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1" name="Freeform 266">
                <a:extLst>
                  <a:ext uri="{FF2B5EF4-FFF2-40B4-BE49-F238E27FC236}">
                    <a16:creationId xmlns:a16="http://schemas.microsoft.com/office/drawing/2014/main" id="{B98A1723-C4AF-406B-933F-DF575A0415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72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2" name="Freeform 267">
                <a:extLst>
                  <a:ext uri="{FF2B5EF4-FFF2-40B4-BE49-F238E27FC236}">
                    <a16:creationId xmlns:a16="http://schemas.microsoft.com/office/drawing/2014/main" id="{DEF94CAF-D900-4D1C-8215-2F07D72E11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3" name="Freeform 268">
                <a:extLst>
                  <a:ext uri="{FF2B5EF4-FFF2-40B4-BE49-F238E27FC236}">
                    <a16:creationId xmlns:a16="http://schemas.microsoft.com/office/drawing/2014/main" id="{42921DB3-075D-439F-A518-7036F89986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9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4" name="Freeform 269">
                <a:extLst>
                  <a:ext uri="{FF2B5EF4-FFF2-40B4-BE49-F238E27FC236}">
                    <a16:creationId xmlns:a16="http://schemas.microsoft.com/office/drawing/2014/main" id="{AD8C2F1B-A3FF-4F9F-99C2-C69B46D637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5" name="Freeform 270">
                <a:extLst>
                  <a:ext uri="{FF2B5EF4-FFF2-40B4-BE49-F238E27FC236}">
                    <a16:creationId xmlns:a16="http://schemas.microsoft.com/office/drawing/2014/main" id="{7CF4E52F-22EC-40EB-B2C2-FA3695A9E8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6" name="Freeform 271">
                <a:extLst>
                  <a:ext uri="{FF2B5EF4-FFF2-40B4-BE49-F238E27FC236}">
                    <a16:creationId xmlns:a16="http://schemas.microsoft.com/office/drawing/2014/main" id="{A377E8EB-6BDB-44B4-88FC-0E9F5BEAB6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7" name="Freeform 272">
                <a:extLst>
                  <a:ext uri="{FF2B5EF4-FFF2-40B4-BE49-F238E27FC236}">
                    <a16:creationId xmlns:a16="http://schemas.microsoft.com/office/drawing/2014/main" id="{F2AD139D-DE51-4BF5-AB49-4CC6C486C4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8" name="Freeform 273">
                <a:extLst>
                  <a:ext uri="{FF2B5EF4-FFF2-40B4-BE49-F238E27FC236}">
                    <a16:creationId xmlns:a16="http://schemas.microsoft.com/office/drawing/2014/main" id="{900D441F-5897-4147-B349-B780710EE8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9" name="Freeform 274">
                <a:extLst>
                  <a:ext uri="{FF2B5EF4-FFF2-40B4-BE49-F238E27FC236}">
                    <a16:creationId xmlns:a16="http://schemas.microsoft.com/office/drawing/2014/main" id="{213DF076-D98B-4810-BC87-1A98738661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0" name="Freeform 275">
                <a:extLst>
                  <a:ext uri="{FF2B5EF4-FFF2-40B4-BE49-F238E27FC236}">
                    <a16:creationId xmlns:a16="http://schemas.microsoft.com/office/drawing/2014/main" id="{5361C246-EE19-41D2-A720-1BDE8DEC94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1" name="Freeform 276">
                <a:extLst>
                  <a:ext uri="{FF2B5EF4-FFF2-40B4-BE49-F238E27FC236}">
                    <a16:creationId xmlns:a16="http://schemas.microsoft.com/office/drawing/2014/main" id="{ACDCEA79-A87D-4ACB-B0EE-FF73470A36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2" name="Freeform 277">
                <a:extLst>
                  <a:ext uri="{FF2B5EF4-FFF2-40B4-BE49-F238E27FC236}">
                    <a16:creationId xmlns:a16="http://schemas.microsoft.com/office/drawing/2014/main" id="{66FE9331-920B-4F81-BFAD-90DF13B0C5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3" name="Freeform 278">
                <a:extLst>
                  <a:ext uri="{FF2B5EF4-FFF2-40B4-BE49-F238E27FC236}">
                    <a16:creationId xmlns:a16="http://schemas.microsoft.com/office/drawing/2014/main" id="{F8BAC48D-5A6B-49AD-9382-08289FCF16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4" name="Freeform 279">
                <a:extLst>
                  <a:ext uri="{FF2B5EF4-FFF2-40B4-BE49-F238E27FC236}">
                    <a16:creationId xmlns:a16="http://schemas.microsoft.com/office/drawing/2014/main" id="{87A5D1BE-3AF2-414E-96F5-0F11730206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74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5" name="Freeform 280">
                <a:extLst>
                  <a:ext uri="{FF2B5EF4-FFF2-40B4-BE49-F238E27FC236}">
                    <a16:creationId xmlns:a16="http://schemas.microsoft.com/office/drawing/2014/main" id="{9117113C-6DF6-477B-9459-330A1B4D99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726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6" name="Freeform 281">
                <a:extLst>
                  <a:ext uri="{FF2B5EF4-FFF2-40B4-BE49-F238E27FC236}">
                    <a16:creationId xmlns:a16="http://schemas.microsoft.com/office/drawing/2014/main" id="{29C45884-AA3A-4DCB-89FC-47EC5CE657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709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7" name="Freeform 282">
                <a:extLst>
                  <a:ext uri="{FF2B5EF4-FFF2-40B4-BE49-F238E27FC236}">
                    <a16:creationId xmlns:a16="http://schemas.microsoft.com/office/drawing/2014/main" id="{6AFBE87E-6690-49C5-A713-6BFDAC9A99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9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8" name="Freeform 283">
                <a:extLst>
                  <a:ext uri="{FF2B5EF4-FFF2-40B4-BE49-F238E27FC236}">
                    <a16:creationId xmlns:a16="http://schemas.microsoft.com/office/drawing/2014/main" id="{F3FE49F6-1371-4D6F-9EC8-6E0E5322C2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9" name="Freeform 284">
                <a:extLst>
                  <a:ext uri="{FF2B5EF4-FFF2-40B4-BE49-F238E27FC236}">
                    <a16:creationId xmlns:a16="http://schemas.microsoft.com/office/drawing/2014/main" id="{FF098699-8E46-4ECD-A425-67DD44B199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0" name="Freeform 285">
                <a:extLst>
                  <a:ext uri="{FF2B5EF4-FFF2-40B4-BE49-F238E27FC236}">
                    <a16:creationId xmlns:a16="http://schemas.microsoft.com/office/drawing/2014/main" id="{E5D8DAAE-A53F-4DDF-BE81-2DDFBCE54D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1" name="Freeform 286">
                <a:extLst>
                  <a:ext uri="{FF2B5EF4-FFF2-40B4-BE49-F238E27FC236}">
                    <a16:creationId xmlns:a16="http://schemas.microsoft.com/office/drawing/2014/main" id="{5D402D9B-9414-4A9B-B111-78D3FC8CDD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2" name="Freeform 287">
                <a:extLst>
                  <a:ext uri="{FF2B5EF4-FFF2-40B4-BE49-F238E27FC236}">
                    <a16:creationId xmlns:a16="http://schemas.microsoft.com/office/drawing/2014/main" id="{2B0A1963-9F8B-459C-AAA8-6B75E45B65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3" name="Freeform 288">
                <a:extLst>
                  <a:ext uri="{FF2B5EF4-FFF2-40B4-BE49-F238E27FC236}">
                    <a16:creationId xmlns:a16="http://schemas.microsoft.com/office/drawing/2014/main" id="{03B5DF7A-E23A-4497-B0DB-EFD5A9EEC6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4" name="Freeform 289">
                <a:extLst>
                  <a:ext uri="{FF2B5EF4-FFF2-40B4-BE49-F238E27FC236}">
                    <a16:creationId xmlns:a16="http://schemas.microsoft.com/office/drawing/2014/main" id="{A059C722-605C-4507-8FB2-754E9EB662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5" name="Freeform 290">
                <a:extLst>
                  <a:ext uri="{FF2B5EF4-FFF2-40B4-BE49-F238E27FC236}">
                    <a16:creationId xmlns:a16="http://schemas.microsoft.com/office/drawing/2014/main" id="{5E4D5D10-F8A6-4FDE-BB02-24057E3FD9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6" name="Freeform 291">
                <a:extLst>
                  <a:ext uri="{FF2B5EF4-FFF2-40B4-BE49-F238E27FC236}">
                    <a16:creationId xmlns:a16="http://schemas.microsoft.com/office/drawing/2014/main" id="{1E19CB2F-C5E5-4E2F-9072-704CA17FDB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7" name="Freeform 292">
                <a:extLst>
                  <a:ext uri="{FF2B5EF4-FFF2-40B4-BE49-F238E27FC236}">
                    <a16:creationId xmlns:a16="http://schemas.microsoft.com/office/drawing/2014/main" id="{6051FAE3-DE18-4A2D-BD49-03954F3CE0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8" name="Freeform 293">
                <a:extLst>
                  <a:ext uri="{FF2B5EF4-FFF2-40B4-BE49-F238E27FC236}">
                    <a16:creationId xmlns:a16="http://schemas.microsoft.com/office/drawing/2014/main" id="{A8A72AF4-3006-4D78-AE05-0DF15641F2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9" name="Freeform 294">
                <a:extLst>
                  <a:ext uri="{FF2B5EF4-FFF2-40B4-BE49-F238E27FC236}">
                    <a16:creationId xmlns:a16="http://schemas.microsoft.com/office/drawing/2014/main" id="{3D3E60E6-069C-4650-A6BB-21A4685113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726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0" name="Freeform 295">
                <a:extLst>
                  <a:ext uri="{FF2B5EF4-FFF2-40B4-BE49-F238E27FC236}">
                    <a16:creationId xmlns:a16="http://schemas.microsoft.com/office/drawing/2014/main" id="{F0141B75-F261-47FE-AF28-63D33633E7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709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1" name="Freeform 296">
                <a:extLst>
                  <a:ext uri="{FF2B5EF4-FFF2-40B4-BE49-F238E27FC236}">
                    <a16:creationId xmlns:a16="http://schemas.microsoft.com/office/drawing/2014/main" id="{CDA03F1C-C1E7-4811-8A18-00D379D461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95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2" name="Freeform 297">
                <a:extLst>
                  <a:ext uri="{FF2B5EF4-FFF2-40B4-BE49-F238E27FC236}">
                    <a16:creationId xmlns:a16="http://schemas.microsoft.com/office/drawing/2014/main" id="{AE6D1556-8AA9-46AC-B489-B0F3674177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678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3" name="Freeform 298">
                <a:extLst>
                  <a:ext uri="{FF2B5EF4-FFF2-40B4-BE49-F238E27FC236}">
                    <a16:creationId xmlns:a16="http://schemas.microsoft.com/office/drawing/2014/main" id="{164CECBD-151C-41FA-8C9B-8CB76D003E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4" name="Freeform 299">
                <a:extLst>
                  <a:ext uri="{FF2B5EF4-FFF2-40B4-BE49-F238E27FC236}">
                    <a16:creationId xmlns:a16="http://schemas.microsoft.com/office/drawing/2014/main" id="{DF3D3A5B-ABD1-4BE7-970C-DA0A3AE7ED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5" name="Freeform 300">
                <a:extLst>
                  <a:ext uri="{FF2B5EF4-FFF2-40B4-BE49-F238E27FC236}">
                    <a16:creationId xmlns:a16="http://schemas.microsoft.com/office/drawing/2014/main" id="{6524ECD5-5433-410E-80C3-9C425E681D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6" name="Freeform 301">
                <a:extLst>
                  <a:ext uri="{FF2B5EF4-FFF2-40B4-BE49-F238E27FC236}">
                    <a16:creationId xmlns:a16="http://schemas.microsoft.com/office/drawing/2014/main" id="{5571F9F2-9EAF-4600-9E50-FB4FF261E0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7" name="Freeform 302">
                <a:extLst>
                  <a:ext uri="{FF2B5EF4-FFF2-40B4-BE49-F238E27FC236}">
                    <a16:creationId xmlns:a16="http://schemas.microsoft.com/office/drawing/2014/main" id="{DB04141F-B46E-4C76-8B00-1171EB54E9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8" name="Freeform 303">
                <a:extLst>
                  <a:ext uri="{FF2B5EF4-FFF2-40B4-BE49-F238E27FC236}">
                    <a16:creationId xmlns:a16="http://schemas.microsoft.com/office/drawing/2014/main" id="{8B4FDB28-E348-4BED-A3C9-CFA7D4A37F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9" name="Freeform 304">
                <a:extLst>
                  <a:ext uri="{FF2B5EF4-FFF2-40B4-BE49-F238E27FC236}">
                    <a16:creationId xmlns:a16="http://schemas.microsoft.com/office/drawing/2014/main" id="{04F9FC44-01D7-48CC-AEEB-7BCD89911C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0" name="Freeform 305">
                <a:extLst>
                  <a:ext uri="{FF2B5EF4-FFF2-40B4-BE49-F238E27FC236}">
                    <a16:creationId xmlns:a16="http://schemas.microsoft.com/office/drawing/2014/main" id="{493A6520-205D-42E9-B9AC-E9B17BBBA8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1" name="Freeform 306">
                <a:extLst>
                  <a:ext uri="{FF2B5EF4-FFF2-40B4-BE49-F238E27FC236}">
                    <a16:creationId xmlns:a16="http://schemas.microsoft.com/office/drawing/2014/main" id="{1CD3A6A4-95AC-4F5D-ACCC-ADEC1F1956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2" name="Freeform 307">
                <a:extLst>
                  <a:ext uri="{FF2B5EF4-FFF2-40B4-BE49-F238E27FC236}">
                    <a16:creationId xmlns:a16="http://schemas.microsoft.com/office/drawing/2014/main" id="{D72CF878-CF62-4472-B935-AFAA527238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3" name="Freeform 308">
                <a:extLst>
                  <a:ext uri="{FF2B5EF4-FFF2-40B4-BE49-F238E27FC236}">
                    <a16:creationId xmlns:a16="http://schemas.microsoft.com/office/drawing/2014/main" id="{BF034EF9-ACFD-46F4-8257-2C5C67DE32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709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4" name="Freeform 309">
                <a:extLst>
                  <a:ext uri="{FF2B5EF4-FFF2-40B4-BE49-F238E27FC236}">
                    <a16:creationId xmlns:a16="http://schemas.microsoft.com/office/drawing/2014/main" id="{0895F964-E4C1-4A94-960E-EFFD3ACA29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95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5" name="Freeform 310">
                <a:extLst>
                  <a:ext uri="{FF2B5EF4-FFF2-40B4-BE49-F238E27FC236}">
                    <a16:creationId xmlns:a16="http://schemas.microsoft.com/office/drawing/2014/main" id="{CF178FA4-76B5-4549-A371-1D8FE849B9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678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6" name="Freeform 311">
                <a:extLst>
                  <a:ext uri="{FF2B5EF4-FFF2-40B4-BE49-F238E27FC236}">
                    <a16:creationId xmlns:a16="http://schemas.microsoft.com/office/drawing/2014/main" id="{D892144D-7C22-4A16-8765-19EEE0173F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64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7" name="Freeform 312">
                <a:extLst>
                  <a:ext uri="{FF2B5EF4-FFF2-40B4-BE49-F238E27FC236}">
                    <a16:creationId xmlns:a16="http://schemas.microsoft.com/office/drawing/2014/main" id="{6FB1D043-AD50-4503-A217-48F58D0A5D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647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8" name="Freeform 313">
                <a:extLst>
                  <a:ext uri="{FF2B5EF4-FFF2-40B4-BE49-F238E27FC236}">
                    <a16:creationId xmlns:a16="http://schemas.microsoft.com/office/drawing/2014/main" id="{89BCC490-9F0E-4EF8-9935-61F272D109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9" name="Freeform 314">
                <a:extLst>
                  <a:ext uri="{FF2B5EF4-FFF2-40B4-BE49-F238E27FC236}">
                    <a16:creationId xmlns:a16="http://schemas.microsoft.com/office/drawing/2014/main" id="{3091690A-1F26-4832-BA90-61A14C5F46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0" name="Freeform 315">
                <a:extLst>
                  <a:ext uri="{FF2B5EF4-FFF2-40B4-BE49-F238E27FC236}">
                    <a16:creationId xmlns:a16="http://schemas.microsoft.com/office/drawing/2014/main" id="{BBE987AD-D8D7-4CED-A3E0-159D4C4EAE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1" name="Freeform 316">
                <a:extLst>
                  <a:ext uri="{FF2B5EF4-FFF2-40B4-BE49-F238E27FC236}">
                    <a16:creationId xmlns:a16="http://schemas.microsoft.com/office/drawing/2014/main" id="{CD9A40F1-D685-4400-82D2-BADBA5A30A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2" name="Freeform 317">
                <a:extLst>
                  <a:ext uri="{FF2B5EF4-FFF2-40B4-BE49-F238E27FC236}">
                    <a16:creationId xmlns:a16="http://schemas.microsoft.com/office/drawing/2014/main" id="{9EA38ABF-E695-48AE-B5A1-AADF216B58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3" name="Freeform 318">
                <a:extLst>
                  <a:ext uri="{FF2B5EF4-FFF2-40B4-BE49-F238E27FC236}">
                    <a16:creationId xmlns:a16="http://schemas.microsoft.com/office/drawing/2014/main" id="{E64E8F42-9FF4-4183-B885-E2A1D46DDF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4" name="Freeform 319">
                <a:extLst>
                  <a:ext uri="{FF2B5EF4-FFF2-40B4-BE49-F238E27FC236}">
                    <a16:creationId xmlns:a16="http://schemas.microsoft.com/office/drawing/2014/main" id="{65D11D62-F307-4B33-9BD2-23F651C254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5" name="Freeform 320">
                <a:extLst>
                  <a:ext uri="{FF2B5EF4-FFF2-40B4-BE49-F238E27FC236}">
                    <a16:creationId xmlns:a16="http://schemas.microsoft.com/office/drawing/2014/main" id="{C38DA636-BAF0-4C1D-85EF-98220F9605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6" name="Freeform 321">
                <a:extLst>
                  <a:ext uri="{FF2B5EF4-FFF2-40B4-BE49-F238E27FC236}">
                    <a16:creationId xmlns:a16="http://schemas.microsoft.com/office/drawing/2014/main" id="{BBC8C7D6-EFC0-4B0B-8B06-4F95DE256A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9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7" name="Freeform 322">
                <a:extLst>
                  <a:ext uri="{FF2B5EF4-FFF2-40B4-BE49-F238E27FC236}">
                    <a16:creationId xmlns:a16="http://schemas.microsoft.com/office/drawing/2014/main" id="{0208BAF8-0183-45F5-A227-A36F7BBFCD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67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8" name="Freeform 323">
                <a:extLst>
                  <a:ext uri="{FF2B5EF4-FFF2-40B4-BE49-F238E27FC236}">
                    <a16:creationId xmlns:a16="http://schemas.microsoft.com/office/drawing/2014/main" id="{7B8DF709-6E14-451A-B032-454B2D59E3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6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9" name="Freeform 324">
                <a:extLst>
                  <a:ext uri="{FF2B5EF4-FFF2-40B4-BE49-F238E27FC236}">
                    <a16:creationId xmlns:a16="http://schemas.microsoft.com/office/drawing/2014/main" id="{22F11EC0-D336-47DD-B2A6-612FC3D31B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0" name="Freeform 325">
                <a:extLst>
                  <a:ext uri="{FF2B5EF4-FFF2-40B4-BE49-F238E27FC236}">
                    <a16:creationId xmlns:a16="http://schemas.microsoft.com/office/drawing/2014/main" id="{AC6E3E4C-45B8-442C-B875-3F5EE7C261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1" name="Freeform 326">
                <a:extLst>
                  <a:ext uri="{FF2B5EF4-FFF2-40B4-BE49-F238E27FC236}">
                    <a16:creationId xmlns:a16="http://schemas.microsoft.com/office/drawing/2014/main" id="{0D595801-F95C-4B3D-9CD3-86866E5660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2" name="Freeform 327">
                <a:extLst>
                  <a:ext uri="{FF2B5EF4-FFF2-40B4-BE49-F238E27FC236}">
                    <a16:creationId xmlns:a16="http://schemas.microsoft.com/office/drawing/2014/main" id="{BEFF89A3-1347-40AF-940B-8A5B0C73B1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01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3" name="Freeform 328">
                <a:extLst>
                  <a:ext uri="{FF2B5EF4-FFF2-40B4-BE49-F238E27FC236}">
                    <a16:creationId xmlns:a16="http://schemas.microsoft.com/office/drawing/2014/main" id="{E23D8A71-1CE5-4C56-9E94-BA6C6B5A2D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4" name="Freeform 329">
                <a:extLst>
                  <a:ext uri="{FF2B5EF4-FFF2-40B4-BE49-F238E27FC236}">
                    <a16:creationId xmlns:a16="http://schemas.microsoft.com/office/drawing/2014/main" id="{86E02C15-DDB3-4DBC-A7D3-6BB56D0801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53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5" name="Freeform 330">
                <a:extLst>
                  <a:ext uri="{FF2B5EF4-FFF2-40B4-BE49-F238E27FC236}">
                    <a16:creationId xmlns:a16="http://schemas.microsoft.com/office/drawing/2014/main" id="{DFF11EA1-CC83-4F01-9FEC-AC31AD2EBF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6" name="Freeform 331">
                <a:extLst>
                  <a:ext uri="{FF2B5EF4-FFF2-40B4-BE49-F238E27FC236}">
                    <a16:creationId xmlns:a16="http://schemas.microsoft.com/office/drawing/2014/main" id="{987D2F27-6A9E-4F5F-AD30-0166DEB8D8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58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7" name="Freeform 332">
                <a:extLst>
                  <a:ext uri="{FF2B5EF4-FFF2-40B4-BE49-F238E27FC236}">
                    <a16:creationId xmlns:a16="http://schemas.microsoft.com/office/drawing/2014/main" id="{C4E455B0-832A-4B38-A4C4-ADE4DCEA6B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570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8" name="Freeform 333">
                <a:extLst>
                  <a:ext uri="{FF2B5EF4-FFF2-40B4-BE49-F238E27FC236}">
                    <a16:creationId xmlns:a16="http://schemas.microsoft.com/office/drawing/2014/main" id="{2D634633-2E84-4E17-ACDC-0494D17681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67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9" name="Freeform 334">
                <a:extLst>
                  <a:ext uri="{FF2B5EF4-FFF2-40B4-BE49-F238E27FC236}">
                    <a16:creationId xmlns:a16="http://schemas.microsoft.com/office/drawing/2014/main" id="{E1487486-BBDB-4B2D-8D0D-4DED7E88D3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6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0" name="Freeform 335">
                <a:extLst>
                  <a:ext uri="{FF2B5EF4-FFF2-40B4-BE49-F238E27FC236}">
                    <a16:creationId xmlns:a16="http://schemas.microsoft.com/office/drawing/2014/main" id="{E2EAE65A-FA68-47A4-B70F-3DD47C85A3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1" name="Freeform 336">
                <a:extLst>
                  <a:ext uri="{FF2B5EF4-FFF2-40B4-BE49-F238E27FC236}">
                    <a16:creationId xmlns:a16="http://schemas.microsoft.com/office/drawing/2014/main" id="{7BC3E380-ABCC-4A05-A248-F1FC4A6E34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2" name="Freeform 337">
                <a:extLst>
                  <a:ext uri="{FF2B5EF4-FFF2-40B4-BE49-F238E27FC236}">
                    <a16:creationId xmlns:a16="http://schemas.microsoft.com/office/drawing/2014/main" id="{8124BD5F-D383-47E1-A740-CA5EDED87F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3" name="Freeform 338">
                <a:extLst>
                  <a:ext uri="{FF2B5EF4-FFF2-40B4-BE49-F238E27FC236}">
                    <a16:creationId xmlns:a16="http://schemas.microsoft.com/office/drawing/2014/main" id="{3CDBBD5B-C6F2-48E3-B38A-38B4ABD0F6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4" name="Freeform 339">
                <a:extLst>
                  <a:ext uri="{FF2B5EF4-FFF2-40B4-BE49-F238E27FC236}">
                    <a16:creationId xmlns:a16="http://schemas.microsoft.com/office/drawing/2014/main" id="{43984CDD-DDCB-4D74-960E-C5A30E4E93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5" name="Freeform 340">
                <a:extLst>
                  <a:ext uri="{FF2B5EF4-FFF2-40B4-BE49-F238E27FC236}">
                    <a16:creationId xmlns:a16="http://schemas.microsoft.com/office/drawing/2014/main" id="{3D48539E-F026-49B4-B94E-797C4E65E2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53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6" name="Freeform 341">
                <a:extLst>
                  <a:ext uri="{FF2B5EF4-FFF2-40B4-BE49-F238E27FC236}">
                    <a16:creationId xmlns:a16="http://schemas.microsoft.com/office/drawing/2014/main" id="{96C0F221-4FB0-4552-8317-78FF002FEE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7" name="Freeform 342">
                <a:extLst>
                  <a:ext uri="{FF2B5EF4-FFF2-40B4-BE49-F238E27FC236}">
                    <a16:creationId xmlns:a16="http://schemas.microsoft.com/office/drawing/2014/main" id="{E0CB14C2-A5F8-41DF-89F8-7B346A43B7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50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8" name="Freeform 343">
                <a:extLst>
                  <a:ext uri="{FF2B5EF4-FFF2-40B4-BE49-F238E27FC236}">
                    <a16:creationId xmlns:a16="http://schemas.microsoft.com/office/drawing/2014/main" id="{A86EB5F9-2507-4B1F-AC27-28D91EE1A0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9" name="Freeform 344">
                <a:extLst>
                  <a:ext uri="{FF2B5EF4-FFF2-40B4-BE49-F238E27FC236}">
                    <a16:creationId xmlns:a16="http://schemas.microsoft.com/office/drawing/2014/main" id="{39426DDD-294A-46F5-8011-3C42EFCD47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570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0" name="Freeform 345">
                <a:extLst>
                  <a:ext uri="{FF2B5EF4-FFF2-40B4-BE49-F238E27FC236}">
                    <a16:creationId xmlns:a16="http://schemas.microsoft.com/office/drawing/2014/main" id="{D3777CD2-9305-40B2-9925-A722048996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66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1" name="Freeform 346">
                <a:extLst>
                  <a:ext uri="{FF2B5EF4-FFF2-40B4-BE49-F238E27FC236}">
                    <a16:creationId xmlns:a16="http://schemas.microsoft.com/office/drawing/2014/main" id="{E3897D2C-6072-4649-827C-13CD213CC0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2" name="Freeform 347">
                <a:extLst>
                  <a:ext uri="{FF2B5EF4-FFF2-40B4-BE49-F238E27FC236}">
                    <a16:creationId xmlns:a16="http://schemas.microsoft.com/office/drawing/2014/main" id="{07E7523B-7CCA-4905-B410-450B0F701C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3" name="Freeform 348">
                <a:extLst>
                  <a:ext uri="{FF2B5EF4-FFF2-40B4-BE49-F238E27FC236}">
                    <a16:creationId xmlns:a16="http://schemas.microsoft.com/office/drawing/2014/main" id="{73D76780-CEEF-44D5-9B7F-B414542588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4" name="Freeform 349">
                <a:extLst>
                  <a:ext uri="{FF2B5EF4-FFF2-40B4-BE49-F238E27FC236}">
                    <a16:creationId xmlns:a16="http://schemas.microsoft.com/office/drawing/2014/main" id="{B44F8E40-D144-481E-B1B8-CC8E7875E1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5" name="Freeform 350">
                <a:extLst>
                  <a:ext uri="{FF2B5EF4-FFF2-40B4-BE49-F238E27FC236}">
                    <a16:creationId xmlns:a16="http://schemas.microsoft.com/office/drawing/2014/main" id="{3C8E6E1B-E708-47B9-BE01-431C99F277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6" name="Freeform 351">
                <a:extLst>
                  <a:ext uri="{FF2B5EF4-FFF2-40B4-BE49-F238E27FC236}">
                    <a16:creationId xmlns:a16="http://schemas.microsoft.com/office/drawing/2014/main" id="{D27E53B4-EE89-4499-8E8C-7834AD3B9C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53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7" name="Freeform 352">
                <a:extLst>
                  <a:ext uri="{FF2B5EF4-FFF2-40B4-BE49-F238E27FC236}">
                    <a16:creationId xmlns:a16="http://schemas.microsoft.com/office/drawing/2014/main" id="{816479BC-9FF9-41A9-B0C1-7AB1DBF8EE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8" name="Freeform 353">
                <a:extLst>
                  <a:ext uri="{FF2B5EF4-FFF2-40B4-BE49-F238E27FC236}">
                    <a16:creationId xmlns:a16="http://schemas.microsoft.com/office/drawing/2014/main" id="{1E057A16-765E-4320-A446-2FEA451CF1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50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9" name="Freeform 354">
                <a:extLst>
                  <a:ext uri="{FF2B5EF4-FFF2-40B4-BE49-F238E27FC236}">
                    <a16:creationId xmlns:a16="http://schemas.microsoft.com/office/drawing/2014/main" id="{F7D46647-CEDD-40F9-B721-75A446531D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0" name="Freeform 355">
                <a:extLst>
                  <a:ext uri="{FF2B5EF4-FFF2-40B4-BE49-F238E27FC236}">
                    <a16:creationId xmlns:a16="http://schemas.microsoft.com/office/drawing/2014/main" id="{97F9B2FF-B649-4F0A-B45D-A20F110A22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1" name="Freeform 356">
                <a:extLst>
                  <a:ext uri="{FF2B5EF4-FFF2-40B4-BE49-F238E27FC236}">
                    <a16:creationId xmlns:a16="http://schemas.microsoft.com/office/drawing/2014/main" id="{F157B74D-43F8-4070-B504-835BCBE2DA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2" name="Freeform 357">
                <a:extLst>
                  <a:ext uri="{FF2B5EF4-FFF2-40B4-BE49-F238E27FC236}">
                    <a16:creationId xmlns:a16="http://schemas.microsoft.com/office/drawing/2014/main" id="{E4576FE8-A5F4-4A74-8F35-83FDA464E8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3" name="Freeform 358">
                <a:extLst>
                  <a:ext uri="{FF2B5EF4-FFF2-40B4-BE49-F238E27FC236}">
                    <a16:creationId xmlns:a16="http://schemas.microsoft.com/office/drawing/2014/main" id="{D5AA4D3C-1FD6-4F73-A1C9-9BBD916C56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4" name="Freeform 359">
                <a:extLst>
                  <a:ext uri="{FF2B5EF4-FFF2-40B4-BE49-F238E27FC236}">
                    <a16:creationId xmlns:a16="http://schemas.microsoft.com/office/drawing/2014/main" id="{84BA871A-2EC8-4CBB-B293-B7BFF9234F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5" name="Freeform 360">
                <a:extLst>
                  <a:ext uri="{FF2B5EF4-FFF2-40B4-BE49-F238E27FC236}">
                    <a16:creationId xmlns:a16="http://schemas.microsoft.com/office/drawing/2014/main" id="{FCE31F62-C640-482D-A5E3-4C1E5D1961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6" name="Freeform 361">
                <a:extLst>
                  <a:ext uri="{FF2B5EF4-FFF2-40B4-BE49-F238E27FC236}">
                    <a16:creationId xmlns:a16="http://schemas.microsoft.com/office/drawing/2014/main" id="{E7C1569A-02DF-4020-B291-57CAAEFE17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7" name="Freeform 362">
                <a:extLst>
                  <a:ext uri="{FF2B5EF4-FFF2-40B4-BE49-F238E27FC236}">
                    <a16:creationId xmlns:a16="http://schemas.microsoft.com/office/drawing/2014/main" id="{E93B8231-3745-47A3-894C-25DEFA1792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8" name="Freeform 363">
                <a:extLst>
                  <a:ext uri="{FF2B5EF4-FFF2-40B4-BE49-F238E27FC236}">
                    <a16:creationId xmlns:a16="http://schemas.microsoft.com/office/drawing/2014/main" id="{B8EC7CE2-11E7-416B-A6CF-BC6404942E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9" name="Freeform 364">
                <a:extLst>
                  <a:ext uri="{FF2B5EF4-FFF2-40B4-BE49-F238E27FC236}">
                    <a16:creationId xmlns:a16="http://schemas.microsoft.com/office/drawing/2014/main" id="{5D6976EC-A60C-43E7-B13D-3A98DB2976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50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0" name="Freeform 365">
                <a:extLst>
                  <a:ext uri="{FF2B5EF4-FFF2-40B4-BE49-F238E27FC236}">
                    <a16:creationId xmlns:a16="http://schemas.microsoft.com/office/drawing/2014/main" id="{C2399E1E-E6BB-4CE8-B9E4-7FE9AACAE1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1" name="Freeform 366">
                <a:extLst>
                  <a:ext uri="{FF2B5EF4-FFF2-40B4-BE49-F238E27FC236}">
                    <a16:creationId xmlns:a16="http://schemas.microsoft.com/office/drawing/2014/main" id="{52F3BF24-BE59-49A8-B273-9A35F2A51C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  <a:gd name="T10" fmla="*/ 6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2" name="Freeform 367">
                <a:extLst>
                  <a:ext uri="{FF2B5EF4-FFF2-40B4-BE49-F238E27FC236}">
                    <a16:creationId xmlns:a16="http://schemas.microsoft.com/office/drawing/2014/main" id="{A4ECE46C-E35E-470B-9B22-8B8B0F7B2E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3" name="Freeform 368">
                <a:extLst>
                  <a:ext uri="{FF2B5EF4-FFF2-40B4-BE49-F238E27FC236}">
                    <a16:creationId xmlns:a16="http://schemas.microsoft.com/office/drawing/2014/main" id="{D936C23C-7E87-4E7A-98F5-17C10D1D42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4" name="Freeform 369">
                <a:extLst>
                  <a:ext uri="{FF2B5EF4-FFF2-40B4-BE49-F238E27FC236}">
                    <a16:creationId xmlns:a16="http://schemas.microsoft.com/office/drawing/2014/main" id="{7C7FDB23-B9DE-4719-9D32-4CFEAB81BF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5" name="Freeform 370">
                <a:extLst>
                  <a:ext uri="{FF2B5EF4-FFF2-40B4-BE49-F238E27FC236}">
                    <a16:creationId xmlns:a16="http://schemas.microsoft.com/office/drawing/2014/main" id="{6E623ADB-BD71-48B5-8928-034E1BBDE5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6" name="Freeform 371">
                <a:extLst>
                  <a:ext uri="{FF2B5EF4-FFF2-40B4-BE49-F238E27FC236}">
                    <a16:creationId xmlns:a16="http://schemas.microsoft.com/office/drawing/2014/main" id="{D258C232-E9F0-4C46-ABCA-FB655A43DF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7" name="Freeform 372">
                <a:extLst>
                  <a:ext uri="{FF2B5EF4-FFF2-40B4-BE49-F238E27FC236}">
                    <a16:creationId xmlns:a16="http://schemas.microsoft.com/office/drawing/2014/main" id="{BB7E5559-13D4-4E94-89B3-DF4B9B82CB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8" name="Freeform 373">
                <a:extLst>
                  <a:ext uri="{FF2B5EF4-FFF2-40B4-BE49-F238E27FC236}">
                    <a16:creationId xmlns:a16="http://schemas.microsoft.com/office/drawing/2014/main" id="{3F7E4BD7-D3B2-4785-B461-9FEA41788D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9" name="Freeform 374">
                <a:extLst>
                  <a:ext uri="{FF2B5EF4-FFF2-40B4-BE49-F238E27FC236}">
                    <a16:creationId xmlns:a16="http://schemas.microsoft.com/office/drawing/2014/main" id="{02A566B5-5C61-4EA9-A0E6-FAED11242F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0" name="Freeform 375">
                <a:extLst>
                  <a:ext uri="{FF2B5EF4-FFF2-40B4-BE49-F238E27FC236}">
                    <a16:creationId xmlns:a16="http://schemas.microsoft.com/office/drawing/2014/main" id="{92BDED8D-B8B5-4A2A-92A9-DE9FE89D98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1" name="Freeform 376">
                <a:extLst>
                  <a:ext uri="{FF2B5EF4-FFF2-40B4-BE49-F238E27FC236}">
                    <a16:creationId xmlns:a16="http://schemas.microsoft.com/office/drawing/2014/main" id="{311F0BC0-D299-4067-8590-5264F50CE8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2" name="Freeform 377">
                <a:extLst>
                  <a:ext uri="{FF2B5EF4-FFF2-40B4-BE49-F238E27FC236}">
                    <a16:creationId xmlns:a16="http://schemas.microsoft.com/office/drawing/2014/main" id="{1132E5A8-D331-4537-855A-A8442ABC01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3" name="Freeform 378">
                <a:extLst>
                  <a:ext uri="{FF2B5EF4-FFF2-40B4-BE49-F238E27FC236}">
                    <a16:creationId xmlns:a16="http://schemas.microsoft.com/office/drawing/2014/main" id="{31B0E2BD-A158-4BAB-86B3-A712E96CA7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  <a:gd name="T10" fmla="*/ 6 w 8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4" name="Freeform 379">
                <a:extLst>
                  <a:ext uri="{FF2B5EF4-FFF2-40B4-BE49-F238E27FC236}">
                    <a16:creationId xmlns:a16="http://schemas.microsoft.com/office/drawing/2014/main" id="{E2B369E5-3467-4CF2-9C9A-F7E7B56250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5" name="Freeform 380">
                <a:extLst>
                  <a:ext uri="{FF2B5EF4-FFF2-40B4-BE49-F238E27FC236}">
                    <a16:creationId xmlns:a16="http://schemas.microsoft.com/office/drawing/2014/main" id="{68B94C0F-A227-4C90-BDC2-0A93520FA9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6" name="Freeform 381">
                <a:extLst>
                  <a:ext uri="{FF2B5EF4-FFF2-40B4-BE49-F238E27FC236}">
                    <a16:creationId xmlns:a16="http://schemas.microsoft.com/office/drawing/2014/main" id="{6307586A-2F60-4459-AE6E-78D312571F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7" name="Freeform 382">
                <a:extLst>
                  <a:ext uri="{FF2B5EF4-FFF2-40B4-BE49-F238E27FC236}">
                    <a16:creationId xmlns:a16="http://schemas.microsoft.com/office/drawing/2014/main" id="{8853DCB6-C97C-4EBD-8C71-048DE9D8BC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8" name="Freeform 383">
                <a:extLst>
                  <a:ext uri="{FF2B5EF4-FFF2-40B4-BE49-F238E27FC236}">
                    <a16:creationId xmlns:a16="http://schemas.microsoft.com/office/drawing/2014/main" id="{2252BADE-F465-492C-BB20-15D9B8DE97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9" name="Freeform 384">
                <a:extLst>
                  <a:ext uri="{FF2B5EF4-FFF2-40B4-BE49-F238E27FC236}">
                    <a16:creationId xmlns:a16="http://schemas.microsoft.com/office/drawing/2014/main" id="{1FE7BC81-1EA8-4853-B6D9-0D081A7143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0" name="Freeform 385">
                <a:extLst>
                  <a:ext uri="{FF2B5EF4-FFF2-40B4-BE49-F238E27FC236}">
                    <a16:creationId xmlns:a16="http://schemas.microsoft.com/office/drawing/2014/main" id="{8E4CE1CF-5682-4EBB-B394-DAC2A72110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1" name="Freeform 386">
                <a:extLst>
                  <a:ext uri="{FF2B5EF4-FFF2-40B4-BE49-F238E27FC236}">
                    <a16:creationId xmlns:a16="http://schemas.microsoft.com/office/drawing/2014/main" id="{9F8ECD07-8D9B-46A4-8AC9-518D4EFB19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2" name="Freeform 387">
                <a:extLst>
                  <a:ext uri="{FF2B5EF4-FFF2-40B4-BE49-F238E27FC236}">
                    <a16:creationId xmlns:a16="http://schemas.microsoft.com/office/drawing/2014/main" id="{F0F86998-71B8-4F18-BA9F-DF1784A36D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3" name="Freeform 388">
                <a:extLst>
                  <a:ext uri="{FF2B5EF4-FFF2-40B4-BE49-F238E27FC236}">
                    <a16:creationId xmlns:a16="http://schemas.microsoft.com/office/drawing/2014/main" id="{8739AE30-15ED-43C1-87DF-EC72D2B0BF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4" name="Freeform 389">
                <a:extLst>
                  <a:ext uri="{FF2B5EF4-FFF2-40B4-BE49-F238E27FC236}">
                    <a16:creationId xmlns:a16="http://schemas.microsoft.com/office/drawing/2014/main" id="{B045D744-7E13-49C3-B8DF-4157961BA3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5" name="Freeform 390">
                <a:extLst>
                  <a:ext uri="{FF2B5EF4-FFF2-40B4-BE49-F238E27FC236}">
                    <a16:creationId xmlns:a16="http://schemas.microsoft.com/office/drawing/2014/main" id="{8CF9B9AE-0325-4C1B-B8E0-13B291E2EB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445"/>
                <a:ext cx="17" cy="9"/>
              </a:xfrm>
              <a:custGeom>
                <a:avLst/>
                <a:gdLst>
                  <a:gd name="T0" fmla="*/ 6 w 8"/>
                  <a:gd name="T1" fmla="*/ 3 h 4"/>
                  <a:gd name="T2" fmla="*/ 1 w 8"/>
                  <a:gd name="T3" fmla="*/ 3 h 4"/>
                  <a:gd name="T4" fmla="*/ 1 w 8"/>
                  <a:gd name="T5" fmla="*/ 0 h 4"/>
                  <a:gd name="T6" fmla="*/ 6 w 8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6" y="3"/>
                    </a:move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8" y="3"/>
                      <a:pt x="6" y="3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6" name="Freeform 391">
                <a:extLst>
                  <a:ext uri="{FF2B5EF4-FFF2-40B4-BE49-F238E27FC236}">
                    <a16:creationId xmlns:a16="http://schemas.microsoft.com/office/drawing/2014/main" id="{56A35D81-C15B-4AB2-9E83-B74B5A9037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7" name="Freeform 392">
                <a:extLst>
                  <a:ext uri="{FF2B5EF4-FFF2-40B4-BE49-F238E27FC236}">
                    <a16:creationId xmlns:a16="http://schemas.microsoft.com/office/drawing/2014/main" id="{8B8B932A-8B91-41D9-B167-95566671E1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8" name="Freeform 393">
                <a:extLst>
                  <a:ext uri="{FF2B5EF4-FFF2-40B4-BE49-F238E27FC236}">
                    <a16:creationId xmlns:a16="http://schemas.microsoft.com/office/drawing/2014/main" id="{0BAE5FF7-363C-4CB3-8A0C-631AB0CB0A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601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9" name="Freeform 394">
                <a:extLst>
                  <a:ext uri="{FF2B5EF4-FFF2-40B4-BE49-F238E27FC236}">
                    <a16:creationId xmlns:a16="http://schemas.microsoft.com/office/drawing/2014/main" id="{BC76072C-5BB8-4B7D-AA5B-79C3D1B336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0" name="Freeform 395">
                <a:extLst>
                  <a:ext uri="{FF2B5EF4-FFF2-40B4-BE49-F238E27FC236}">
                    <a16:creationId xmlns:a16="http://schemas.microsoft.com/office/drawing/2014/main" id="{35A11D2D-32EC-4FCC-8ED4-C6CDC34F8F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1" name="Freeform 396">
                <a:extLst>
                  <a:ext uri="{FF2B5EF4-FFF2-40B4-BE49-F238E27FC236}">
                    <a16:creationId xmlns:a16="http://schemas.microsoft.com/office/drawing/2014/main" id="{8573EA2A-5149-4FDF-B743-EDEAD834A4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2" name="Freeform 397">
                <a:extLst>
                  <a:ext uri="{FF2B5EF4-FFF2-40B4-BE49-F238E27FC236}">
                    <a16:creationId xmlns:a16="http://schemas.microsoft.com/office/drawing/2014/main" id="{4E54AF07-3F89-4E02-AEC6-08E453A7A4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3" name="Freeform 398">
                <a:extLst>
                  <a:ext uri="{FF2B5EF4-FFF2-40B4-BE49-F238E27FC236}">
                    <a16:creationId xmlns:a16="http://schemas.microsoft.com/office/drawing/2014/main" id="{DF07FF3B-450A-4D6B-B044-545A339250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4" name="Freeform 399">
                <a:extLst>
                  <a:ext uri="{FF2B5EF4-FFF2-40B4-BE49-F238E27FC236}">
                    <a16:creationId xmlns:a16="http://schemas.microsoft.com/office/drawing/2014/main" id="{1B28530C-2C71-4359-BA66-46C4AEBDE1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5" name="Freeform 400">
                <a:extLst>
                  <a:ext uri="{FF2B5EF4-FFF2-40B4-BE49-F238E27FC236}">
                    <a16:creationId xmlns:a16="http://schemas.microsoft.com/office/drawing/2014/main" id="{0282F078-8C23-4142-A9D0-318F976F12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6" name="Freeform 401">
                <a:extLst>
                  <a:ext uri="{FF2B5EF4-FFF2-40B4-BE49-F238E27FC236}">
                    <a16:creationId xmlns:a16="http://schemas.microsoft.com/office/drawing/2014/main" id="{26B742D5-0F0E-45D0-B15E-9944CED6AF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7" name="Freeform 402">
                <a:extLst>
                  <a:ext uri="{FF2B5EF4-FFF2-40B4-BE49-F238E27FC236}">
                    <a16:creationId xmlns:a16="http://schemas.microsoft.com/office/drawing/2014/main" id="{F3F50C7E-CD39-4CA7-B381-314450DB8F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429"/>
                <a:ext cx="16" cy="10"/>
              </a:xfrm>
              <a:custGeom>
                <a:avLst/>
                <a:gdLst>
                  <a:gd name="T0" fmla="*/ 6 w 8"/>
                  <a:gd name="T1" fmla="*/ 4 h 5"/>
                  <a:gd name="T2" fmla="*/ 1 w 8"/>
                  <a:gd name="T3" fmla="*/ 4 h 5"/>
                  <a:gd name="T4" fmla="*/ 1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8" name="Freeform 403">
                <a:extLst>
                  <a:ext uri="{FF2B5EF4-FFF2-40B4-BE49-F238E27FC236}">
                    <a16:creationId xmlns:a16="http://schemas.microsoft.com/office/drawing/2014/main" id="{94423C1E-0879-43A1-A50F-669D5F8C01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9" name="Freeform 404">
                <a:extLst>
                  <a:ext uri="{FF2B5EF4-FFF2-40B4-BE49-F238E27FC236}">
                    <a16:creationId xmlns:a16="http://schemas.microsoft.com/office/drawing/2014/main" id="{9A7612D8-8178-4FC8-B831-213A3CDD1D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70" name="Freeform 405">
                <a:extLst>
                  <a:ext uri="{FF2B5EF4-FFF2-40B4-BE49-F238E27FC236}">
                    <a16:creationId xmlns:a16="http://schemas.microsoft.com/office/drawing/2014/main" id="{24282C9F-58B9-43E6-9046-38139B7E14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58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8" name="Group 607">
              <a:extLst>
                <a:ext uri="{FF2B5EF4-FFF2-40B4-BE49-F238E27FC236}">
                  <a16:creationId xmlns:a16="http://schemas.microsoft.com/office/drawing/2014/main" id="{52E9F6CD-BA5B-4982-81DB-D71BD53534E6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746698" y="4036505"/>
              <a:ext cx="3538172" cy="1178683"/>
              <a:chOff x="4279" y="2023"/>
              <a:chExt cx="1666" cy="555"/>
            </a:xfrm>
          </p:grpSpPr>
          <p:sp>
            <p:nvSpPr>
              <p:cNvPr id="10771" name="Freeform 407">
                <a:extLst>
                  <a:ext uri="{FF2B5EF4-FFF2-40B4-BE49-F238E27FC236}">
                    <a16:creationId xmlns:a16="http://schemas.microsoft.com/office/drawing/2014/main" id="{963334AA-4085-4BBC-BB5D-EE80D92DE8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570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2" name="Freeform 408">
                <a:extLst>
                  <a:ext uri="{FF2B5EF4-FFF2-40B4-BE49-F238E27FC236}">
                    <a16:creationId xmlns:a16="http://schemas.microsoft.com/office/drawing/2014/main" id="{5E177892-C0F5-4865-8A4F-6548C79F2C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3" name="Freeform 409">
                <a:extLst>
                  <a:ext uri="{FF2B5EF4-FFF2-40B4-BE49-F238E27FC236}">
                    <a16:creationId xmlns:a16="http://schemas.microsoft.com/office/drawing/2014/main" id="{5D58A607-6734-4FDE-B4A5-F3049C218F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4" name="Freeform 410">
                <a:extLst>
                  <a:ext uri="{FF2B5EF4-FFF2-40B4-BE49-F238E27FC236}">
                    <a16:creationId xmlns:a16="http://schemas.microsoft.com/office/drawing/2014/main" id="{CFB0409B-3F2E-492F-838A-ED3A62DCC8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5" name="Freeform 411">
                <a:extLst>
                  <a:ext uri="{FF2B5EF4-FFF2-40B4-BE49-F238E27FC236}">
                    <a16:creationId xmlns:a16="http://schemas.microsoft.com/office/drawing/2014/main" id="{03D7AE43-1F40-441F-AC8A-2D157CE292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6" name="Freeform 412">
                <a:extLst>
                  <a:ext uri="{FF2B5EF4-FFF2-40B4-BE49-F238E27FC236}">
                    <a16:creationId xmlns:a16="http://schemas.microsoft.com/office/drawing/2014/main" id="{C65A8EE0-13EE-443F-881E-90883CC591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7" name="Freeform 413">
                <a:extLst>
                  <a:ext uri="{FF2B5EF4-FFF2-40B4-BE49-F238E27FC236}">
                    <a16:creationId xmlns:a16="http://schemas.microsoft.com/office/drawing/2014/main" id="{317271AF-523D-4FBB-BFF2-B25FEC1391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8" name="Freeform 414">
                <a:extLst>
                  <a:ext uri="{FF2B5EF4-FFF2-40B4-BE49-F238E27FC236}">
                    <a16:creationId xmlns:a16="http://schemas.microsoft.com/office/drawing/2014/main" id="{52AB40B1-9250-4CCD-87B5-925B815112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9" name="Freeform 415">
                <a:extLst>
                  <a:ext uri="{FF2B5EF4-FFF2-40B4-BE49-F238E27FC236}">
                    <a16:creationId xmlns:a16="http://schemas.microsoft.com/office/drawing/2014/main" id="{9742B75F-BCF2-4996-AD87-C93FC016D4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0" name="Freeform 416">
                <a:extLst>
                  <a:ext uri="{FF2B5EF4-FFF2-40B4-BE49-F238E27FC236}">
                    <a16:creationId xmlns:a16="http://schemas.microsoft.com/office/drawing/2014/main" id="{05D8D8E4-5225-48D9-ABB4-027A3EBA67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1" name="Freeform 417">
                <a:extLst>
                  <a:ext uri="{FF2B5EF4-FFF2-40B4-BE49-F238E27FC236}">
                    <a16:creationId xmlns:a16="http://schemas.microsoft.com/office/drawing/2014/main" id="{5F3CEC15-2B37-4F39-8E4D-4C6F1D51D7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570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2" name="Freeform 418">
                <a:extLst>
                  <a:ext uri="{FF2B5EF4-FFF2-40B4-BE49-F238E27FC236}">
                    <a16:creationId xmlns:a16="http://schemas.microsoft.com/office/drawing/2014/main" id="{A265903B-9EE0-49B1-866F-6FB7335D93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3" name="Freeform 419">
                <a:extLst>
                  <a:ext uri="{FF2B5EF4-FFF2-40B4-BE49-F238E27FC236}">
                    <a16:creationId xmlns:a16="http://schemas.microsoft.com/office/drawing/2014/main" id="{99D5D587-3C95-45C2-8828-7E77C32F23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53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4" name="Freeform 420">
                <a:extLst>
                  <a:ext uri="{FF2B5EF4-FFF2-40B4-BE49-F238E27FC236}">
                    <a16:creationId xmlns:a16="http://schemas.microsoft.com/office/drawing/2014/main" id="{192A069F-F4A3-475D-92AB-3ADBE337ED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5" name="Freeform 421">
                <a:extLst>
                  <a:ext uri="{FF2B5EF4-FFF2-40B4-BE49-F238E27FC236}">
                    <a16:creationId xmlns:a16="http://schemas.microsoft.com/office/drawing/2014/main" id="{FDEE5353-AEB5-41E9-97B7-E6E95C8CFD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50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6" name="Freeform 422">
                <a:extLst>
                  <a:ext uri="{FF2B5EF4-FFF2-40B4-BE49-F238E27FC236}">
                    <a16:creationId xmlns:a16="http://schemas.microsoft.com/office/drawing/2014/main" id="{30C0CB14-BB2F-49DB-A369-12CAB3409E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7" name="Freeform 423">
                <a:extLst>
                  <a:ext uri="{FF2B5EF4-FFF2-40B4-BE49-F238E27FC236}">
                    <a16:creationId xmlns:a16="http://schemas.microsoft.com/office/drawing/2014/main" id="{D699D0A3-8CFC-4DBD-9C4D-208E08E396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8" name="Freeform 424">
                <a:extLst>
                  <a:ext uri="{FF2B5EF4-FFF2-40B4-BE49-F238E27FC236}">
                    <a16:creationId xmlns:a16="http://schemas.microsoft.com/office/drawing/2014/main" id="{84A33C1D-96D8-4CEF-A169-2DE85FDA75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9" name="Freeform 425">
                <a:extLst>
                  <a:ext uri="{FF2B5EF4-FFF2-40B4-BE49-F238E27FC236}">
                    <a16:creationId xmlns:a16="http://schemas.microsoft.com/office/drawing/2014/main" id="{047C4A72-68CC-4EA8-B81F-D460DA2E57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0" name="Freeform 426">
                <a:extLst>
                  <a:ext uri="{FF2B5EF4-FFF2-40B4-BE49-F238E27FC236}">
                    <a16:creationId xmlns:a16="http://schemas.microsoft.com/office/drawing/2014/main" id="{5F7D8FDB-91D0-4CE5-9769-5196F3EF3C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1" name="Freeform 427">
                <a:extLst>
                  <a:ext uri="{FF2B5EF4-FFF2-40B4-BE49-F238E27FC236}">
                    <a16:creationId xmlns:a16="http://schemas.microsoft.com/office/drawing/2014/main" id="{000015BB-DFA8-429C-812B-741C58024B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2" name="Freeform 428">
                <a:extLst>
                  <a:ext uri="{FF2B5EF4-FFF2-40B4-BE49-F238E27FC236}">
                    <a16:creationId xmlns:a16="http://schemas.microsoft.com/office/drawing/2014/main" id="{32A6B3E1-5FAE-4F18-BB38-F9F5F7CA97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33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3" name="Freeform 429">
                <a:extLst>
                  <a:ext uri="{FF2B5EF4-FFF2-40B4-BE49-F238E27FC236}">
                    <a16:creationId xmlns:a16="http://schemas.microsoft.com/office/drawing/2014/main" id="{DB62F532-1519-4BC4-8624-078BEF49A7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53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4" name="Freeform 430">
                <a:extLst>
                  <a:ext uri="{FF2B5EF4-FFF2-40B4-BE49-F238E27FC236}">
                    <a16:creationId xmlns:a16="http://schemas.microsoft.com/office/drawing/2014/main" id="{E873A36C-37E1-453E-8613-21B37D9F21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5" name="Freeform 431">
                <a:extLst>
                  <a:ext uri="{FF2B5EF4-FFF2-40B4-BE49-F238E27FC236}">
                    <a16:creationId xmlns:a16="http://schemas.microsoft.com/office/drawing/2014/main" id="{AE7273C8-BBCA-4E27-A881-281A4F4186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6" name="Freeform 432">
                <a:extLst>
                  <a:ext uri="{FF2B5EF4-FFF2-40B4-BE49-F238E27FC236}">
                    <a16:creationId xmlns:a16="http://schemas.microsoft.com/office/drawing/2014/main" id="{5EA8C6CA-CBEE-426A-B49E-2A13F38805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7" name="Freeform 433">
                <a:extLst>
                  <a:ext uri="{FF2B5EF4-FFF2-40B4-BE49-F238E27FC236}">
                    <a16:creationId xmlns:a16="http://schemas.microsoft.com/office/drawing/2014/main" id="{E5F25C5A-0B78-4EFF-AF71-980E379699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8" name="Freeform 434">
                <a:extLst>
                  <a:ext uri="{FF2B5EF4-FFF2-40B4-BE49-F238E27FC236}">
                    <a16:creationId xmlns:a16="http://schemas.microsoft.com/office/drawing/2014/main" id="{941A8D29-FCFE-4673-9377-A49F2240D0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9" name="Freeform 435">
                <a:extLst>
                  <a:ext uri="{FF2B5EF4-FFF2-40B4-BE49-F238E27FC236}">
                    <a16:creationId xmlns:a16="http://schemas.microsoft.com/office/drawing/2014/main" id="{AF5E43DE-92CB-4057-A821-E9EA1926F3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0" name="Freeform 436">
                <a:extLst>
                  <a:ext uri="{FF2B5EF4-FFF2-40B4-BE49-F238E27FC236}">
                    <a16:creationId xmlns:a16="http://schemas.microsoft.com/office/drawing/2014/main" id="{6DEAF268-EFEB-40E2-A4CB-74864462A7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1" name="Freeform 437">
                <a:extLst>
                  <a:ext uri="{FF2B5EF4-FFF2-40B4-BE49-F238E27FC236}">
                    <a16:creationId xmlns:a16="http://schemas.microsoft.com/office/drawing/2014/main" id="{8D578EA0-7211-430C-9341-254D9A263C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2" name="Freeform 438">
                <a:extLst>
                  <a:ext uri="{FF2B5EF4-FFF2-40B4-BE49-F238E27FC236}">
                    <a16:creationId xmlns:a16="http://schemas.microsoft.com/office/drawing/2014/main" id="{939E9C32-AE38-41AF-B28A-23209BE83A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39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3" name="Freeform 439">
                <a:extLst>
                  <a:ext uri="{FF2B5EF4-FFF2-40B4-BE49-F238E27FC236}">
                    <a16:creationId xmlns:a16="http://schemas.microsoft.com/office/drawing/2014/main" id="{E46B461D-13AA-47A2-B584-B899311D81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06" y="253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4" name="Freeform 440">
                <a:extLst>
                  <a:ext uri="{FF2B5EF4-FFF2-40B4-BE49-F238E27FC236}">
                    <a16:creationId xmlns:a16="http://schemas.microsoft.com/office/drawing/2014/main" id="{8FFC7E86-7C7E-453C-B50C-D9EF521069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33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5" name="Freeform 441">
                <a:extLst>
                  <a:ext uri="{FF2B5EF4-FFF2-40B4-BE49-F238E27FC236}">
                    <a16:creationId xmlns:a16="http://schemas.microsoft.com/office/drawing/2014/main" id="{11A84E68-733D-4AA7-9FBE-FF4DBA9932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6" name="Freeform 442">
                <a:extLst>
                  <a:ext uri="{FF2B5EF4-FFF2-40B4-BE49-F238E27FC236}">
                    <a16:creationId xmlns:a16="http://schemas.microsoft.com/office/drawing/2014/main" id="{1CA7A0CF-FB8C-4566-B0E1-D548DD4702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7" name="Freeform 443">
                <a:extLst>
                  <a:ext uri="{FF2B5EF4-FFF2-40B4-BE49-F238E27FC236}">
                    <a16:creationId xmlns:a16="http://schemas.microsoft.com/office/drawing/2014/main" id="{CEE88A81-0765-4EBF-9950-7FB1E82A2E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8" name="Freeform 444">
                <a:extLst>
                  <a:ext uri="{FF2B5EF4-FFF2-40B4-BE49-F238E27FC236}">
                    <a16:creationId xmlns:a16="http://schemas.microsoft.com/office/drawing/2014/main" id="{638731E6-0354-4DA0-A9D8-EF186DC7FD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9" name="Freeform 445">
                <a:extLst>
                  <a:ext uri="{FF2B5EF4-FFF2-40B4-BE49-F238E27FC236}">
                    <a16:creationId xmlns:a16="http://schemas.microsoft.com/office/drawing/2014/main" id="{41A1FE95-8362-4C67-A268-A2164DED19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0" name="Freeform 446">
                <a:extLst>
                  <a:ext uri="{FF2B5EF4-FFF2-40B4-BE49-F238E27FC236}">
                    <a16:creationId xmlns:a16="http://schemas.microsoft.com/office/drawing/2014/main" id="{E88B273B-F695-4326-9B1F-B4022B0878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1" name="Freeform 447">
                <a:extLst>
                  <a:ext uri="{FF2B5EF4-FFF2-40B4-BE49-F238E27FC236}">
                    <a16:creationId xmlns:a16="http://schemas.microsoft.com/office/drawing/2014/main" id="{9AF8B31C-EBFB-4AF7-BDDF-B1E87FA48D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2" name="Freeform 448">
                <a:extLst>
                  <a:ext uri="{FF2B5EF4-FFF2-40B4-BE49-F238E27FC236}">
                    <a16:creationId xmlns:a16="http://schemas.microsoft.com/office/drawing/2014/main" id="{DE134E81-5922-4D79-85CD-1990B60408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39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3" name="Freeform 449">
                <a:extLst>
                  <a:ext uri="{FF2B5EF4-FFF2-40B4-BE49-F238E27FC236}">
                    <a16:creationId xmlns:a16="http://schemas.microsoft.com/office/drawing/2014/main" id="{2AF06BF7-D792-4B2A-B4EB-E2C56257AF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383"/>
                <a:ext cx="16" cy="8"/>
              </a:xfrm>
              <a:custGeom>
                <a:avLst/>
                <a:gdLst>
                  <a:gd name="T0" fmla="*/ 6 w 8"/>
                  <a:gd name="T1" fmla="*/ 3 h 4"/>
                  <a:gd name="T2" fmla="*/ 1 w 8"/>
                  <a:gd name="T3" fmla="*/ 3 h 4"/>
                  <a:gd name="T4" fmla="*/ 1 w 8"/>
                  <a:gd name="T5" fmla="*/ 0 h 4"/>
                  <a:gd name="T6" fmla="*/ 6 w 8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6" y="3"/>
                    </a:move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8" y="2"/>
                      <a:pt x="6" y="3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4" name="Freeform 450">
                <a:extLst>
                  <a:ext uri="{FF2B5EF4-FFF2-40B4-BE49-F238E27FC236}">
                    <a16:creationId xmlns:a16="http://schemas.microsoft.com/office/drawing/2014/main" id="{FC2BC52E-9259-4F4D-AEF2-FE14211969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79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5" name="Freeform 451">
                <a:extLst>
                  <a:ext uri="{FF2B5EF4-FFF2-40B4-BE49-F238E27FC236}">
                    <a16:creationId xmlns:a16="http://schemas.microsoft.com/office/drawing/2014/main" id="{E5777D48-60D5-4688-BBEF-E4F5850D8A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06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6" name="Freeform 452">
                <a:extLst>
                  <a:ext uri="{FF2B5EF4-FFF2-40B4-BE49-F238E27FC236}">
                    <a16:creationId xmlns:a16="http://schemas.microsoft.com/office/drawing/2014/main" id="{42D85985-B320-442A-8D0F-2A873807CB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33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7" name="Freeform 453">
                <a:extLst>
                  <a:ext uri="{FF2B5EF4-FFF2-40B4-BE49-F238E27FC236}">
                    <a16:creationId xmlns:a16="http://schemas.microsoft.com/office/drawing/2014/main" id="{79F9DB87-E9EF-4ECE-A477-3E72889E82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8" name="Freeform 454">
                <a:extLst>
                  <a:ext uri="{FF2B5EF4-FFF2-40B4-BE49-F238E27FC236}">
                    <a16:creationId xmlns:a16="http://schemas.microsoft.com/office/drawing/2014/main" id="{C37FDDEF-B8DB-4F4A-95DB-4AA30B7491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9" name="Freeform 455">
                <a:extLst>
                  <a:ext uri="{FF2B5EF4-FFF2-40B4-BE49-F238E27FC236}">
                    <a16:creationId xmlns:a16="http://schemas.microsoft.com/office/drawing/2014/main" id="{F7764F67-7DB7-4E27-90A6-5A17985B62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0" name="Freeform 456">
                <a:extLst>
                  <a:ext uri="{FF2B5EF4-FFF2-40B4-BE49-F238E27FC236}">
                    <a16:creationId xmlns:a16="http://schemas.microsoft.com/office/drawing/2014/main" id="{800061EB-1240-488C-B4E9-BCC00F8BC0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1" name="Freeform 457">
                <a:extLst>
                  <a:ext uri="{FF2B5EF4-FFF2-40B4-BE49-F238E27FC236}">
                    <a16:creationId xmlns:a16="http://schemas.microsoft.com/office/drawing/2014/main" id="{1AA6B4DF-2BDA-47A7-A024-8060A1CB0C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2" name="Freeform 458">
                <a:extLst>
                  <a:ext uri="{FF2B5EF4-FFF2-40B4-BE49-F238E27FC236}">
                    <a16:creationId xmlns:a16="http://schemas.microsoft.com/office/drawing/2014/main" id="{DBF4D13D-F542-4400-9581-E51111852B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39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3" name="Freeform 459">
                <a:extLst>
                  <a:ext uri="{FF2B5EF4-FFF2-40B4-BE49-F238E27FC236}">
                    <a16:creationId xmlns:a16="http://schemas.microsoft.com/office/drawing/2014/main" id="{EE8EC7CC-5DFE-4D77-889B-69DCA9E73E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383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4" name="Freeform 460">
                <a:extLst>
                  <a:ext uri="{FF2B5EF4-FFF2-40B4-BE49-F238E27FC236}">
                    <a16:creationId xmlns:a16="http://schemas.microsoft.com/office/drawing/2014/main" id="{A01704E3-D21D-4DC4-8C2C-5BE3A34216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5" name="Freeform 461">
                <a:extLst>
                  <a:ext uri="{FF2B5EF4-FFF2-40B4-BE49-F238E27FC236}">
                    <a16:creationId xmlns:a16="http://schemas.microsoft.com/office/drawing/2014/main" id="{8BF00AC4-2BC9-4D51-85FC-CA45434DC1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6" name="Freeform 462">
                <a:extLst>
                  <a:ext uri="{FF2B5EF4-FFF2-40B4-BE49-F238E27FC236}">
                    <a16:creationId xmlns:a16="http://schemas.microsoft.com/office/drawing/2014/main" id="{86EEBD4D-8ACA-4940-BE42-4354CE894B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508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7" name="Freeform 463">
                <a:extLst>
                  <a:ext uri="{FF2B5EF4-FFF2-40B4-BE49-F238E27FC236}">
                    <a16:creationId xmlns:a16="http://schemas.microsoft.com/office/drawing/2014/main" id="{F9A1E8A0-C906-4D3A-810E-2FFDA2F62B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49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8" name="Freeform 464">
                <a:extLst>
                  <a:ext uri="{FF2B5EF4-FFF2-40B4-BE49-F238E27FC236}">
                    <a16:creationId xmlns:a16="http://schemas.microsoft.com/office/drawing/2014/main" id="{6556C791-70D8-4453-9137-30CDCB16BD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47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9" name="Freeform 465">
                <a:extLst>
                  <a:ext uri="{FF2B5EF4-FFF2-40B4-BE49-F238E27FC236}">
                    <a16:creationId xmlns:a16="http://schemas.microsoft.com/office/drawing/2014/main" id="{72479CFA-87EF-4E16-B371-E5F69EC00A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46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0" name="Freeform 466">
                <a:extLst>
                  <a:ext uri="{FF2B5EF4-FFF2-40B4-BE49-F238E27FC236}">
                    <a16:creationId xmlns:a16="http://schemas.microsoft.com/office/drawing/2014/main" id="{F2663623-1074-49B1-A5B0-B2CCC2F5BE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445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1" name="Freeform 467">
                <a:extLst>
                  <a:ext uri="{FF2B5EF4-FFF2-40B4-BE49-F238E27FC236}">
                    <a16:creationId xmlns:a16="http://schemas.microsoft.com/office/drawing/2014/main" id="{A0ED00FF-9EA2-46DE-B4E1-E2BEEC783F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429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2" name="Freeform 468">
                <a:extLst>
                  <a:ext uri="{FF2B5EF4-FFF2-40B4-BE49-F238E27FC236}">
                    <a16:creationId xmlns:a16="http://schemas.microsoft.com/office/drawing/2014/main" id="{5265A647-D0D9-4B50-96A7-872C4B9657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414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3" name="Freeform 469">
                <a:extLst>
                  <a:ext uri="{FF2B5EF4-FFF2-40B4-BE49-F238E27FC236}">
                    <a16:creationId xmlns:a16="http://schemas.microsoft.com/office/drawing/2014/main" id="{B6695B42-B861-495A-922E-0CCCAB8085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9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4" name="Freeform 470">
                <a:extLst>
                  <a:ext uri="{FF2B5EF4-FFF2-40B4-BE49-F238E27FC236}">
                    <a16:creationId xmlns:a16="http://schemas.microsoft.com/office/drawing/2014/main" id="{28652292-488D-4F81-AB84-2A27ED8974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38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5" name="Freeform 471">
                <a:extLst>
                  <a:ext uri="{FF2B5EF4-FFF2-40B4-BE49-F238E27FC236}">
                    <a16:creationId xmlns:a16="http://schemas.microsoft.com/office/drawing/2014/main" id="{15C60898-9E85-41D0-8819-67BEC04D6A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66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6" name="Freeform 472">
                <a:extLst>
                  <a:ext uri="{FF2B5EF4-FFF2-40B4-BE49-F238E27FC236}">
                    <a16:creationId xmlns:a16="http://schemas.microsoft.com/office/drawing/2014/main" id="{1B342904-121C-48E8-996E-4D38B87D13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35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7" name="Freeform 473">
                <a:extLst>
                  <a:ext uri="{FF2B5EF4-FFF2-40B4-BE49-F238E27FC236}">
                    <a16:creationId xmlns:a16="http://schemas.microsoft.com/office/drawing/2014/main" id="{128EB5CD-711E-4F33-A38B-713059D128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3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8" name="Freeform 474">
                <a:extLst>
                  <a:ext uri="{FF2B5EF4-FFF2-40B4-BE49-F238E27FC236}">
                    <a16:creationId xmlns:a16="http://schemas.microsoft.com/office/drawing/2014/main" id="{80C6C49E-7F3F-4F2C-BE5E-E4EE358E22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32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9" name="Freeform 475">
                <a:extLst>
                  <a:ext uri="{FF2B5EF4-FFF2-40B4-BE49-F238E27FC236}">
                    <a16:creationId xmlns:a16="http://schemas.microsoft.com/office/drawing/2014/main" id="{4F12D7F7-A1E1-4FB3-91A0-7263958E99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0" name="Freeform 476">
                <a:extLst>
                  <a:ext uri="{FF2B5EF4-FFF2-40B4-BE49-F238E27FC236}">
                    <a16:creationId xmlns:a16="http://schemas.microsoft.com/office/drawing/2014/main" id="{714C5C05-BBBC-446D-907C-B24F6EA7B4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522"/>
                <a:ext cx="17" cy="11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1" name="Freeform 477">
                <a:extLst>
                  <a:ext uri="{FF2B5EF4-FFF2-40B4-BE49-F238E27FC236}">
                    <a16:creationId xmlns:a16="http://schemas.microsoft.com/office/drawing/2014/main" id="{19238EDE-D90F-4D84-B74F-821BC1E179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508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2" name="Freeform 478">
                <a:extLst>
                  <a:ext uri="{FF2B5EF4-FFF2-40B4-BE49-F238E27FC236}">
                    <a16:creationId xmlns:a16="http://schemas.microsoft.com/office/drawing/2014/main" id="{6E542C33-3CFB-4592-8DC5-9117F233DA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49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3" name="Freeform 479">
                <a:extLst>
                  <a:ext uri="{FF2B5EF4-FFF2-40B4-BE49-F238E27FC236}">
                    <a16:creationId xmlns:a16="http://schemas.microsoft.com/office/drawing/2014/main" id="{290F9BB8-0FE8-4D56-A49D-88C3C96F0B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47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4" name="Freeform 480">
                <a:extLst>
                  <a:ext uri="{FF2B5EF4-FFF2-40B4-BE49-F238E27FC236}">
                    <a16:creationId xmlns:a16="http://schemas.microsoft.com/office/drawing/2014/main" id="{D19B08F5-6B4C-4E85-994C-9C1B598826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46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5" name="Freeform 481">
                <a:extLst>
                  <a:ext uri="{FF2B5EF4-FFF2-40B4-BE49-F238E27FC236}">
                    <a16:creationId xmlns:a16="http://schemas.microsoft.com/office/drawing/2014/main" id="{A1DBE4B9-195D-4622-8FCA-32D68C4995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445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6" name="Freeform 482">
                <a:extLst>
                  <a:ext uri="{FF2B5EF4-FFF2-40B4-BE49-F238E27FC236}">
                    <a16:creationId xmlns:a16="http://schemas.microsoft.com/office/drawing/2014/main" id="{E8A81A06-AD3C-4E3A-8ABC-30A96D38B4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42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7" name="Freeform 483">
                <a:extLst>
                  <a:ext uri="{FF2B5EF4-FFF2-40B4-BE49-F238E27FC236}">
                    <a16:creationId xmlns:a16="http://schemas.microsoft.com/office/drawing/2014/main" id="{C31B22CF-AD4C-4B9E-8A57-C213EAF744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414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8" name="Freeform 484">
                <a:extLst>
                  <a:ext uri="{FF2B5EF4-FFF2-40B4-BE49-F238E27FC236}">
                    <a16:creationId xmlns:a16="http://schemas.microsoft.com/office/drawing/2014/main" id="{BD74FC05-FE4F-48F4-BA36-779A49E617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97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9" name="Freeform 485">
                <a:extLst>
                  <a:ext uri="{FF2B5EF4-FFF2-40B4-BE49-F238E27FC236}">
                    <a16:creationId xmlns:a16="http://schemas.microsoft.com/office/drawing/2014/main" id="{0776DF73-84B1-4375-8C7D-D02B7B5ECE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383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0" name="Freeform 486">
                <a:extLst>
                  <a:ext uri="{FF2B5EF4-FFF2-40B4-BE49-F238E27FC236}">
                    <a16:creationId xmlns:a16="http://schemas.microsoft.com/office/drawing/2014/main" id="{1CB721FF-5D5D-4A36-B6DE-835D56D1D8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66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1" name="Freeform 487">
                <a:extLst>
                  <a:ext uri="{FF2B5EF4-FFF2-40B4-BE49-F238E27FC236}">
                    <a16:creationId xmlns:a16="http://schemas.microsoft.com/office/drawing/2014/main" id="{B481F5DC-401A-48F0-A518-7A7E190915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35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2" name="Freeform 488">
                <a:extLst>
                  <a:ext uri="{FF2B5EF4-FFF2-40B4-BE49-F238E27FC236}">
                    <a16:creationId xmlns:a16="http://schemas.microsoft.com/office/drawing/2014/main" id="{9B5E1C08-B3C2-4B24-A93F-972C96FE62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3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3" name="Freeform 489">
                <a:extLst>
                  <a:ext uri="{FF2B5EF4-FFF2-40B4-BE49-F238E27FC236}">
                    <a16:creationId xmlns:a16="http://schemas.microsoft.com/office/drawing/2014/main" id="{F56FB0AA-444E-4106-B2E8-41AF20BC1B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32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4" name="Freeform 490">
                <a:extLst>
                  <a:ext uri="{FF2B5EF4-FFF2-40B4-BE49-F238E27FC236}">
                    <a16:creationId xmlns:a16="http://schemas.microsoft.com/office/drawing/2014/main" id="{51937731-6582-4BF8-B5AD-9965186DBF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5" name="Freeform 491">
                <a:extLst>
                  <a:ext uri="{FF2B5EF4-FFF2-40B4-BE49-F238E27FC236}">
                    <a16:creationId xmlns:a16="http://schemas.microsoft.com/office/drawing/2014/main" id="{D74DAC70-945C-46B2-8392-FCF36F3294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289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6" name="Freeform 492">
                <a:extLst>
                  <a:ext uri="{FF2B5EF4-FFF2-40B4-BE49-F238E27FC236}">
                    <a16:creationId xmlns:a16="http://schemas.microsoft.com/office/drawing/2014/main" id="{C5481DE7-358A-414A-BAE2-650E0DA6CB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508"/>
                <a:ext cx="17" cy="8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4 h 4"/>
                  <a:gd name="T6" fmla="*/ 2 w 8"/>
                  <a:gd name="T7" fmla="*/ 4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7" name="Freeform 493">
                <a:extLst>
                  <a:ext uri="{FF2B5EF4-FFF2-40B4-BE49-F238E27FC236}">
                    <a16:creationId xmlns:a16="http://schemas.microsoft.com/office/drawing/2014/main" id="{4D93D514-D1CA-438E-993D-EF8DB6B0FE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49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8" name="Freeform 494">
                <a:extLst>
                  <a:ext uri="{FF2B5EF4-FFF2-40B4-BE49-F238E27FC236}">
                    <a16:creationId xmlns:a16="http://schemas.microsoft.com/office/drawing/2014/main" id="{63F5A1B2-7277-4715-9EC0-958ED302AC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47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9" name="Freeform 495">
                <a:extLst>
                  <a:ext uri="{FF2B5EF4-FFF2-40B4-BE49-F238E27FC236}">
                    <a16:creationId xmlns:a16="http://schemas.microsoft.com/office/drawing/2014/main" id="{DBD644D8-9DF8-41F0-ABF2-BD14C88F8F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46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0" name="Freeform 496">
                <a:extLst>
                  <a:ext uri="{FF2B5EF4-FFF2-40B4-BE49-F238E27FC236}">
                    <a16:creationId xmlns:a16="http://schemas.microsoft.com/office/drawing/2014/main" id="{E0038954-F586-4E15-B21B-55F4590EEA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445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1" name="Freeform 497">
                <a:extLst>
                  <a:ext uri="{FF2B5EF4-FFF2-40B4-BE49-F238E27FC236}">
                    <a16:creationId xmlns:a16="http://schemas.microsoft.com/office/drawing/2014/main" id="{22D366EF-7399-4A49-A5CC-AC91C99F49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42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2" name="Freeform 498">
                <a:extLst>
                  <a:ext uri="{FF2B5EF4-FFF2-40B4-BE49-F238E27FC236}">
                    <a16:creationId xmlns:a16="http://schemas.microsoft.com/office/drawing/2014/main" id="{6FB8FBCA-7A58-4823-9F14-7CA8AEADEA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41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3" name="Freeform 499">
                <a:extLst>
                  <a:ext uri="{FF2B5EF4-FFF2-40B4-BE49-F238E27FC236}">
                    <a16:creationId xmlns:a16="http://schemas.microsoft.com/office/drawing/2014/main" id="{40D08082-7F4B-425D-8E5B-EBADB62A3F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9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4" name="Freeform 500">
                <a:extLst>
                  <a:ext uri="{FF2B5EF4-FFF2-40B4-BE49-F238E27FC236}">
                    <a16:creationId xmlns:a16="http://schemas.microsoft.com/office/drawing/2014/main" id="{7C65865A-800C-4C5D-9D4C-3A3AB2E3B0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383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5" name="Freeform 501">
                <a:extLst>
                  <a:ext uri="{FF2B5EF4-FFF2-40B4-BE49-F238E27FC236}">
                    <a16:creationId xmlns:a16="http://schemas.microsoft.com/office/drawing/2014/main" id="{C18B2201-D15F-44BA-8AE4-E559A2CAD6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66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6" name="Freeform 502">
                <a:extLst>
                  <a:ext uri="{FF2B5EF4-FFF2-40B4-BE49-F238E27FC236}">
                    <a16:creationId xmlns:a16="http://schemas.microsoft.com/office/drawing/2014/main" id="{B797FE8B-6860-4591-B32D-3B3A772A40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352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7" name="Freeform 503">
                <a:extLst>
                  <a:ext uri="{FF2B5EF4-FFF2-40B4-BE49-F238E27FC236}">
                    <a16:creationId xmlns:a16="http://schemas.microsoft.com/office/drawing/2014/main" id="{7CF17465-CF49-4410-A9EC-DF9113EE7F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3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8" name="Freeform 504">
                <a:extLst>
                  <a:ext uri="{FF2B5EF4-FFF2-40B4-BE49-F238E27FC236}">
                    <a16:creationId xmlns:a16="http://schemas.microsoft.com/office/drawing/2014/main" id="{4681F749-503D-40BF-AEAB-D950F11A20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32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9" name="Freeform 505">
                <a:extLst>
                  <a:ext uri="{FF2B5EF4-FFF2-40B4-BE49-F238E27FC236}">
                    <a16:creationId xmlns:a16="http://schemas.microsoft.com/office/drawing/2014/main" id="{D6FE6BEE-0CE8-47B4-BF70-CD43491994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0" name="Freeform 506">
                <a:extLst>
                  <a:ext uri="{FF2B5EF4-FFF2-40B4-BE49-F238E27FC236}">
                    <a16:creationId xmlns:a16="http://schemas.microsoft.com/office/drawing/2014/main" id="{21CA6A65-0DA4-4C7F-BBD6-7CBCC7ABEB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289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1" name="Freeform 507">
                <a:extLst>
                  <a:ext uri="{FF2B5EF4-FFF2-40B4-BE49-F238E27FC236}">
                    <a16:creationId xmlns:a16="http://schemas.microsoft.com/office/drawing/2014/main" id="{417806B4-57D4-4F69-AC8E-9693BDAC67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2" name="Freeform 508">
                <a:extLst>
                  <a:ext uri="{FF2B5EF4-FFF2-40B4-BE49-F238E27FC236}">
                    <a16:creationId xmlns:a16="http://schemas.microsoft.com/office/drawing/2014/main" id="{1E25D7FF-CCF8-45DC-8049-F5877537CF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460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  <a:gd name="T10" fmla="*/ 2 w 8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3" name="Freeform 509">
                <a:extLst>
                  <a:ext uri="{FF2B5EF4-FFF2-40B4-BE49-F238E27FC236}">
                    <a16:creationId xmlns:a16="http://schemas.microsoft.com/office/drawing/2014/main" id="{D8CF3311-270F-44E9-A3BF-F23AB3CCB1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445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4" name="Freeform 510">
                <a:extLst>
                  <a:ext uri="{FF2B5EF4-FFF2-40B4-BE49-F238E27FC236}">
                    <a16:creationId xmlns:a16="http://schemas.microsoft.com/office/drawing/2014/main" id="{079C61C5-E305-44C3-B09D-7A5A71510F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42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5" name="Freeform 511">
                <a:extLst>
                  <a:ext uri="{FF2B5EF4-FFF2-40B4-BE49-F238E27FC236}">
                    <a16:creationId xmlns:a16="http://schemas.microsoft.com/office/drawing/2014/main" id="{282258AA-4E78-4FC1-8335-79C487770E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41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6" name="Freeform 512">
                <a:extLst>
                  <a:ext uri="{FF2B5EF4-FFF2-40B4-BE49-F238E27FC236}">
                    <a16:creationId xmlns:a16="http://schemas.microsoft.com/office/drawing/2014/main" id="{2120298C-AF10-4591-B9D5-1BB54C300C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39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7" name="Freeform 513">
                <a:extLst>
                  <a:ext uri="{FF2B5EF4-FFF2-40B4-BE49-F238E27FC236}">
                    <a16:creationId xmlns:a16="http://schemas.microsoft.com/office/drawing/2014/main" id="{54639C5D-353A-4058-9CF1-99F4C11A0B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383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8" name="Freeform 514">
                <a:extLst>
                  <a:ext uri="{FF2B5EF4-FFF2-40B4-BE49-F238E27FC236}">
                    <a16:creationId xmlns:a16="http://schemas.microsoft.com/office/drawing/2014/main" id="{56886A12-D5E8-4A38-BC7B-7C0278C1F6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66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9" name="Freeform 515">
                <a:extLst>
                  <a:ext uri="{FF2B5EF4-FFF2-40B4-BE49-F238E27FC236}">
                    <a16:creationId xmlns:a16="http://schemas.microsoft.com/office/drawing/2014/main" id="{7724B5B4-BA48-4FA1-99EF-93FD4F8F5E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352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0" name="Freeform 516">
                <a:extLst>
                  <a:ext uri="{FF2B5EF4-FFF2-40B4-BE49-F238E27FC236}">
                    <a16:creationId xmlns:a16="http://schemas.microsoft.com/office/drawing/2014/main" id="{2F49C777-0CF8-43D3-97E4-2869E35460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35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1" name="Freeform 517">
                <a:extLst>
                  <a:ext uri="{FF2B5EF4-FFF2-40B4-BE49-F238E27FC236}">
                    <a16:creationId xmlns:a16="http://schemas.microsoft.com/office/drawing/2014/main" id="{EF3F7B5F-FE4D-4BE3-9C4F-A6FBB0444E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321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2" name="Freeform 518">
                <a:extLst>
                  <a:ext uri="{FF2B5EF4-FFF2-40B4-BE49-F238E27FC236}">
                    <a16:creationId xmlns:a16="http://schemas.microsoft.com/office/drawing/2014/main" id="{206E0389-BCEE-4912-8133-4B02F8E183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3" name="Freeform 519">
                <a:extLst>
                  <a:ext uri="{FF2B5EF4-FFF2-40B4-BE49-F238E27FC236}">
                    <a16:creationId xmlns:a16="http://schemas.microsoft.com/office/drawing/2014/main" id="{808FBAF1-7186-4F64-A4A1-0563DA486A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289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4" name="Freeform 520">
                <a:extLst>
                  <a:ext uri="{FF2B5EF4-FFF2-40B4-BE49-F238E27FC236}">
                    <a16:creationId xmlns:a16="http://schemas.microsoft.com/office/drawing/2014/main" id="{DAA3DE03-3E05-4702-B0B3-C84169FB80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5" name="Freeform 521">
                <a:extLst>
                  <a:ext uri="{FF2B5EF4-FFF2-40B4-BE49-F238E27FC236}">
                    <a16:creationId xmlns:a16="http://schemas.microsoft.com/office/drawing/2014/main" id="{3CB356AE-230F-4A5A-A32D-E83B07761C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6" name="Freeform 522">
                <a:extLst>
                  <a:ext uri="{FF2B5EF4-FFF2-40B4-BE49-F238E27FC236}">
                    <a16:creationId xmlns:a16="http://schemas.microsoft.com/office/drawing/2014/main" id="{936A4023-326A-40CB-9936-7491F8BEFD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397"/>
                <a:ext cx="17" cy="11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7" name="Freeform 523">
                <a:extLst>
                  <a:ext uri="{FF2B5EF4-FFF2-40B4-BE49-F238E27FC236}">
                    <a16:creationId xmlns:a16="http://schemas.microsoft.com/office/drawing/2014/main" id="{5D265A9A-E6D3-4805-A836-EBFDD3137F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383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8" name="Freeform 524">
                <a:extLst>
                  <a:ext uri="{FF2B5EF4-FFF2-40B4-BE49-F238E27FC236}">
                    <a16:creationId xmlns:a16="http://schemas.microsoft.com/office/drawing/2014/main" id="{F9EB963D-A8EA-4605-8788-01FAC49148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366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9" name="Freeform 525">
                <a:extLst>
                  <a:ext uri="{FF2B5EF4-FFF2-40B4-BE49-F238E27FC236}">
                    <a16:creationId xmlns:a16="http://schemas.microsoft.com/office/drawing/2014/main" id="{2805BB5D-E98F-4D49-B979-71B67AB3E1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352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0" name="Freeform 526">
                <a:extLst>
                  <a:ext uri="{FF2B5EF4-FFF2-40B4-BE49-F238E27FC236}">
                    <a16:creationId xmlns:a16="http://schemas.microsoft.com/office/drawing/2014/main" id="{FB44B341-2C49-4EA3-BFE8-615D19BD0B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3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1" name="Freeform 527">
                <a:extLst>
                  <a:ext uri="{FF2B5EF4-FFF2-40B4-BE49-F238E27FC236}">
                    <a16:creationId xmlns:a16="http://schemas.microsoft.com/office/drawing/2014/main" id="{E46FA1B8-865D-4521-89C4-F9D2133BBD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321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2" name="Freeform 528">
                <a:extLst>
                  <a:ext uri="{FF2B5EF4-FFF2-40B4-BE49-F238E27FC236}">
                    <a16:creationId xmlns:a16="http://schemas.microsoft.com/office/drawing/2014/main" id="{1B3D4172-17F8-4625-8CEE-75DBF96F91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04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3" name="Freeform 529">
                <a:extLst>
                  <a:ext uri="{FF2B5EF4-FFF2-40B4-BE49-F238E27FC236}">
                    <a16:creationId xmlns:a16="http://schemas.microsoft.com/office/drawing/2014/main" id="{E659FC50-173C-4184-9B26-EB4F311D5F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289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4" name="Freeform 530">
                <a:extLst>
                  <a:ext uri="{FF2B5EF4-FFF2-40B4-BE49-F238E27FC236}">
                    <a16:creationId xmlns:a16="http://schemas.microsoft.com/office/drawing/2014/main" id="{0261A933-9A42-43D4-A341-2AA0E9EA7B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5" name="Freeform 531">
                <a:extLst>
                  <a:ext uri="{FF2B5EF4-FFF2-40B4-BE49-F238E27FC236}">
                    <a16:creationId xmlns:a16="http://schemas.microsoft.com/office/drawing/2014/main" id="{83307A4A-B4D9-45F1-8539-F95D45F154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4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6" name="Freeform 532">
                <a:extLst>
                  <a:ext uri="{FF2B5EF4-FFF2-40B4-BE49-F238E27FC236}">
                    <a16:creationId xmlns:a16="http://schemas.microsoft.com/office/drawing/2014/main" id="{70F7EAD0-8222-4052-A16C-8F94B0FCC4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7" name="Freeform 533">
                <a:extLst>
                  <a:ext uri="{FF2B5EF4-FFF2-40B4-BE49-F238E27FC236}">
                    <a16:creationId xmlns:a16="http://schemas.microsoft.com/office/drawing/2014/main" id="{0461708C-1588-4448-AC18-D4427E4241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32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7 w 8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8" name="Freeform 534">
                <a:extLst>
                  <a:ext uri="{FF2B5EF4-FFF2-40B4-BE49-F238E27FC236}">
                    <a16:creationId xmlns:a16="http://schemas.microsoft.com/office/drawing/2014/main" id="{566E1EB3-FE83-4C8F-9525-98296B7115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0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7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9" name="Freeform 535">
                <a:extLst>
                  <a:ext uri="{FF2B5EF4-FFF2-40B4-BE49-F238E27FC236}">
                    <a16:creationId xmlns:a16="http://schemas.microsoft.com/office/drawing/2014/main" id="{C0C21F43-F411-484A-9BF5-2007731686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289"/>
                <a:ext cx="16" cy="9"/>
              </a:xfrm>
              <a:custGeom>
                <a:avLst/>
                <a:gdLst>
                  <a:gd name="T0" fmla="*/ 2 w 8"/>
                  <a:gd name="T1" fmla="*/ 0 h 4"/>
                  <a:gd name="T2" fmla="*/ 7 w 8"/>
                  <a:gd name="T3" fmla="*/ 0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0 h 4"/>
                  <a:gd name="T10" fmla="*/ 2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cubicBezTo>
                      <a:pt x="3" y="0"/>
                      <a:pt x="5" y="0"/>
                      <a:pt x="7" y="0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0" y="1"/>
                      <a:pt x="2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0" name="Freeform 536">
                <a:extLst>
                  <a:ext uri="{FF2B5EF4-FFF2-40B4-BE49-F238E27FC236}">
                    <a16:creationId xmlns:a16="http://schemas.microsoft.com/office/drawing/2014/main" id="{75296F87-88AE-4B7B-9FB2-7B4A512316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273"/>
                <a:ext cx="16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  <a:gd name="T10" fmla="*/ 2 w 8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1" name="Freeform 537">
                <a:extLst>
                  <a:ext uri="{FF2B5EF4-FFF2-40B4-BE49-F238E27FC236}">
                    <a16:creationId xmlns:a16="http://schemas.microsoft.com/office/drawing/2014/main" id="{44331435-0C40-4CAA-A460-40C25641F8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258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2" name="Freeform 538">
                <a:extLst>
                  <a:ext uri="{FF2B5EF4-FFF2-40B4-BE49-F238E27FC236}">
                    <a16:creationId xmlns:a16="http://schemas.microsoft.com/office/drawing/2014/main" id="{3F9D585D-9D4B-45AB-B373-BDD76D3736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1" y="2242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3" name="Freeform 539">
                <a:extLst>
                  <a:ext uri="{FF2B5EF4-FFF2-40B4-BE49-F238E27FC236}">
                    <a16:creationId xmlns:a16="http://schemas.microsoft.com/office/drawing/2014/main" id="{A0BABDC2-EB0D-4127-B069-C8220D0F54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8" y="2227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4" name="Freeform 540">
                <a:extLst>
                  <a:ext uri="{FF2B5EF4-FFF2-40B4-BE49-F238E27FC236}">
                    <a16:creationId xmlns:a16="http://schemas.microsoft.com/office/drawing/2014/main" id="{6E659AAB-CC9E-4A34-8E63-95E6482F34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289"/>
                <a:ext cx="14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5" name="Freeform 541">
                <a:extLst>
                  <a:ext uri="{FF2B5EF4-FFF2-40B4-BE49-F238E27FC236}">
                    <a16:creationId xmlns:a16="http://schemas.microsoft.com/office/drawing/2014/main" id="{1D7353CE-DCC4-4654-AD51-31DCC4093E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6" name="Freeform 542">
                <a:extLst>
                  <a:ext uri="{FF2B5EF4-FFF2-40B4-BE49-F238E27FC236}">
                    <a16:creationId xmlns:a16="http://schemas.microsoft.com/office/drawing/2014/main" id="{0C6A58BC-E7C7-4050-B54C-196952CF03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25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7" name="Freeform 543">
                <a:extLst>
                  <a:ext uri="{FF2B5EF4-FFF2-40B4-BE49-F238E27FC236}">
                    <a16:creationId xmlns:a16="http://schemas.microsoft.com/office/drawing/2014/main" id="{E3339AF9-E368-4DF0-A049-76DDC5B71E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24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8" name="Freeform 544">
                <a:extLst>
                  <a:ext uri="{FF2B5EF4-FFF2-40B4-BE49-F238E27FC236}">
                    <a16:creationId xmlns:a16="http://schemas.microsoft.com/office/drawing/2014/main" id="{FD55CD0A-2E81-49E3-B44C-B1A2C64D55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22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9" name="Freeform 545">
                <a:extLst>
                  <a:ext uri="{FF2B5EF4-FFF2-40B4-BE49-F238E27FC236}">
                    <a16:creationId xmlns:a16="http://schemas.microsoft.com/office/drawing/2014/main" id="{4C281D03-AB19-45F1-9CAA-C39E951F6E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21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0" name="Freeform 546">
                <a:extLst>
                  <a:ext uri="{FF2B5EF4-FFF2-40B4-BE49-F238E27FC236}">
                    <a16:creationId xmlns:a16="http://schemas.microsoft.com/office/drawing/2014/main" id="{7049402E-E2DA-43DE-9CA1-7B51E3B5A3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9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1" name="Freeform 547">
                <a:extLst>
                  <a:ext uri="{FF2B5EF4-FFF2-40B4-BE49-F238E27FC236}">
                    <a16:creationId xmlns:a16="http://schemas.microsoft.com/office/drawing/2014/main" id="{847957AB-453D-4ED0-96B8-78BD07B1D6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17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2" name="Freeform 548">
                <a:extLst>
                  <a:ext uri="{FF2B5EF4-FFF2-40B4-BE49-F238E27FC236}">
                    <a16:creationId xmlns:a16="http://schemas.microsoft.com/office/drawing/2014/main" id="{D2F2ED0D-4A6A-4DEB-842F-0A00476C8A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3" name="Freeform 549">
                <a:extLst>
                  <a:ext uri="{FF2B5EF4-FFF2-40B4-BE49-F238E27FC236}">
                    <a16:creationId xmlns:a16="http://schemas.microsoft.com/office/drawing/2014/main" id="{BAD79344-0F72-4D7B-BE68-3832F0A1D0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4" name="Freeform 550">
                <a:extLst>
                  <a:ext uri="{FF2B5EF4-FFF2-40B4-BE49-F238E27FC236}">
                    <a16:creationId xmlns:a16="http://schemas.microsoft.com/office/drawing/2014/main" id="{6FBB3847-6DC1-4DD2-A634-FE70BAB42C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5" name="Freeform 551">
                <a:extLst>
                  <a:ext uri="{FF2B5EF4-FFF2-40B4-BE49-F238E27FC236}">
                    <a16:creationId xmlns:a16="http://schemas.microsoft.com/office/drawing/2014/main" id="{C1F6E241-E628-4EAE-AEBC-703BA1E5AE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6" name="Freeform 552">
                <a:extLst>
                  <a:ext uri="{FF2B5EF4-FFF2-40B4-BE49-F238E27FC236}">
                    <a16:creationId xmlns:a16="http://schemas.microsoft.com/office/drawing/2014/main" id="{A5DFEC6D-582A-4390-AC30-348E034EC3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7" name="Freeform 553">
                <a:extLst>
                  <a:ext uri="{FF2B5EF4-FFF2-40B4-BE49-F238E27FC236}">
                    <a16:creationId xmlns:a16="http://schemas.microsoft.com/office/drawing/2014/main" id="{8E706A4C-2FDD-4734-929D-17CE95B262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8" name="Freeform 554">
                <a:extLst>
                  <a:ext uri="{FF2B5EF4-FFF2-40B4-BE49-F238E27FC236}">
                    <a16:creationId xmlns:a16="http://schemas.microsoft.com/office/drawing/2014/main" id="{84DBA8FD-CDF6-463A-8135-7D59FFD009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9" name="Freeform 555">
                <a:extLst>
                  <a:ext uri="{FF2B5EF4-FFF2-40B4-BE49-F238E27FC236}">
                    <a16:creationId xmlns:a16="http://schemas.microsoft.com/office/drawing/2014/main" id="{F5B5371C-8CF4-4A0D-8EF1-5E058051D7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0" name="Freeform 556">
                <a:extLst>
                  <a:ext uri="{FF2B5EF4-FFF2-40B4-BE49-F238E27FC236}">
                    <a16:creationId xmlns:a16="http://schemas.microsoft.com/office/drawing/2014/main" id="{E54E94BE-E63F-4A51-B9F5-093D4AEF02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22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1" name="Freeform 557">
                <a:extLst>
                  <a:ext uri="{FF2B5EF4-FFF2-40B4-BE49-F238E27FC236}">
                    <a16:creationId xmlns:a16="http://schemas.microsoft.com/office/drawing/2014/main" id="{94C6E370-2888-437E-8810-10D40FE538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2" name="Freeform 558">
                <a:extLst>
                  <a:ext uri="{FF2B5EF4-FFF2-40B4-BE49-F238E27FC236}">
                    <a16:creationId xmlns:a16="http://schemas.microsoft.com/office/drawing/2014/main" id="{27E30B86-8988-4EC3-9091-4227C4E89C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3" name="Freeform 559">
                <a:extLst>
                  <a:ext uri="{FF2B5EF4-FFF2-40B4-BE49-F238E27FC236}">
                    <a16:creationId xmlns:a16="http://schemas.microsoft.com/office/drawing/2014/main" id="{F899D046-FE0B-4CBD-9177-53812F18B8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21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4" name="Freeform 560">
                <a:extLst>
                  <a:ext uri="{FF2B5EF4-FFF2-40B4-BE49-F238E27FC236}">
                    <a16:creationId xmlns:a16="http://schemas.microsoft.com/office/drawing/2014/main" id="{929C1099-46BB-4EDA-B4D3-A43AE6FFB8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9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5" name="Freeform 561">
                <a:extLst>
                  <a:ext uri="{FF2B5EF4-FFF2-40B4-BE49-F238E27FC236}">
                    <a16:creationId xmlns:a16="http://schemas.microsoft.com/office/drawing/2014/main" id="{5AB6A8DA-A861-432F-A5BF-5B56076D7D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17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6" name="Freeform 562">
                <a:extLst>
                  <a:ext uri="{FF2B5EF4-FFF2-40B4-BE49-F238E27FC236}">
                    <a16:creationId xmlns:a16="http://schemas.microsoft.com/office/drawing/2014/main" id="{4AD0BEA0-479E-481D-9B16-B31FC8DBCD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7" name="Freeform 563">
                <a:extLst>
                  <a:ext uri="{FF2B5EF4-FFF2-40B4-BE49-F238E27FC236}">
                    <a16:creationId xmlns:a16="http://schemas.microsoft.com/office/drawing/2014/main" id="{E0452251-5496-49BE-9281-36B0C4172B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8" name="Freeform 564">
                <a:extLst>
                  <a:ext uri="{FF2B5EF4-FFF2-40B4-BE49-F238E27FC236}">
                    <a16:creationId xmlns:a16="http://schemas.microsoft.com/office/drawing/2014/main" id="{9119FCC0-4A34-4C7F-AD9C-F211F27585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9" name="Freeform 565">
                <a:extLst>
                  <a:ext uri="{FF2B5EF4-FFF2-40B4-BE49-F238E27FC236}">
                    <a16:creationId xmlns:a16="http://schemas.microsoft.com/office/drawing/2014/main" id="{7C8FD991-EF28-44BC-9AB8-4A519E7ED0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0" name="Freeform 566">
                <a:extLst>
                  <a:ext uri="{FF2B5EF4-FFF2-40B4-BE49-F238E27FC236}">
                    <a16:creationId xmlns:a16="http://schemas.microsoft.com/office/drawing/2014/main" id="{A371BA47-E23F-4EED-A19E-31792B6B6E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1" name="Freeform 567">
                <a:extLst>
                  <a:ext uri="{FF2B5EF4-FFF2-40B4-BE49-F238E27FC236}">
                    <a16:creationId xmlns:a16="http://schemas.microsoft.com/office/drawing/2014/main" id="{0974F2FC-E40A-4519-821F-EABCCFFE8A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2" name="Freeform 568">
                <a:extLst>
                  <a:ext uri="{FF2B5EF4-FFF2-40B4-BE49-F238E27FC236}">
                    <a16:creationId xmlns:a16="http://schemas.microsoft.com/office/drawing/2014/main" id="{3F653C89-4AA8-4C7F-9013-8893985CD4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3" name="Freeform 569">
                <a:extLst>
                  <a:ext uri="{FF2B5EF4-FFF2-40B4-BE49-F238E27FC236}">
                    <a16:creationId xmlns:a16="http://schemas.microsoft.com/office/drawing/2014/main" id="{5ED9ABF0-95D6-4A4C-AE27-FB037E05B3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4" name="Freeform 570">
                <a:extLst>
                  <a:ext uri="{FF2B5EF4-FFF2-40B4-BE49-F238E27FC236}">
                    <a16:creationId xmlns:a16="http://schemas.microsoft.com/office/drawing/2014/main" id="{3FEEAEA1-897B-421C-A25B-40DE0DF5CD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227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5" name="Freeform 571">
                <a:extLst>
                  <a:ext uri="{FF2B5EF4-FFF2-40B4-BE49-F238E27FC236}">
                    <a16:creationId xmlns:a16="http://schemas.microsoft.com/office/drawing/2014/main" id="{2760AE9E-F26E-41D3-A198-7778CF55D2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210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6" name="Freeform 572">
                <a:extLst>
                  <a:ext uri="{FF2B5EF4-FFF2-40B4-BE49-F238E27FC236}">
                    <a16:creationId xmlns:a16="http://schemas.microsoft.com/office/drawing/2014/main" id="{8BDA2D2A-B415-4051-8C81-3D19738977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19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7" name="Freeform 573">
                <a:extLst>
                  <a:ext uri="{FF2B5EF4-FFF2-40B4-BE49-F238E27FC236}">
                    <a16:creationId xmlns:a16="http://schemas.microsoft.com/office/drawing/2014/main" id="{08C7FC16-E2A3-4479-8EB6-FDFED9C55D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8" name="Freeform 574">
                <a:extLst>
                  <a:ext uri="{FF2B5EF4-FFF2-40B4-BE49-F238E27FC236}">
                    <a16:creationId xmlns:a16="http://schemas.microsoft.com/office/drawing/2014/main" id="{9E1B6F24-674C-447B-8B1B-704CC299A1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9" name="Freeform 575">
                <a:extLst>
                  <a:ext uri="{FF2B5EF4-FFF2-40B4-BE49-F238E27FC236}">
                    <a16:creationId xmlns:a16="http://schemas.microsoft.com/office/drawing/2014/main" id="{A9DA5D0A-45FA-475F-B7B4-AF9FD105C8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17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0" name="Freeform 576">
                <a:extLst>
                  <a:ext uri="{FF2B5EF4-FFF2-40B4-BE49-F238E27FC236}">
                    <a16:creationId xmlns:a16="http://schemas.microsoft.com/office/drawing/2014/main" id="{79C4B7E2-FB96-4BB1-B234-E5163EB14E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1" name="Freeform 577">
                <a:extLst>
                  <a:ext uri="{FF2B5EF4-FFF2-40B4-BE49-F238E27FC236}">
                    <a16:creationId xmlns:a16="http://schemas.microsoft.com/office/drawing/2014/main" id="{3B7F6150-0228-4B4E-BC40-07878A2A5B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2" name="Freeform 578">
                <a:extLst>
                  <a:ext uri="{FF2B5EF4-FFF2-40B4-BE49-F238E27FC236}">
                    <a16:creationId xmlns:a16="http://schemas.microsoft.com/office/drawing/2014/main" id="{D41E7EE1-D1D9-4A0A-B9D3-2026824418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3" name="Freeform 579">
                <a:extLst>
                  <a:ext uri="{FF2B5EF4-FFF2-40B4-BE49-F238E27FC236}">
                    <a16:creationId xmlns:a16="http://schemas.microsoft.com/office/drawing/2014/main" id="{F02A6A20-C7FC-4DBB-AC86-3CECCA5ECB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4" name="Freeform 580">
                <a:extLst>
                  <a:ext uri="{FF2B5EF4-FFF2-40B4-BE49-F238E27FC236}">
                    <a16:creationId xmlns:a16="http://schemas.microsoft.com/office/drawing/2014/main" id="{619C91D5-8344-470B-9A90-F63E8CE071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5" name="Freeform 581">
                <a:extLst>
                  <a:ext uri="{FF2B5EF4-FFF2-40B4-BE49-F238E27FC236}">
                    <a16:creationId xmlns:a16="http://schemas.microsoft.com/office/drawing/2014/main" id="{331575D3-548A-48A5-86F6-28257ECF7B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6" name="Freeform 582">
                <a:extLst>
                  <a:ext uri="{FF2B5EF4-FFF2-40B4-BE49-F238E27FC236}">
                    <a16:creationId xmlns:a16="http://schemas.microsoft.com/office/drawing/2014/main" id="{CD4580E2-9F2C-4989-8896-4BC50EC2C6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7" name="Freeform 583">
                <a:extLst>
                  <a:ext uri="{FF2B5EF4-FFF2-40B4-BE49-F238E27FC236}">
                    <a16:creationId xmlns:a16="http://schemas.microsoft.com/office/drawing/2014/main" id="{5E4D5EDE-F8E0-4B32-88D5-4501F075F6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8" name="Freeform 584">
                <a:extLst>
                  <a:ext uri="{FF2B5EF4-FFF2-40B4-BE49-F238E27FC236}">
                    <a16:creationId xmlns:a16="http://schemas.microsoft.com/office/drawing/2014/main" id="{4F416424-8E47-4175-A17E-F7FC180759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227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9" name="Freeform 585">
                <a:extLst>
                  <a:ext uri="{FF2B5EF4-FFF2-40B4-BE49-F238E27FC236}">
                    <a16:creationId xmlns:a16="http://schemas.microsoft.com/office/drawing/2014/main" id="{F86A2B08-DA64-4A4F-A2C4-32532CE803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210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0" name="Freeform 586">
                <a:extLst>
                  <a:ext uri="{FF2B5EF4-FFF2-40B4-BE49-F238E27FC236}">
                    <a16:creationId xmlns:a16="http://schemas.microsoft.com/office/drawing/2014/main" id="{04627BDC-0ADB-49D4-8EBD-88408C1D11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196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1" name="Freeform 587">
                <a:extLst>
                  <a:ext uri="{FF2B5EF4-FFF2-40B4-BE49-F238E27FC236}">
                    <a16:creationId xmlns:a16="http://schemas.microsoft.com/office/drawing/2014/main" id="{28AAD8AA-2819-45B4-96FC-120D390D11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179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2" name="Freeform 588">
                <a:extLst>
                  <a:ext uri="{FF2B5EF4-FFF2-40B4-BE49-F238E27FC236}">
                    <a16:creationId xmlns:a16="http://schemas.microsoft.com/office/drawing/2014/main" id="{316AA052-0641-4B8D-9985-FBEBB3F094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3" name="Freeform 589">
                <a:extLst>
                  <a:ext uri="{FF2B5EF4-FFF2-40B4-BE49-F238E27FC236}">
                    <a16:creationId xmlns:a16="http://schemas.microsoft.com/office/drawing/2014/main" id="{7B964C7B-D7EF-4241-A30C-E31833FE36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4" name="Freeform 590">
                <a:extLst>
                  <a:ext uri="{FF2B5EF4-FFF2-40B4-BE49-F238E27FC236}">
                    <a16:creationId xmlns:a16="http://schemas.microsoft.com/office/drawing/2014/main" id="{30677BEF-EA8D-4846-97B3-7460BE4AA4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5" name="Freeform 591">
                <a:extLst>
                  <a:ext uri="{FF2B5EF4-FFF2-40B4-BE49-F238E27FC236}">
                    <a16:creationId xmlns:a16="http://schemas.microsoft.com/office/drawing/2014/main" id="{4365761C-7429-4D43-920B-BBCF2D59D9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6" name="Freeform 592">
                <a:extLst>
                  <a:ext uri="{FF2B5EF4-FFF2-40B4-BE49-F238E27FC236}">
                    <a16:creationId xmlns:a16="http://schemas.microsoft.com/office/drawing/2014/main" id="{29C2DAB4-A63E-4848-8E4D-0F70327F9D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7" name="Freeform 593">
                <a:extLst>
                  <a:ext uri="{FF2B5EF4-FFF2-40B4-BE49-F238E27FC236}">
                    <a16:creationId xmlns:a16="http://schemas.microsoft.com/office/drawing/2014/main" id="{239779B4-3801-4855-A1C7-22E98348C2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8" name="Freeform 594">
                <a:extLst>
                  <a:ext uri="{FF2B5EF4-FFF2-40B4-BE49-F238E27FC236}">
                    <a16:creationId xmlns:a16="http://schemas.microsoft.com/office/drawing/2014/main" id="{029AAA3D-9EB0-4F09-A6E2-655986CF7E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9" name="Freeform 595">
                <a:extLst>
                  <a:ext uri="{FF2B5EF4-FFF2-40B4-BE49-F238E27FC236}">
                    <a16:creationId xmlns:a16="http://schemas.microsoft.com/office/drawing/2014/main" id="{CDF2F2F2-E1F9-4116-861B-3F10E2F004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0" name="Freeform 596">
                <a:extLst>
                  <a:ext uri="{FF2B5EF4-FFF2-40B4-BE49-F238E27FC236}">
                    <a16:creationId xmlns:a16="http://schemas.microsoft.com/office/drawing/2014/main" id="{9A773013-4B0B-4AD4-9E75-99EBE3B320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1" name="Freeform 597">
                <a:extLst>
                  <a:ext uri="{FF2B5EF4-FFF2-40B4-BE49-F238E27FC236}">
                    <a16:creationId xmlns:a16="http://schemas.microsoft.com/office/drawing/2014/main" id="{D09453F3-98E2-414F-8FEF-F8BF8B0C0A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2" name="Freeform 598">
                <a:extLst>
                  <a:ext uri="{FF2B5EF4-FFF2-40B4-BE49-F238E27FC236}">
                    <a16:creationId xmlns:a16="http://schemas.microsoft.com/office/drawing/2014/main" id="{6D3EA526-AF1D-4553-B320-F1F6867615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227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4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3" name="Freeform 599">
                <a:extLst>
                  <a:ext uri="{FF2B5EF4-FFF2-40B4-BE49-F238E27FC236}">
                    <a16:creationId xmlns:a16="http://schemas.microsoft.com/office/drawing/2014/main" id="{E4A09364-962D-40F8-A498-29054205E7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210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4" name="Freeform 600">
                <a:extLst>
                  <a:ext uri="{FF2B5EF4-FFF2-40B4-BE49-F238E27FC236}">
                    <a16:creationId xmlns:a16="http://schemas.microsoft.com/office/drawing/2014/main" id="{94FF3357-176E-4B34-9731-3D5FCDA9BF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196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5" name="Freeform 601">
                <a:extLst>
                  <a:ext uri="{FF2B5EF4-FFF2-40B4-BE49-F238E27FC236}">
                    <a16:creationId xmlns:a16="http://schemas.microsoft.com/office/drawing/2014/main" id="{48A263B9-46D0-4DA7-8A59-F409BBF90A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179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6" name="Freeform 602">
                <a:extLst>
                  <a:ext uri="{FF2B5EF4-FFF2-40B4-BE49-F238E27FC236}">
                    <a16:creationId xmlns:a16="http://schemas.microsoft.com/office/drawing/2014/main" id="{398B91DD-2605-4D24-891E-D58328A490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165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7" name="Freeform 603">
                <a:extLst>
                  <a:ext uri="{FF2B5EF4-FFF2-40B4-BE49-F238E27FC236}">
                    <a16:creationId xmlns:a16="http://schemas.microsoft.com/office/drawing/2014/main" id="{67A642A1-581D-418D-92E7-AD26542F5D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148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8" name="Freeform 604">
                <a:extLst>
                  <a:ext uri="{FF2B5EF4-FFF2-40B4-BE49-F238E27FC236}">
                    <a16:creationId xmlns:a16="http://schemas.microsoft.com/office/drawing/2014/main" id="{E543B3EC-B2AC-4FA3-A731-18EE35E30F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9" name="Freeform 605">
                <a:extLst>
                  <a:ext uri="{FF2B5EF4-FFF2-40B4-BE49-F238E27FC236}">
                    <a16:creationId xmlns:a16="http://schemas.microsoft.com/office/drawing/2014/main" id="{CA058305-8721-418B-8BD7-A2553BFC7A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70" name="Freeform 606">
                <a:extLst>
                  <a:ext uri="{FF2B5EF4-FFF2-40B4-BE49-F238E27FC236}">
                    <a16:creationId xmlns:a16="http://schemas.microsoft.com/office/drawing/2014/main" id="{BE5EAC43-566F-4877-9EA9-C14CC02A1C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023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9" name="Group 808">
              <a:extLst>
                <a:ext uri="{FF2B5EF4-FFF2-40B4-BE49-F238E27FC236}">
                  <a16:creationId xmlns:a16="http://schemas.microsoft.com/office/drawing/2014/main" id="{4004934C-FDB6-425F-ABE8-2C765465E148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9101940" y="3339914"/>
              <a:ext cx="2164105" cy="1117094"/>
              <a:chOff x="5388" y="1695"/>
              <a:chExt cx="1019" cy="526"/>
            </a:xfrm>
          </p:grpSpPr>
          <p:sp>
            <p:nvSpPr>
              <p:cNvPr id="10571" name="Freeform 608">
                <a:extLst>
                  <a:ext uri="{FF2B5EF4-FFF2-40B4-BE49-F238E27FC236}">
                    <a16:creationId xmlns:a16="http://schemas.microsoft.com/office/drawing/2014/main" id="{9E16931A-3705-4EE3-9418-DDAD08CCEC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2" name="Freeform 609">
                <a:extLst>
                  <a:ext uri="{FF2B5EF4-FFF2-40B4-BE49-F238E27FC236}">
                    <a16:creationId xmlns:a16="http://schemas.microsoft.com/office/drawing/2014/main" id="{41A5FDA4-8D4B-4AFD-B9B0-14791BE2C8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3" name="Freeform 610">
                <a:extLst>
                  <a:ext uri="{FF2B5EF4-FFF2-40B4-BE49-F238E27FC236}">
                    <a16:creationId xmlns:a16="http://schemas.microsoft.com/office/drawing/2014/main" id="{2449CCD6-7B49-43D5-BE5C-F299F3DFC5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4" name="Freeform 611">
                <a:extLst>
                  <a:ext uri="{FF2B5EF4-FFF2-40B4-BE49-F238E27FC236}">
                    <a16:creationId xmlns:a16="http://schemas.microsoft.com/office/drawing/2014/main" id="{DD882496-2B4D-4116-A126-29E965EF62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5" name="Freeform 612">
                <a:extLst>
                  <a:ext uri="{FF2B5EF4-FFF2-40B4-BE49-F238E27FC236}">
                    <a16:creationId xmlns:a16="http://schemas.microsoft.com/office/drawing/2014/main" id="{6EECEA6E-548F-4821-B534-ED2097EB1C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6" name="Freeform 613">
                <a:extLst>
                  <a:ext uri="{FF2B5EF4-FFF2-40B4-BE49-F238E27FC236}">
                    <a16:creationId xmlns:a16="http://schemas.microsoft.com/office/drawing/2014/main" id="{4657B3A9-D683-416B-B48A-F51A7FF2D8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7" name="Freeform 614">
                <a:extLst>
                  <a:ext uri="{FF2B5EF4-FFF2-40B4-BE49-F238E27FC236}">
                    <a16:creationId xmlns:a16="http://schemas.microsoft.com/office/drawing/2014/main" id="{8AF74EF5-CB38-43FF-942A-D3611C3D06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5" y="221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8" name="Freeform 615">
                <a:extLst>
                  <a:ext uri="{FF2B5EF4-FFF2-40B4-BE49-F238E27FC236}">
                    <a16:creationId xmlns:a16="http://schemas.microsoft.com/office/drawing/2014/main" id="{3D3FAB1D-91A3-43C5-B308-5CE70D6E4E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2" y="2196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9" name="Freeform 616">
                <a:extLst>
                  <a:ext uri="{FF2B5EF4-FFF2-40B4-BE49-F238E27FC236}">
                    <a16:creationId xmlns:a16="http://schemas.microsoft.com/office/drawing/2014/main" id="{27D78C98-EBDF-45F6-A658-CD2463FBF8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69" y="2179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0" name="Freeform 617">
                <a:extLst>
                  <a:ext uri="{FF2B5EF4-FFF2-40B4-BE49-F238E27FC236}">
                    <a16:creationId xmlns:a16="http://schemas.microsoft.com/office/drawing/2014/main" id="{D4EEEA25-AD8B-4E00-ABAE-1335F26787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6" y="2165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1" name="Freeform 618">
                <a:extLst>
                  <a:ext uri="{FF2B5EF4-FFF2-40B4-BE49-F238E27FC236}">
                    <a16:creationId xmlns:a16="http://schemas.microsoft.com/office/drawing/2014/main" id="{CBF82F4F-6044-444C-BFB9-1A1F3E1C02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3" y="2148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2" name="Freeform 619">
                <a:extLst>
                  <a:ext uri="{FF2B5EF4-FFF2-40B4-BE49-F238E27FC236}">
                    <a16:creationId xmlns:a16="http://schemas.microsoft.com/office/drawing/2014/main" id="{1D5FF8C6-04B8-4D14-B20E-110367E0AF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0" y="2131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3" name="Freeform 620">
                <a:extLst>
                  <a:ext uri="{FF2B5EF4-FFF2-40B4-BE49-F238E27FC236}">
                    <a16:creationId xmlns:a16="http://schemas.microsoft.com/office/drawing/2014/main" id="{5C386DA4-40D2-4349-B530-0CC7FE3F5C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7" y="2117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4" name="Freeform 621">
                <a:extLst>
                  <a:ext uri="{FF2B5EF4-FFF2-40B4-BE49-F238E27FC236}">
                    <a16:creationId xmlns:a16="http://schemas.microsoft.com/office/drawing/2014/main" id="{8F2DBC96-C2EA-43BA-A846-76CC41B197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4" y="210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5" name="Freeform 622">
                <a:extLst>
                  <a:ext uri="{FF2B5EF4-FFF2-40B4-BE49-F238E27FC236}">
                    <a16:creationId xmlns:a16="http://schemas.microsoft.com/office/drawing/2014/main" id="{76563A3D-A936-4AD1-A8C2-C24779C2B8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023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6" name="Freeform 623">
                <a:extLst>
                  <a:ext uri="{FF2B5EF4-FFF2-40B4-BE49-F238E27FC236}">
                    <a16:creationId xmlns:a16="http://schemas.microsoft.com/office/drawing/2014/main" id="{091C909E-538D-4779-B0DF-3B46937374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00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7" name="Freeform 624">
                <a:extLst>
                  <a:ext uri="{FF2B5EF4-FFF2-40B4-BE49-F238E27FC236}">
                    <a16:creationId xmlns:a16="http://schemas.microsoft.com/office/drawing/2014/main" id="{E36E9BFE-DD53-4CFB-BE5B-6DE5EFA8FA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1" y="208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8" name="Freeform 625">
                <a:extLst>
                  <a:ext uri="{FF2B5EF4-FFF2-40B4-BE49-F238E27FC236}">
                    <a16:creationId xmlns:a16="http://schemas.microsoft.com/office/drawing/2014/main" id="{A7C467CC-B20E-413E-807D-8A4DCBDB83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58" y="206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9" name="Freeform 626">
                <a:extLst>
                  <a:ext uri="{FF2B5EF4-FFF2-40B4-BE49-F238E27FC236}">
                    <a16:creationId xmlns:a16="http://schemas.microsoft.com/office/drawing/2014/main" id="{0A00B4D4-403A-40A2-81DF-4865119BF1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2054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0" name="Freeform 627">
                <a:extLst>
                  <a:ext uri="{FF2B5EF4-FFF2-40B4-BE49-F238E27FC236}">
                    <a16:creationId xmlns:a16="http://schemas.microsoft.com/office/drawing/2014/main" id="{65B60E72-E3A2-49A6-BCB1-54576F1B25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03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1" name="Freeform 628">
                <a:extLst>
                  <a:ext uri="{FF2B5EF4-FFF2-40B4-BE49-F238E27FC236}">
                    <a16:creationId xmlns:a16="http://schemas.microsoft.com/office/drawing/2014/main" id="{00CC5B32-1371-4400-8BF3-CC5EBC6A6C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023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2" name="Freeform 629">
                <a:extLst>
                  <a:ext uri="{FF2B5EF4-FFF2-40B4-BE49-F238E27FC236}">
                    <a16:creationId xmlns:a16="http://schemas.microsoft.com/office/drawing/2014/main" id="{277AF266-E41D-497E-B1E2-0CD544823B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8" y="2196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7 w 8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3" name="Freeform 630">
                <a:extLst>
                  <a:ext uri="{FF2B5EF4-FFF2-40B4-BE49-F238E27FC236}">
                    <a16:creationId xmlns:a16="http://schemas.microsoft.com/office/drawing/2014/main" id="{88C9C6C9-5BB1-4595-8606-2C4B48C109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5" y="2179"/>
                <a:ext cx="16" cy="9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4 h 4"/>
                  <a:gd name="T6" fmla="*/ 2 w 8"/>
                  <a:gd name="T7" fmla="*/ 4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4" name="Freeform 631">
                <a:extLst>
                  <a:ext uri="{FF2B5EF4-FFF2-40B4-BE49-F238E27FC236}">
                    <a16:creationId xmlns:a16="http://schemas.microsoft.com/office/drawing/2014/main" id="{2D91D667-630A-4D43-AB2D-3C4F8EA12E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2" y="2165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5" name="Freeform 632">
                <a:extLst>
                  <a:ext uri="{FF2B5EF4-FFF2-40B4-BE49-F238E27FC236}">
                    <a16:creationId xmlns:a16="http://schemas.microsoft.com/office/drawing/2014/main" id="{6311EFC9-9F6A-48DD-9DF2-785FE49540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69" y="2148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6" name="Freeform 633">
                <a:extLst>
                  <a:ext uri="{FF2B5EF4-FFF2-40B4-BE49-F238E27FC236}">
                    <a16:creationId xmlns:a16="http://schemas.microsoft.com/office/drawing/2014/main" id="{7B9F4682-C3D7-4621-BF3C-E7B3741579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6" y="2131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7" name="Freeform 634">
                <a:extLst>
                  <a:ext uri="{FF2B5EF4-FFF2-40B4-BE49-F238E27FC236}">
                    <a16:creationId xmlns:a16="http://schemas.microsoft.com/office/drawing/2014/main" id="{3950CA01-71A3-4198-834A-6D96EF9ED7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3" y="2117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8" name="Freeform 635">
                <a:extLst>
                  <a:ext uri="{FF2B5EF4-FFF2-40B4-BE49-F238E27FC236}">
                    <a16:creationId xmlns:a16="http://schemas.microsoft.com/office/drawing/2014/main" id="{B2F645EA-673C-49C4-9E4F-C8CD54DD6D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0" y="210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9" name="Freeform 636">
                <a:extLst>
                  <a:ext uri="{FF2B5EF4-FFF2-40B4-BE49-F238E27FC236}">
                    <a16:creationId xmlns:a16="http://schemas.microsoft.com/office/drawing/2014/main" id="{DB379D92-AA83-408C-AF43-6222BDF495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7" y="2086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0" name="Freeform 637">
                <a:extLst>
                  <a:ext uri="{FF2B5EF4-FFF2-40B4-BE49-F238E27FC236}">
                    <a16:creationId xmlns:a16="http://schemas.microsoft.com/office/drawing/2014/main" id="{5B0A0173-E9CE-4B2F-A73B-90076541BF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4" y="206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1" name="Freeform 638">
                <a:extLst>
                  <a:ext uri="{FF2B5EF4-FFF2-40B4-BE49-F238E27FC236}">
                    <a16:creationId xmlns:a16="http://schemas.microsoft.com/office/drawing/2014/main" id="{9AACF620-7588-4980-9E50-B057AFAC82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00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2" name="Freeform 639">
                <a:extLst>
                  <a:ext uri="{FF2B5EF4-FFF2-40B4-BE49-F238E27FC236}">
                    <a16:creationId xmlns:a16="http://schemas.microsoft.com/office/drawing/2014/main" id="{EFAA4286-5DEA-4BC7-86A6-DE0871FE7C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99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3" name="Freeform 640">
                <a:extLst>
                  <a:ext uri="{FF2B5EF4-FFF2-40B4-BE49-F238E27FC236}">
                    <a16:creationId xmlns:a16="http://schemas.microsoft.com/office/drawing/2014/main" id="{7EECE974-B6BF-483B-89A6-24AE3E5C04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1" y="2054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4" name="Freeform 641">
                <a:extLst>
                  <a:ext uri="{FF2B5EF4-FFF2-40B4-BE49-F238E27FC236}">
                    <a16:creationId xmlns:a16="http://schemas.microsoft.com/office/drawing/2014/main" id="{CA03950F-EB01-494C-8F34-80CDCC5247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58" y="203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5" name="Freeform 642">
                <a:extLst>
                  <a:ext uri="{FF2B5EF4-FFF2-40B4-BE49-F238E27FC236}">
                    <a16:creationId xmlns:a16="http://schemas.microsoft.com/office/drawing/2014/main" id="{12455634-BB5F-4C1B-997D-CF9C1E0F70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2023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6" name="Freeform 643">
                <a:extLst>
                  <a:ext uri="{FF2B5EF4-FFF2-40B4-BE49-F238E27FC236}">
                    <a16:creationId xmlns:a16="http://schemas.microsoft.com/office/drawing/2014/main" id="{9B84B9AC-FCA8-4BED-9BB4-4A4CA9636C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00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7" name="Freeform 644">
                <a:extLst>
                  <a:ext uri="{FF2B5EF4-FFF2-40B4-BE49-F238E27FC236}">
                    <a16:creationId xmlns:a16="http://schemas.microsoft.com/office/drawing/2014/main" id="{95987C4E-839A-4FD5-9131-615C4B26FC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6" y="210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7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8" name="Freeform 645">
                <a:extLst>
                  <a:ext uri="{FF2B5EF4-FFF2-40B4-BE49-F238E27FC236}">
                    <a16:creationId xmlns:a16="http://schemas.microsoft.com/office/drawing/2014/main" id="{B04C64BF-53C1-4771-BBB7-6A983586B7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3" y="2086"/>
                <a:ext cx="16" cy="8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4 h 4"/>
                  <a:gd name="T6" fmla="*/ 2 w 8"/>
                  <a:gd name="T7" fmla="*/ 4 h 4"/>
                  <a:gd name="T8" fmla="*/ 2 w 8"/>
                  <a:gd name="T9" fmla="*/ 1 h 4"/>
                  <a:gd name="T10" fmla="*/ 2 w 8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9" name="Freeform 646">
                <a:extLst>
                  <a:ext uri="{FF2B5EF4-FFF2-40B4-BE49-F238E27FC236}">
                    <a16:creationId xmlns:a16="http://schemas.microsoft.com/office/drawing/2014/main" id="{82D4BA40-9A30-4FB8-B13B-3A3D488A67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0" y="2069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0" name="Freeform 647">
                <a:extLst>
                  <a:ext uri="{FF2B5EF4-FFF2-40B4-BE49-F238E27FC236}">
                    <a16:creationId xmlns:a16="http://schemas.microsoft.com/office/drawing/2014/main" id="{100CEE89-8762-4FBD-B6A3-EC430E66B2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7" y="2054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1" name="Freeform 648">
                <a:extLst>
                  <a:ext uri="{FF2B5EF4-FFF2-40B4-BE49-F238E27FC236}">
                    <a16:creationId xmlns:a16="http://schemas.microsoft.com/office/drawing/2014/main" id="{8B273D15-ADA3-4EA0-996F-3B1596E882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199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2" name="Freeform 649">
                <a:extLst>
                  <a:ext uri="{FF2B5EF4-FFF2-40B4-BE49-F238E27FC236}">
                    <a16:creationId xmlns:a16="http://schemas.microsoft.com/office/drawing/2014/main" id="{BE71A8FC-E1A2-43C0-93AE-1BB60EFFA0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1975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3" name="Freeform 650">
                <a:extLst>
                  <a:ext uri="{FF2B5EF4-FFF2-40B4-BE49-F238E27FC236}">
                    <a16:creationId xmlns:a16="http://schemas.microsoft.com/office/drawing/2014/main" id="{32064586-ACE2-4745-B490-38EC7503ED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4" y="203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4" name="Freeform 651">
                <a:extLst>
                  <a:ext uri="{FF2B5EF4-FFF2-40B4-BE49-F238E27FC236}">
                    <a16:creationId xmlns:a16="http://schemas.microsoft.com/office/drawing/2014/main" id="{7238665B-EA68-4520-AC36-B892410B4D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1" y="2023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5" name="Freeform 652">
                <a:extLst>
                  <a:ext uri="{FF2B5EF4-FFF2-40B4-BE49-F238E27FC236}">
                    <a16:creationId xmlns:a16="http://schemas.microsoft.com/office/drawing/2014/main" id="{348ADEC2-124F-41C4-A1FC-B2C797E198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58" y="200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6" name="Freeform 653">
                <a:extLst>
                  <a:ext uri="{FF2B5EF4-FFF2-40B4-BE49-F238E27FC236}">
                    <a16:creationId xmlns:a16="http://schemas.microsoft.com/office/drawing/2014/main" id="{B0128A3F-4904-444D-B412-96903B0A74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1992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7" name="Freeform 654">
                <a:extLst>
                  <a:ext uri="{FF2B5EF4-FFF2-40B4-BE49-F238E27FC236}">
                    <a16:creationId xmlns:a16="http://schemas.microsoft.com/office/drawing/2014/main" id="{89C0A3CC-A018-4B54-8BCA-38067035F9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1975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8" name="Freeform 655">
                <a:extLst>
                  <a:ext uri="{FF2B5EF4-FFF2-40B4-BE49-F238E27FC236}">
                    <a16:creationId xmlns:a16="http://schemas.microsoft.com/office/drawing/2014/main" id="{DAAF22CF-10EB-4230-8E69-1136DF0004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1961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9" name="Freeform 656">
                <a:extLst>
                  <a:ext uri="{FF2B5EF4-FFF2-40B4-BE49-F238E27FC236}">
                    <a16:creationId xmlns:a16="http://schemas.microsoft.com/office/drawing/2014/main" id="{3554320F-C252-4B40-8F54-59C3B6E53B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194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6 w 7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0" name="Freeform 657">
                <a:extLst>
                  <a:ext uri="{FF2B5EF4-FFF2-40B4-BE49-F238E27FC236}">
                    <a16:creationId xmlns:a16="http://schemas.microsoft.com/office/drawing/2014/main" id="{161D2D0D-25CD-4694-BDAC-C70993FD7B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05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1" name="Freeform 658">
                <a:extLst>
                  <a:ext uri="{FF2B5EF4-FFF2-40B4-BE49-F238E27FC236}">
                    <a16:creationId xmlns:a16="http://schemas.microsoft.com/office/drawing/2014/main" id="{A4804C02-1681-498D-A3BA-969F6A084E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2" name="Freeform 659">
                <a:extLst>
                  <a:ext uri="{FF2B5EF4-FFF2-40B4-BE49-F238E27FC236}">
                    <a16:creationId xmlns:a16="http://schemas.microsoft.com/office/drawing/2014/main" id="{51458544-CF20-46BE-9F5A-23370234F2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02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3" name="Freeform 660">
                <a:extLst>
                  <a:ext uri="{FF2B5EF4-FFF2-40B4-BE49-F238E27FC236}">
                    <a16:creationId xmlns:a16="http://schemas.microsoft.com/office/drawing/2014/main" id="{7355716E-1F1A-41FD-9955-C4A51AB8C9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00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4" name="Freeform 661">
                <a:extLst>
                  <a:ext uri="{FF2B5EF4-FFF2-40B4-BE49-F238E27FC236}">
                    <a16:creationId xmlns:a16="http://schemas.microsoft.com/office/drawing/2014/main" id="{D374C65B-D2A4-4653-BB2E-656F3359E4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992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5" name="Freeform 662">
                <a:extLst>
                  <a:ext uri="{FF2B5EF4-FFF2-40B4-BE49-F238E27FC236}">
                    <a16:creationId xmlns:a16="http://schemas.microsoft.com/office/drawing/2014/main" id="{29F5107D-B92F-45B5-9851-18113310F7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97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6" name="Freeform 663">
                <a:extLst>
                  <a:ext uri="{FF2B5EF4-FFF2-40B4-BE49-F238E27FC236}">
                    <a16:creationId xmlns:a16="http://schemas.microsoft.com/office/drawing/2014/main" id="{EE65F1C0-AD93-4C4A-B429-C72F794378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96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7" name="Freeform 664">
                <a:extLst>
                  <a:ext uri="{FF2B5EF4-FFF2-40B4-BE49-F238E27FC236}">
                    <a16:creationId xmlns:a16="http://schemas.microsoft.com/office/drawing/2014/main" id="{4F2F544C-AD10-4201-ADCE-533CACBF2A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94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8" name="Freeform 665">
                <a:extLst>
                  <a:ext uri="{FF2B5EF4-FFF2-40B4-BE49-F238E27FC236}">
                    <a16:creationId xmlns:a16="http://schemas.microsoft.com/office/drawing/2014/main" id="{90E34519-4524-4791-B428-DEA3181418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93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9" name="Freeform 666">
                <a:extLst>
                  <a:ext uri="{FF2B5EF4-FFF2-40B4-BE49-F238E27FC236}">
                    <a16:creationId xmlns:a16="http://schemas.microsoft.com/office/drawing/2014/main" id="{1E37728D-0136-474C-B547-BD7F174408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91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0" name="Freeform 667">
                <a:extLst>
                  <a:ext uri="{FF2B5EF4-FFF2-40B4-BE49-F238E27FC236}">
                    <a16:creationId xmlns:a16="http://schemas.microsoft.com/office/drawing/2014/main" id="{25799326-D071-43D3-9F79-9F6F21A61F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9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1" name="Freeform 668">
                <a:extLst>
                  <a:ext uri="{FF2B5EF4-FFF2-40B4-BE49-F238E27FC236}">
                    <a16:creationId xmlns:a16="http://schemas.microsoft.com/office/drawing/2014/main" id="{AD2EBFAF-0590-4CE2-8318-06F95F14A5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2" name="Freeform 669">
                <a:extLst>
                  <a:ext uri="{FF2B5EF4-FFF2-40B4-BE49-F238E27FC236}">
                    <a16:creationId xmlns:a16="http://schemas.microsoft.com/office/drawing/2014/main" id="{F84F2934-ED72-4157-A520-2B21AB42C4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3" name="Freeform 670">
                <a:extLst>
                  <a:ext uri="{FF2B5EF4-FFF2-40B4-BE49-F238E27FC236}">
                    <a16:creationId xmlns:a16="http://schemas.microsoft.com/office/drawing/2014/main" id="{60478BD4-F1B0-4B56-A371-16B176F407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4" name="Freeform 671">
                <a:extLst>
                  <a:ext uri="{FF2B5EF4-FFF2-40B4-BE49-F238E27FC236}">
                    <a16:creationId xmlns:a16="http://schemas.microsoft.com/office/drawing/2014/main" id="{F0EC438C-E754-4102-B4C9-D0E2540B65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5" name="Freeform 672">
                <a:extLst>
                  <a:ext uri="{FF2B5EF4-FFF2-40B4-BE49-F238E27FC236}">
                    <a16:creationId xmlns:a16="http://schemas.microsoft.com/office/drawing/2014/main" id="{4EC8B2EA-41E0-4C5F-BBCF-04352B9320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6" name="Freeform 673">
                <a:extLst>
                  <a:ext uri="{FF2B5EF4-FFF2-40B4-BE49-F238E27FC236}">
                    <a16:creationId xmlns:a16="http://schemas.microsoft.com/office/drawing/2014/main" id="{C6228819-AB81-40CE-AAFA-70737ED16D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0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7" name="Freeform 674">
                <a:extLst>
                  <a:ext uri="{FF2B5EF4-FFF2-40B4-BE49-F238E27FC236}">
                    <a16:creationId xmlns:a16="http://schemas.microsoft.com/office/drawing/2014/main" id="{E818F39F-B116-408D-9016-4874969283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040"/>
                <a:ext cx="15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8" name="Freeform 675">
                <a:extLst>
                  <a:ext uri="{FF2B5EF4-FFF2-40B4-BE49-F238E27FC236}">
                    <a16:creationId xmlns:a16="http://schemas.microsoft.com/office/drawing/2014/main" id="{D29B68F8-DE4B-40F9-B374-7F316DF765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02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9" name="Freeform 676">
                <a:extLst>
                  <a:ext uri="{FF2B5EF4-FFF2-40B4-BE49-F238E27FC236}">
                    <a16:creationId xmlns:a16="http://schemas.microsoft.com/office/drawing/2014/main" id="{AA632AB5-5CE8-42DF-9FDB-D706A711F0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00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0" name="Freeform 677">
                <a:extLst>
                  <a:ext uri="{FF2B5EF4-FFF2-40B4-BE49-F238E27FC236}">
                    <a16:creationId xmlns:a16="http://schemas.microsoft.com/office/drawing/2014/main" id="{A97C9402-5E20-4377-97E8-519A7C013D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992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1" name="Freeform 678">
                <a:extLst>
                  <a:ext uri="{FF2B5EF4-FFF2-40B4-BE49-F238E27FC236}">
                    <a16:creationId xmlns:a16="http://schemas.microsoft.com/office/drawing/2014/main" id="{DAA8F264-4FE2-4B5A-B8A2-1FDDACD487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2" name="Freeform 679">
                <a:extLst>
                  <a:ext uri="{FF2B5EF4-FFF2-40B4-BE49-F238E27FC236}">
                    <a16:creationId xmlns:a16="http://schemas.microsoft.com/office/drawing/2014/main" id="{6296218E-EB05-43CD-A546-9111FD4E3F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96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3" name="Freeform 680">
                <a:extLst>
                  <a:ext uri="{FF2B5EF4-FFF2-40B4-BE49-F238E27FC236}">
                    <a16:creationId xmlns:a16="http://schemas.microsoft.com/office/drawing/2014/main" id="{907A9321-C6D7-44E7-803A-A032CD0656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94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4" name="Freeform 681">
                <a:extLst>
                  <a:ext uri="{FF2B5EF4-FFF2-40B4-BE49-F238E27FC236}">
                    <a16:creationId xmlns:a16="http://schemas.microsoft.com/office/drawing/2014/main" id="{CF4E80E0-C115-4374-8E89-2B7C628232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93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5" name="Freeform 682">
                <a:extLst>
                  <a:ext uri="{FF2B5EF4-FFF2-40B4-BE49-F238E27FC236}">
                    <a16:creationId xmlns:a16="http://schemas.microsoft.com/office/drawing/2014/main" id="{00A8C415-3F10-496F-965C-DA3AAF40B6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91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6" name="Freeform 683">
                <a:extLst>
                  <a:ext uri="{FF2B5EF4-FFF2-40B4-BE49-F238E27FC236}">
                    <a16:creationId xmlns:a16="http://schemas.microsoft.com/office/drawing/2014/main" id="{DAA3B511-3A1F-4529-8894-9F92E38FB4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9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7" name="Freeform 684">
                <a:extLst>
                  <a:ext uri="{FF2B5EF4-FFF2-40B4-BE49-F238E27FC236}">
                    <a16:creationId xmlns:a16="http://schemas.microsoft.com/office/drawing/2014/main" id="{76E26567-2D39-4C3A-BC0A-D9E86DA400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8" name="Freeform 685">
                <a:extLst>
                  <a:ext uri="{FF2B5EF4-FFF2-40B4-BE49-F238E27FC236}">
                    <a16:creationId xmlns:a16="http://schemas.microsoft.com/office/drawing/2014/main" id="{667FCDB9-C97A-4485-9D30-D19208D585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9" name="Freeform 686">
                <a:extLst>
                  <a:ext uri="{FF2B5EF4-FFF2-40B4-BE49-F238E27FC236}">
                    <a16:creationId xmlns:a16="http://schemas.microsoft.com/office/drawing/2014/main" id="{5F51065E-523D-4ED0-878E-A5B3E2A0BF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0" name="Freeform 687">
                <a:extLst>
                  <a:ext uri="{FF2B5EF4-FFF2-40B4-BE49-F238E27FC236}">
                    <a16:creationId xmlns:a16="http://schemas.microsoft.com/office/drawing/2014/main" id="{47B45DEE-3C2E-49DB-8663-4C71EC93C1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1" name="Freeform 688">
                <a:extLst>
                  <a:ext uri="{FF2B5EF4-FFF2-40B4-BE49-F238E27FC236}">
                    <a16:creationId xmlns:a16="http://schemas.microsoft.com/office/drawing/2014/main" id="{B0EA083E-F293-4B60-A2A8-32FF33CC24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2" name="Freeform 689">
                <a:extLst>
                  <a:ext uri="{FF2B5EF4-FFF2-40B4-BE49-F238E27FC236}">
                    <a16:creationId xmlns:a16="http://schemas.microsoft.com/office/drawing/2014/main" id="{4478457F-FC0A-4133-B5A1-3B61EBDDB8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3" name="Freeform 690">
                <a:extLst>
                  <a:ext uri="{FF2B5EF4-FFF2-40B4-BE49-F238E27FC236}">
                    <a16:creationId xmlns:a16="http://schemas.microsoft.com/office/drawing/2014/main" id="{7EDB91B8-B3EB-40C4-806B-656B94625F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4" name="Freeform 691">
                <a:extLst>
                  <a:ext uri="{FF2B5EF4-FFF2-40B4-BE49-F238E27FC236}">
                    <a16:creationId xmlns:a16="http://schemas.microsoft.com/office/drawing/2014/main" id="{E52C43D3-E51B-4A2D-9A2F-B842454B67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023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5" name="Freeform 692">
                <a:extLst>
                  <a:ext uri="{FF2B5EF4-FFF2-40B4-BE49-F238E27FC236}">
                    <a16:creationId xmlns:a16="http://schemas.microsoft.com/office/drawing/2014/main" id="{6E4BD4D3-8229-4763-B037-27EDFCD44E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00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6" name="Freeform 693">
                <a:extLst>
                  <a:ext uri="{FF2B5EF4-FFF2-40B4-BE49-F238E27FC236}">
                    <a16:creationId xmlns:a16="http://schemas.microsoft.com/office/drawing/2014/main" id="{A1625F73-8C5E-4627-881C-457442B856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992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7" name="Freeform 694">
                <a:extLst>
                  <a:ext uri="{FF2B5EF4-FFF2-40B4-BE49-F238E27FC236}">
                    <a16:creationId xmlns:a16="http://schemas.microsoft.com/office/drawing/2014/main" id="{642C7BCE-C53C-4905-9D46-0AB2737B80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8" name="Freeform 695">
                <a:extLst>
                  <a:ext uri="{FF2B5EF4-FFF2-40B4-BE49-F238E27FC236}">
                    <a16:creationId xmlns:a16="http://schemas.microsoft.com/office/drawing/2014/main" id="{66200CA3-290B-4CE5-AD37-2A21DD7EFA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96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9" name="Freeform 696">
                <a:extLst>
                  <a:ext uri="{FF2B5EF4-FFF2-40B4-BE49-F238E27FC236}">
                    <a16:creationId xmlns:a16="http://schemas.microsoft.com/office/drawing/2014/main" id="{D84C0DB6-D230-4D27-8380-5C191BB02C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946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0" name="Freeform 697">
                <a:extLst>
                  <a:ext uri="{FF2B5EF4-FFF2-40B4-BE49-F238E27FC236}">
                    <a16:creationId xmlns:a16="http://schemas.microsoft.com/office/drawing/2014/main" id="{F6044F0C-6B86-4E5A-8490-A7B2276092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93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1" name="Freeform 698">
                <a:extLst>
                  <a:ext uri="{FF2B5EF4-FFF2-40B4-BE49-F238E27FC236}">
                    <a16:creationId xmlns:a16="http://schemas.microsoft.com/office/drawing/2014/main" id="{A068501A-386B-48F6-A99F-A8E960A51E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91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2" name="Freeform 699">
                <a:extLst>
                  <a:ext uri="{FF2B5EF4-FFF2-40B4-BE49-F238E27FC236}">
                    <a16:creationId xmlns:a16="http://schemas.microsoft.com/office/drawing/2014/main" id="{3AE950C1-8D0B-4370-AEC7-886941A015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9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3" name="Freeform 700">
                <a:extLst>
                  <a:ext uri="{FF2B5EF4-FFF2-40B4-BE49-F238E27FC236}">
                    <a16:creationId xmlns:a16="http://schemas.microsoft.com/office/drawing/2014/main" id="{5D795634-B758-4378-A7A1-78D604723D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4" name="Freeform 701">
                <a:extLst>
                  <a:ext uri="{FF2B5EF4-FFF2-40B4-BE49-F238E27FC236}">
                    <a16:creationId xmlns:a16="http://schemas.microsoft.com/office/drawing/2014/main" id="{CF74907D-CF41-4B96-A72C-5129E8937C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5" name="Freeform 702">
                <a:extLst>
                  <a:ext uri="{FF2B5EF4-FFF2-40B4-BE49-F238E27FC236}">
                    <a16:creationId xmlns:a16="http://schemas.microsoft.com/office/drawing/2014/main" id="{AA6BC935-E569-4753-BBA9-A509F5712B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6" name="Freeform 703">
                <a:extLst>
                  <a:ext uri="{FF2B5EF4-FFF2-40B4-BE49-F238E27FC236}">
                    <a16:creationId xmlns:a16="http://schemas.microsoft.com/office/drawing/2014/main" id="{C6F27E4F-F530-48DA-B33C-D7FF020FFF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7" name="Freeform 704">
                <a:extLst>
                  <a:ext uri="{FF2B5EF4-FFF2-40B4-BE49-F238E27FC236}">
                    <a16:creationId xmlns:a16="http://schemas.microsoft.com/office/drawing/2014/main" id="{6B99675C-EFCF-445C-9CB7-2E27BA7F63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8" name="Freeform 705">
                <a:extLst>
                  <a:ext uri="{FF2B5EF4-FFF2-40B4-BE49-F238E27FC236}">
                    <a16:creationId xmlns:a16="http://schemas.microsoft.com/office/drawing/2014/main" id="{6F723274-06D5-40C6-A7AF-E34C4DE1BD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9" name="Freeform 706">
                <a:extLst>
                  <a:ext uri="{FF2B5EF4-FFF2-40B4-BE49-F238E27FC236}">
                    <a16:creationId xmlns:a16="http://schemas.microsoft.com/office/drawing/2014/main" id="{60528D7B-ED2B-481C-82BC-E5A563A6B7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0" name="Freeform 707">
                <a:extLst>
                  <a:ext uri="{FF2B5EF4-FFF2-40B4-BE49-F238E27FC236}">
                    <a16:creationId xmlns:a16="http://schemas.microsoft.com/office/drawing/2014/main" id="{995B3233-4507-4094-BC4C-C8CD380E5F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77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1" name="Freeform 708">
                <a:extLst>
                  <a:ext uri="{FF2B5EF4-FFF2-40B4-BE49-F238E27FC236}">
                    <a16:creationId xmlns:a16="http://schemas.microsoft.com/office/drawing/2014/main" id="{23E20665-16F7-44AE-A669-ADCC08E0FC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009"/>
                <a:ext cx="15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2" name="Freeform 709">
                <a:extLst>
                  <a:ext uri="{FF2B5EF4-FFF2-40B4-BE49-F238E27FC236}">
                    <a16:creationId xmlns:a16="http://schemas.microsoft.com/office/drawing/2014/main" id="{90C20C51-B446-4853-A45A-2178EAB330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992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3" name="Freeform 710">
                <a:extLst>
                  <a:ext uri="{FF2B5EF4-FFF2-40B4-BE49-F238E27FC236}">
                    <a16:creationId xmlns:a16="http://schemas.microsoft.com/office/drawing/2014/main" id="{388AAA70-03A8-4994-8559-BB4D408F30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4" name="Freeform 711">
                <a:extLst>
                  <a:ext uri="{FF2B5EF4-FFF2-40B4-BE49-F238E27FC236}">
                    <a16:creationId xmlns:a16="http://schemas.microsoft.com/office/drawing/2014/main" id="{7F0ECF79-732C-4515-942F-FC3B049BB3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96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5" name="Freeform 712">
                <a:extLst>
                  <a:ext uri="{FF2B5EF4-FFF2-40B4-BE49-F238E27FC236}">
                    <a16:creationId xmlns:a16="http://schemas.microsoft.com/office/drawing/2014/main" id="{3F0E4F34-685A-4CFB-BC38-319A1CB5F6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946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6" name="Freeform 713">
                <a:extLst>
                  <a:ext uri="{FF2B5EF4-FFF2-40B4-BE49-F238E27FC236}">
                    <a16:creationId xmlns:a16="http://schemas.microsoft.com/office/drawing/2014/main" id="{3AEAF078-F78C-4FBF-ACD3-95C8449D92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7" name="Freeform 714">
                <a:extLst>
                  <a:ext uri="{FF2B5EF4-FFF2-40B4-BE49-F238E27FC236}">
                    <a16:creationId xmlns:a16="http://schemas.microsoft.com/office/drawing/2014/main" id="{240FB584-3C2D-4FE4-A351-216318F81F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915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8" name="Freeform 715">
                <a:extLst>
                  <a:ext uri="{FF2B5EF4-FFF2-40B4-BE49-F238E27FC236}">
                    <a16:creationId xmlns:a16="http://schemas.microsoft.com/office/drawing/2014/main" id="{62354B1A-F10A-42FF-ABBE-67D7B33957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9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9" name="Freeform 716">
                <a:extLst>
                  <a:ext uri="{FF2B5EF4-FFF2-40B4-BE49-F238E27FC236}">
                    <a16:creationId xmlns:a16="http://schemas.microsoft.com/office/drawing/2014/main" id="{71E0C44D-F524-428B-9CE2-D1C41F3AB6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0" name="Freeform 717">
                <a:extLst>
                  <a:ext uri="{FF2B5EF4-FFF2-40B4-BE49-F238E27FC236}">
                    <a16:creationId xmlns:a16="http://schemas.microsoft.com/office/drawing/2014/main" id="{CCA6E423-1505-46B3-8494-95E55E0A2C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1" name="Freeform 718">
                <a:extLst>
                  <a:ext uri="{FF2B5EF4-FFF2-40B4-BE49-F238E27FC236}">
                    <a16:creationId xmlns:a16="http://schemas.microsoft.com/office/drawing/2014/main" id="{1A71E406-8EF9-4B31-945E-27134CF986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2" name="Freeform 719">
                <a:extLst>
                  <a:ext uri="{FF2B5EF4-FFF2-40B4-BE49-F238E27FC236}">
                    <a16:creationId xmlns:a16="http://schemas.microsoft.com/office/drawing/2014/main" id="{6ECE18FD-3131-434F-923C-BE035B75E0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3" name="Freeform 720">
                <a:extLst>
                  <a:ext uri="{FF2B5EF4-FFF2-40B4-BE49-F238E27FC236}">
                    <a16:creationId xmlns:a16="http://schemas.microsoft.com/office/drawing/2014/main" id="{BFD4323F-373C-46F4-B9BB-CB9D9E5CE1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4" name="Freeform 721">
                <a:extLst>
                  <a:ext uri="{FF2B5EF4-FFF2-40B4-BE49-F238E27FC236}">
                    <a16:creationId xmlns:a16="http://schemas.microsoft.com/office/drawing/2014/main" id="{DA4BD92A-36CC-4590-97F8-7223DEBADA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5" name="Freeform 722">
                <a:extLst>
                  <a:ext uri="{FF2B5EF4-FFF2-40B4-BE49-F238E27FC236}">
                    <a16:creationId xmlns:a16="http://schemas.microsoft.com/office/drawing/2014/main" id="{53FA5058-B240-4F74-9804-24D54EAA99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6" name="Freeform 723">
                <a:extLst>
                  <a:ext uri="{FF2B5EF4-FFF2-40B4-BE49-F238E27FC236}">
                    <a16:creationId xmlns:a16="http://schemas.microsoft.com/office/drawing/2014/main" id="{837B1C61-460C-4D75-AD63-038687F984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77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7" name="Freeform 724">
                <a:extLst>
                  <a:ext uri="{FF2B5EF4-FFF2-40B4-BE49-F238E27FC236}">
                    <a16:creationId xmlns:a16="http://schemas.microsoft.com/office/drawing/2014/main" id="{9B1417CC-C3CC-4AA4-A69E-7CF3BBED55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75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8" name="Freeform 725">
                <a:extLst>
                  <a:ext uri="{FF2B5EF4-FFF2-40B4-BE49-F238E27FC236}">
                    <a16:creationId xmlns:a16="http://schemas.microsoft.com/office/drawing/2014/main" id="{DD3CDD00-95A6-4094-8BD4-EDD58E1606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992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9" name="Freeform 726">
                <a:extLst>
                  <a:ext uri="{FF2B5EF4-FFF2-40B4-BE49-F238E27FC236}">
                    <a16:creationId xmlns:a16="http://schemas.microsoft.com/office/drawing/2014/main" id="{66478049-93AD-4088-BF86-E315722893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0" name="Freeform 727">
                <a:extLst>
                  <a:ext uri="{FF2B5EF4-FFF2-40B4-BE49-F238E27FC236}">
                    <a16:creationId xmlns:a16="http://schemas.microsoft.com/office/drawing/2014/main" id="{FF14F63E-9A9F-4BE0-8AFD-F98E537E07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96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1" name="Freeform 728">
                <a:extLst>
                  <a:ext uri="{FF2B5EF4-FFF2-40B4-BE49-F238E27FC236}">
                    <a16:creationId xmlns:a16="http://schemas.microsoft.com/office/drawing/2014/main" id="{61349DE0-93A9-4A35-A335-F12DB94086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946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2" name="Freeform 729">
                <a:extLst>
                  <a:ext uri="{FF2B5EF4-FFF2-40B4-BE49-F238E27FC236}">
                    <a16:creationId xmlns:a16="http://schemas.microsoft.com/office/drawing/2014/main" id="{F4D1DB74-2386-4FED-BAC0-708864FB15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3" name="Freeform 730">
                <a:extLst>
                  <a:ext uri="{FF2B5EF4-FFF2-40B4-BE49-F238E27FC236}">
                    <a16:creationId xmlns:a16="http://schemas.microsoft.com/office/drawing/2014/main" id="{E483476D-C671-4326-9366-D1382B3B5D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915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4" name="Freeform 731">
                <a:extLst>
                  <a:ext uri="{FF2B5EF4-FFF2-40B4-BE49-F238E27FC236}">
                    <a16:creationId xmlns:a16="http://schemas.microsoft.com/office/drawing/2014/main" id="{A2B1DA67-98EE-4759-B598-5FEF276700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5" name="Freeform 732">
                <a:extLst>
                  <a:ext uri="{FF2B5EF4-FFF2-40B4-BE49-F238E27FC236}">
                    <a16:creationId xmlns:a16="http://schemas.microsoft.com/office/drawing/2014/main" id="{D499B9B4-52E9-4D64-A587-6869FED077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6" name="Freeform 733">
                <a:extLst>
                  <a:ext uri="{FF2B5EF4-FFF2-40B4-BE49-F238E27FC236}">
                    <a16:creationId xmlns:a16="http://schemas.microsoft.com/office/drawing/2014/main" id="{2A79FB9A-C881-473A-B987-3689B64929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6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7" name="Freeform 734">
                <a:extLst>
                  <a:ext uri="{FF2B5EF4-FFF2-40B4-BE49-F238E27FC236}">
                    <a16:creationId xmlns:a16="http://schemas.microsoft.com/office/drawing/2014/main" id="{5802CCB8-3B39-44C4-A200-2541309CC3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8" name="Freeform 735">
                <a:extLst>
                  <a:ext uri="{FF2B5EF4-FFF2-40B4-BE49-F238E27FC236}">
                    <a16:creationId xmlns:a16="http://schemas.microsoft.com/office/drawing/2014/main" id="{17EE88D0-4546-436E-B566-2AD56BD6E5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9" name="Freeform 736">
                <a:extLst>
                  <a:ext uri="{FF2B5EF4-FFF2-40B4-BE49-F238E27FC236}">
                    <a16:creationId xmlns:a16="http://schemas.microsoft.com/office/drawing/2014/main" id="{4C9528BC-75F3-430F-8159-A551267950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0" name="Freeform 737">
                <a:extLst>
                  <a:ext uri="{FF2B5EF4-FFF2-40B4-BE49-F238E27FC236}">
                    <a16:creationId xmlns:a16="http://schemas.microsoft.com/office/drawing/2014/main" id="{707D326D-AE21-45A7-A70F-C2741E5008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1" name="Freeform 738">
                <a:extLst>
                  <a:ext uri="{FF2B5EF4-FFF2-40B4-BE49-F238E27FC236}">
                    <a16:creationId xmlns:a16="http://schemas.microsoft.com/office/drawing/2014/main" id="{B4C295C9-00CD-4315-BC4E-6E5F83BC2B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2" name="Freeform 739">
                <a:extLst>
                  <a:ext uri="{FF2B5EF4-FFF2-40B4-BE49-F238E27FC236}">
                    <a16:creationId xmlns:a16="http://schemas.microsoft.com/office/drawing/2014/main" id="{EDE66F1E-6CB9-4C8B-AA1E-B4AE69AA0F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77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3" name="Freeform 740">
                <a:extLst>
                  <a:ext uri="{FF2B5EF4-FFF2-40B4-BE49-F238E27FC236}">
                    <a16:creationId xmlns:a16="http://schemas.microsoft.com/office/drawing/2014/main" id="{1B726B97-3756-4589-B649-23C72B92D6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75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4" name="Freeform 741">
                <a:extLst>
                  <a:ext uri="{FF2B5EF4-FFF2-40B4-BE49-F238E27FC236}">
                    <a16:creationId xmlns:a16="http://schemas.microsoft.com/office/drawing/2014/main" id="{B4495C6C-2AB1-4C7E-982F-680A0EA256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743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5" name="Freeform 742">
                <a:extLst>
                  <a:ext uri="{FF2B5EF4-FFF2-40B4-BE49-F238E27FC236}">
                    <a16:creationId xmlns:a16="http://schemas.microsoft.com/office/drawing/2014/main" id="{CEC7B6FE-95C3-461E-AD52-2AAAD5E0C2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975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6" name="Freeform 743">
                <a:extLst>
                  <a:ext uri="{FF2B5EF4-FFF2-40B4-BE49-F238E27FC236}">
                    <a16:creationId xmlns:a16="http://schemas.microsoft.com/office/drawing/2014/main" id="{D3FC8BDE-52D1-45F4-8FE5-C95FBD0A1E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961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7" name="Freeform 744">
                <a:extLst>
                  <a:ext uri="{FF2B5EF4-FFF2-40B4-BE49-F238E27FC236}">
                    <a16:creationId xmlns:a16="http://schemas.microsoft.com/office/drawing/2014/main" id="{6C268166-754A-4777-8149-A2F51C518B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94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8" name="Freeform 745">
                <a:extLst>
                  <a:ext uri="{FF2B5EF4-FFF2-40B4-BE49-F238E27FC236}">
                    <a16:creationId xmlns:a16="http://schemas.microsoft.com/office/drawing/2014/main" id="{B53017BF-368E-4862-8AE1-CEB3B7AE66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9" name="Freeform 746">
                <a:extLst>
                  <a:ext uri="{FF2B5EF4-FFF2-40B4-BE49-F238E27FC236}">
                    <a16:creationId xmlns:a16="http://schemas.microsoft.com/office/drawing/2014/main" id="{165644DB-E225-4871-8D59-88CE3107B6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91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0" name="Freeform 747">
                <a:extLst>
                  <a:ext uri="{FF2B5EF4-FFF2-40B4-BE49-F238E27FC236}">
                    <a16:creationId xmlns:a16="http://schemas.microsoft.com/office/drawing/2014/main" id="{6D198011-EA01-4E67-9C1D-CED91B7463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1" name="Freeform 748">
                <a:extLst>
                  <a:ext uri="{FF2B5EF4-FFF2-40B4-BE49-F238E27FC236}">
                    <a16:creationId xmlns:a16="http://schemas.microsoft.com/office/drawing/2014/main" id="{1EF4F4C1-997E-4003-813D-D6199F87C5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2" name="Freeform 749">
                <a:extLst>
                  <a:ext uri="{FF2B5EF4-FFF2-40B4-BE49-F238E27FC236}">
                    <a16:creationId xmlns:a16="http://schemas.microsoft.com/office/drawing/2014/main" id="{A55F47EC-B9AE-492C-BC88-A11CC2FEB0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3" name="Freeform 750">
                <a:extLst>
                  <a:ext uri="{FF2B5EF4-FFF2-40B4-BE49-F238E27FC236}">
                    <a16:creationId xmlns:a16="http://schemas.microsoft.com/office/drawing/2014/main" id="{A4392F08-5703-4A6F-9E75-64DF38D1F5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4" name="Freeform 751">
                <a:extLst>
                  <a:ext uri="{FF2B5EF4-FFF2-40B4-BE49-F238E27FC236}">
                    <a16:creationId xmlns:a16="http://schemas.microsoft.com/office/drawing/2014/main" id="{EEB823AD-5E8F-4322-9329-78934EB86C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3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5" name="Freeform 752">
                <a:extLst>
                  <a:ext uri="{FF2B5EF4-FFF2-40B4-BE49-F238E27FC236}">
                    <a16:creationId xmlns:a16="http://schemas.microsoft.com/office/drawing/2014/main" id="{CBF261C5-E9D0-4E9A-A535-8414C389BE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820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6" name="Freeform 753">
                <a:extLst>
                  <a:ext uri="{FF2B5EF4-FFF2-40B4-BE49-F238E27FC236}">
                    <a16:creationId xmlns:a16="http://schemas.microsoft.com/office/drawing/2014/main" id="{E40E5F00-8AD6-4CD0-864A-48FDE92EB2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0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7" name="Freeform 754">
                <a:extLst>
                  <a:ext uri="{FF2B5EF4-FFF2-40B4-BE49-F238E27FC236}">
                    <a16:creationId xmlns:a16="http://schemas.microsoft.com/office/drawing/2014/main" id="{EE4EE460-76EB-44FA-812F-CAE57D62B6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788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8" name="Freeform 755">
                <a:extLst>
                  <a:ext uri="{FF2B5EF4-FFF2-40B4-BE49-F238E27FC236}">
                    <a16:creationId xmlns:a16="http://schemas.microsoft.com/office/drawing/2014/main" id="{3B39CFED-AE72-45AD-9F43-00F61416ED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77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9" name="Freeform 756">
                <a:extLst>
                  <a:ext uri="{FF2B5EF4-FFF2-40B4-BE49-F238E27FC236}">
                    <a16:creationId xmlns:a16="http://schemas.microsoft.com/office/drawing/2014/main" id="{4244E007-2020-477F-BAF7-1049686C87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75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0" name="Freeform 757">
                <a:extLst>
                  <a:ext uri="{FF2B5EF4-FFF2-40B4-BE49-F238E27FC236}">
                    <a16:creationId xmlns:a16="http://schemas.microsoft.com/office/drawing/2014/main" id="{ABE13715-1E4D-42B3-9490-E845A42ECE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1" name="Freeform 758">
                <a:extLst>
                  <a:ext uri="{FF2B5EF4-FFF2-40B4-BE49-F238E27FC236}">
                    <a16:creationId xmlns:a16="http://schemas.microsoft.com/office/drawing/2014/main" id="{5C92E6D8-A1E8-49B5-80A3-6F70B452D5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2" name="Freeform 759">
                <a:extLst>
                  <a:ext uri="{FF2B5EF4-FFF2-40B4-BE49-F238E27FC236}">
                    <a16:creationId xmlns:a16="http://schemas.microsoft.com/office/drawing/2014/main" id="{11936ADF-159E-48C1-9B51-416C8913BE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961"/>
                <a:ext cx="15" cy="8"/>
              </a:xfrm>
              <a:custGeom>
                <a:avLst/>
                <a:gdLst>
                  <a:gd name="T0" fmla="*/ 1 w 7"/>
                  <a:gd name="T1" fmla="*/ 1 h 4"/>
                  <a:gd name="T2" fmla="*/ 6 w 7"/>
                  <a:gd name="T3" fmla="*/ 1 h 4"/>
                  <a:gd name="T4" fmla="*/ 6 w 7"/>
                  <a:gd name="T5" fmla="*/ 4 h 4"/>
                  <a:gd name="T6" fmla="*/ 1 w 7"/>
                  <a:gd name="T7" fmla="*/ 4 h 4"/>
                  <a:gd name="T8" fmla="*/ 1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3" name="Freeform 760">
                <a:extLst>
                  <a:ext uri="{FF2B5EF4-FFF2-40B4-BE49-F238E27FC236}">
                    <a16:creationId xmlns:a16="http://schemas.microsoft.com/office/drawing/2014/main" id="{F7DCFE9A-4A8F-468B-A2FF-C7EF55C075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94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4" name="Freeform 761">
                <a:extLst>
                  <a:ext uri="{FF2B5EF4-FFF2-40B4-BE49-F238E27FC236}">
                    <a16:creationId xmlns:a16="http://schemas.microsoft.com/office/drawing/2014/main" id="{C38EBD7B-E57B-48CF-AE09-36FE8BB491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5" name="Freeform 762">
                <a:extLst>
                  <a:ext uri="{FF2B5EF4-FFF2-40B4-BE49-F238E27FC236}">
                    <a16:creationId xmlns:a16="http://schemas.microsoft.com/office/drawing/2014/main" id="{6290EDEA-3586-463F-8CDD-1BA9A66C09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91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6" name="Freeform 763">
                <a:extLst>
                  <a:ext uri="{FF2B5EF4-FFF2-40B4-BE49-F238E27FC236}">
                    <a16:creationId xmlns:a16="http://schemas.microsoft.com/office/drawing/2014/main" id="{5E87C63F-B24E-4022-8E43-CCA2E5747E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7" name="Freeform 764">
                <a:extLst>
                  <a:ext uri="{FF2B5EF4-FFF2-40B4-BE49-F238E27FC236}">
                    <a16:creationId xmlns:a16="http://schemas.microsoft.com/office/drawing/2014/main" id="{64AD621D-09C5-499B-ACDC-3D268B3B77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8" name="Freeform 765">
                <a:extLst>
                  <a:ext uri="{FF2B5EF4-FFF2-40B4-BE49-F238E27FC236}">
                    <a16:creationId xmlns:a16="http://schemas.microsoft.com/office/drawing/2014/main" id="{9CBA194F-6B83-43B9-ACD2-CC53C3608A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9" name="Freeform 766">
                <a:extLst>
                  <a:ext uri="{FF2B5EF4-FFF2-40B4-BE49-F238E27FC236}">
                    <a16:creationId xmlns:a16="http://schemas.microsoft.com/office/drawing/2014/main" id="{216D553A-86AA-42F6-8155-349D386A51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0" name="Freeform 767">
                <a:extLst>
                  <a:ext uri="{FF2B5EF4-FFF2-40B4-BE49-F238E27FC236}">
                    <a16:creationId xmlns:a16="http://schemas.microsoft.com/office/drawing/2014/main" id="{AF12BEF2-15D9-4451-82C8-7C5AFEE7FF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3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1" name="Freeform 768">
                <a:extLst>
                  <a:ext uri="{FF2B5EF4-FFF2-40B4-BE49-F238E27FC236}">
                    <a16:creationId xmlns:a16="http://schemas.microsoft.com/office/drawing/2014/main" id="{45E77C2B-70FD-4EF9-A67B-9910E06ECA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82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2" name="Freeform 769">
                <a:extLst>
                  <a:ext uri="{FF2B5EF4-FFF2-40B4-BE49-F238E27FC236}">
                    <a16:creationId xmlns:a16="http://schemas.microsoft.com/office/drawing/2014/main" id="{87FC3C97-1C83-44BF-A748-A0FCBE130F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0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3" name="Freeform 770">
                <a:extLst>
                  <a:ext uri="{FF2B5EF4-FFF2-40B4-BE49-F238E27FC236}">
                    <a16:creationId xmlns:a16="http://schemas.microsoft.com/office/drawing/2014/main" id="{26D59886-DFC5-4FB0-9E0B-B08D9EB7F8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788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4" name="Freeform 771">
                <a:extLst>
                  <a:ext uri="{FF2B5EF4-FFF2-40B4-BE49-F238E27FC236}">
                    <a16:creationId xmlns:a16="http://schemas.microsoft.com/office/drawing/2014/main" id="{CEC38964-1BA3-4BEF-91BF-0306F8438D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77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5" name="Freeform 772">
                <a:extLst>
                  <a:ext uri="{FF2B5EF4-FFF2-40B4-BE49-F238E27FC236}">
                    <a16:creationId xmlns:a16="http://schemas.microsoft.com/office/drawing/2014/main" id="{0B063CA4-C58D-4848-873C-54B1F71252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75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6" name="Freeform 773">
                <a:extLst>
                  <a:ext uri="{FF2B5EF4-FFF2-40B4-BE49-F238E27FC236}">
                    <a16:creationId xmlns:a16="http://schemas.microsoft.com/office/drawing/2014/main" id="{804F5A1F-CC19-43FF-889E-5A7B4A895A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7" name="Freeform 774">
                <a:extLst>
                  <a:ext uri="{FF2B5EF4-FFF2-40B4-BE49-F238E27FC236}">
                    <a16:creationId xmlns:a16="http://schemas.microsoft.com/office/drawing/2014/main" id="{C25B6D43-C872-4737-BFCA-9A7C815B82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8" name="Freeform 775">
                <a:extLst>
                  <a:ext uri="{FF2B5EF4-FFF2-40B4-BE49-F238E27FC236}">
                    <a16:creationId xmlns:a16="http://schemas.microsoft.com/office/drawing/2014/main" id="{84D43B28-B029-47D5-BA0D-3514C0E1DB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71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9" name="Freeform 776">
                <a:extLst>
                  <a:ext uri="{FF2B5EF4-FFF2-40B4-BE49-F238E27FC236}">
                    <a16:creationId xmlns:a16="http://schemas.microsoft.com/office/drawing/2014/main" id="{8C85D855-0369-4F2E-93FD-A72E14D12E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1944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0" name="Freeform 777">
                <a:extLst>
                  <a:ext uri="{FF2B5EF4-FFF2-40B4-BE49-F238E27FC236}">
                    <a16:creationId xmlns:a16="http://schemas.microsoft.com/office/drawing/2014/main" id="{EDF50E85-B625-4165-B98A-85A2D86190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1" name="Freeform 778">
                <a:extLst>
                  <a:ext uri="{FF2B5EF4-FFF2-40B4-BE49-F238E27FC236}">
                    <a16:creationId xmlns:a16="http://schemas.microsoft.com/office/drawing/2014/main" id="{5BDCB876-B56F-4563-B5DC-54C5961E02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91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2" name="Freeform 779">
                <a:extLst>
                  <a:ext uri="{FF2B5EF4-FFF2-40B4-BE49-F238E27FC236}">
                    <a16:creationId xmlns:a16="http://schemas.microsoft.com/office/drawing/2014/main" id="{C226A891-60D8-4149-9C7B-42B34D498B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3" name="Freeform 780">
                <a:extLst>
                  <a:ext uri="{FF2B5EF4-FFF2-40B4-BE49-F238E27FC236}">
                    <a16:creationId xmlns:a16="http://schemas.microsoft.com/office/drawing/2014/main" id="{7978007D-A8A8-4DF7-86DE-7860E848CD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4" name="Freeform 781">
                <a:extLst>
                  <a:ext uri="{FF2B5EF4-FFF2-40B4-BE49-F238E27FC236}">
                    <a16:creationId xmlns:a16="http://schemas.microsoft.com/office/drawing/2014/main" id="{87A8F25C-755D-4D0E-8FD3-06C9FFCC2E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5" name="Freeform 782">
                <a:extLst>
                  <a:ext uri="{FF2B5EF4-FFF2-40B4-BE49-F238E27FC236}">
                    <a16:creationId xmlns:a16="http://schemas.microsoft.com/office/drawing/2014/main" id="{5F8AFA44-565E-4B56-8F7F-EDD01A711B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6" name="Freeform 783">
                <a:extLst>
                  <a:ext uri="{FF2B5EF4-FFF2-40B4-BE49-F238E27FC236}">
                    <a16:creationId xmlns:a16="http://schemas.microsoft.com/office/drawing/2014/main" id="{26E00DEE-0579-4386-B85A-2AC226A596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3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7" name="Freeform 784">
                <a:extLst>
                  <a:ext uri="{FF2B5EF4-FFF2-40B4-BE49-F238E27FC236}">
                    <a16:creationId xmlns:a16="http://schemas.microsoft.com/office/drawing/2014/main" id="{A8CB00FB-C026-4F0D-9799-A276954719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82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8" name="Freeform 785">
                <a:extLst>
                  <a:ext uri="{FF2B5EF4-FFF2-40B4-BE49-F238E27FC236}">
                    <a16:creationId xmlns:a16="http://schemas.microsoft.com/office/drawing/2014/main" id="{062ACB42-6441-4D76-BB19-F746DB12DB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0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9" name="Freeform 786">
                <a:extLst>
                  <a:ext uri="{FF2B5EF4-FFF2-40B4-BE49-F238E27FC236}">
                    <a16:creationId xmlns:a16="http://schemas.microsoft.com/office/drawing/2014/main" id="{6E6F118E-1798-4D35-ADED-0521D29DC9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78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0" name="Freeform 787">
                <a:extLst>
                  <a:ext uri="{FF2B5EF4-FFF2-40B4-BE49-F238E27FC236}">
                    <a16:creationId xmlns:a16="http://schemas.microsoft.com/office/drawing/2014/main" id="{8C15C553-5ABF-43B2-B29C-C9A9DF37A4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77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1" name="Freeform 788">
                <a:extLst>
                  <a:ext uri="{FF2B5EF4-FFF2-40B4-BE49-F238E27FC236}">
                    <a16:creationId xmlns:a16="http://schemas.microsoft.com/office/drawing/2014/main" id="{CCC2A9FF-025A-4136-9CA3-5D7A4F35E5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75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2" name="Freeform 789">
                <a:extLst>
                  <a:ext uri="{FF2B5EF4-FFF2-40B4-BE49-F238E27FC236}">
                    <a16:creationId xmlns:a16="http://schemas.microsoft.com/office/drawing/2014/main" id="{6ABED4A6-EBD7-4E38-8DF7-EDB3EB0884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3" name="Freeform 790">
                <a:extLst>
                  <a:ext uri="{FF2B5EF4-FFF2-40B4-BE49-F238E27FC236}">
                    <a16:creationId xmlns:a16="http://schemas.microsoft.com/office/drawing/2014/main" id="{2C8F653C-2650-4296-A483-4DBB13F8E4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4" name="Freeform 791">
                <a:extLst>
                  <a:ext uri="{FF2B5EF4-FFF2-40B4-BE49-F238E27FC236}">
                    <a16:creationId xmlns:a16="http://schemas.microsoft.com/office/drawing/2014/main" id="{76473F4C-B164-4A82-9B40-78C53F9B3E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71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5" name="Freeform 792">
                <a:extLst>
                  <a:ext uri="{FF2B5EF4-FFF2-40B4-BE49-F238E27FC236}">
                    <a16:creationId xmlns:a16="http://schemas.microsoft.com/office/drawing/2014/main" id="{3BC67D71-F285-465F-BCC1-768A7D1B72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69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6" name="Freeform 793">
                <a:extLst>
                  <a:ext uri="{FF2B5EF4-FFF2-40B4-BE49-F238E27FC236}">
                    <a16:creationId xmlns:a16="http://schemas.microsoft.com/office/drawing/2014/main" id="{4751401B-EF13-44AF-BCC1-3E97875C67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1930"/>
                <a:ext cx="15" cy="8"/>
              </a:xfrm>
              <a:custGeom>
                <a:avLst/>
                <a:gdLst>
                  <a:gd name="T0" fmla="*/ 1 w 7"/>
                  <a:gd name="T1" fmla="*/ 1 h 4"/>
                  <a:gd name="T2" fmla="*/ 6 w 7"/>
                  <a:gd name="T3" fmla="*/ 1 h 4"/>
                  <a:gd name="T4" fmla="*/ 6 w 7"/>
                  <a:gd name="T5" fmla="*/ 4 h 4"/>
                  <a:gd name="T6" fmla="*/ 1 w 7"/>
                  <a:gd name="T7" fmla="*/ 4 h 4"/>
                  <a:gd name="T8" fmla="*/ 1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7" name="Freeform 794">
                <a:extLst>
                  <a:ext uri="{FF2B5EF4-FFF2-40B4-BE49-F238E27FC236}">
                    <a16:creationId xmlns:a16="http://schemas.microsoft.com/office/drawing/2014/main" id="{00EF49AD-B10D-4480-966A-0E3E965E2F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1913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  <a:gd name="T10" fmla="*/ 1 w 7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8" name="Freeform 795">
                <a:extLst>
                  <a:ext uri="{FF2B5EF4-FFF2-40B4-BE49-F238E27FC236}">
                    <a16:creationId xmlns:a16="http://schemas.microsoft.com/office/drawing/2014/main" id="{98569CF8-3D5A-41B1-871B-E54F40DD41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9" name="Freeform 796">
                <a:extLst>
                  <a:ext uri="{FF2B5EF4-FFF2-40B4-BE49-F238E27FC236}">
                    <a16:creationId xmlns:a16="http://schemas.microsoft.com/office/drawing/2014/main" id="{0BE28602-30AE-4042-B519-02ABD44D53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0" name="Freeform 797">
                <a:extLst>
                  <a:ext uri="{FF2B5EF4-FFF2-40B4-BE49-F238E27FC236}">
                    <a16:creationId xmlns:a16="http://schemas.microsoft.com/office/drawing/2014/main" id="{1646E2C5-1DCF-4C35-8479-454815B391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1" name="Freeform 798">
                <a:extLst>
                  <a:ext uri="{FF2B5EF4-FFF2-40B4-BE49-F238E27FC236}">
                    <a16:creationId xmlns:a16="http://schemas.microsoft.com/office/drawing/2014/main" id="{55AC071F-1E92-4FD3-9E81-0D94776801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2" name="Freeform 799">
                <a:extLst>
                  <a:ext uri="{FF2B5EF4-FFF2-40B4-BE49-F238E27FC236}">
                    <a16:creationId xmlns:a16="http://schemas.microsoft.com/office/drawing/2014/main" id="{97270875-2535-41F5-AF0F-1D64944B51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83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3" name="Freeform 800">
                <a:extLst>
                  <a:ext uri="{FF2B5EF4-FFF2-40B4-BE49-F238E27FC236}">
                    <a16:creationId xmlns:a16="http://schemas.microsoft.com/office/drawing/2014/main" id="{91C048BA-EF74-4C4D-9D40-7045198C71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82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4" name="Freeform 801">
                <a:extLst>
                  <a:ext uri="{FF2B5EF4-FFF2-40B4-BE49-F238E27FC236}">
                    <a16:creationId xmlns:a16="http://schemas.microsoft.com/office/drawing/2014/main" id="{B4E871D3-06E8-4F32-A33D-6260C3324A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0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5" name="Freeform 802">
                <a:extLst>
                  <a:ext uri="{FF2B5EF4-FFF2-40B4-BE49-F238E27FC236}">
                    <a16:creationId xmlns:a16="http://schemas.microsoft.com/office/drawing/2014/main" id="{3DB1A242-7CC0-4FB5-8F96-A3FF4A8595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78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6" name="Freeform 803">
                <a:extLst>
                  <a:ext uri="{FF2B5EF4-FFF2-40B4-BE49-F238E27FC236}">
                    <a16:creationId xmlns:a16="http://schemas.microsoft.com/office/drawing/2014/main" id="{47A82D6A-D824-4C13-A198-DF6DA4675A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77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7" name="Freeform 804">
                <a:extLst>
                  <a:ext uri="{FF2B5EF4-FFF2-40B4-BE49-F238E27FC236}">
                    <a16:creationId xmlns:a16="http://schemas.microsoft.com/office/drawing/2014/main" id="{2EDA84B4-F11C-46B2-84F5-57C4F7C522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75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8" name="Freeform 805">
                <a:extLst>
                  <a:ext uri="{FF2B5EF4-FFF2-40B4-BE49-F238E27FC236}">
                    <a16:creationId xmlns:a16="http://schemas.microsoft.com/office/drawing/2014/main" id="{F94B8393-14F8-410F-83EF-F7082510DF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9" name="Freeform 806">
                <a:extLst>
                  <a:ext uri="{FF2B5EF4-FFF2-40B4-BE49-F238E27FC236}">
                    <a16:creationId xmlns:a16="http://schemas.microsoft.com/office/drawing/2014/main" id="{6F605268-B657-4F8D-A0AE-3E6A52B0F3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0" name="Freeform 807">
                <a:extLst>
                  <a:ext uri="{FF2B5EF4-FFF2-40B4-BE49-F238E27FC236}">
                    <a16:creationId xmlns:a16="http://schemas.microsoft.com/office/drawing/2014/main" id="{E58EE950-A318-46C8-AF66-FFC69A5551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712"/>
                <a:ext cx="14" cy="8"/>
              </a:xfrm>
              <a:custGeom>
                <a:avLst/>
                <a:gdLst>
                  <a:gd name="T0" fmla="*/ 1 w 7"/>
                  <a:gd name="T1" fmla="*/ 1 h 4"/>
                  <a:gd name="T2" fmla="*/ 6 w 7"/>
                  <a:gd name="T3" fmla="*/ 1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1 h 4"/>
                  <a:gd name="T10" fmla="*/ 1 w 7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10" name="Group 1009">
              <a:extLst>
                <a:ext uri="{FF2B5EF4-FFF2-40B4-BE49-F238E27FC236}">
                  <a16:creationId xmlns:a16="http://schemas.microsoft.com/office/drawing/2014/main" id="{DDE4E392-31C1-4DBB-9C5D-5669CB70DDF8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7723624" y="2942773"/>
              <a:ext cx="4287857" cy="2837334"/>
              <a:chOff x="4739" y="1508"/>
              <a:chExt cx="2019" cy="1336"/>
            </a:xfrm>
          </p:grpSpPr>
          <p:sp>
            <p:nvSpPr>
              <p:cNvPr id="10371" name="Freeform 809">
                <a:extLst>
                  <a:ext uri="{FF2B5EF4-FFF2-40B4-BE49-F238E27FC236}">
                    <a16:creationId xmlns:a16="http://schemas.microsoft.com/office/drawing/2014/main" id="{D60AA831-8213-4C66-B732-C7B7F1A728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695"/>
                <a:ext cx="14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  <a:gd name="T10" fmla="*/ 1 w 7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2" name="Freeform 810">
                <a:extLst>
                  <a:ext uri="{FF2B5EF4-FFF2-40B4-BE49-F238E27FC236}">
                    <a16:creationId xmlns:a16="http://schemas.microsoft.com/office/drawing/2014/main" id="{C54194FC-3A0A-4B8D-A792-32059C09CD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680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6 w 7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3" name="Freeform 811">
                <a:extLst>
                  <a:ext uri="{FF2B5EF4-FFF2-40B4-BE49-F238E27FC236}">
                    <a16:creationId xmlns:a16="http://schemas.microsoft.com/office/drawing/2014/main" id="{2DB0F712-055E-4B00-A4DB-8524985133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78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6 w 7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4" name="Freeform 812">
                <a:extLst>
                  <a:ext uri="{FF2B5EF4-FFF2-40B4-BE49-F238E27FC236}">
                    <a16:creationId xmlns:a16="http://schemas.microsoft.com/office/drawing/2014/main" id="{3D1E41DF-EED8-4D0D-9394-89D88B6C21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77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6 w 7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5" name="Freeform 813">
                <a:extLst>
                  <a:ext uri="{FF2B5EF4-FFF2-40B4-BE49-F238E27FC236}">
                    <a16:creationId xmlns:a16="http://schemas.microsoft.com/office/drawing/2014/main" id="{891DC8D2-02C2-49E0-8A63-7248F7103A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78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6" name="Freeform 814">
                <a:extLst>
                  <a:ext uri="{FF2B5EF4-FFF2-40B4-BE49-F238E27FC236}">
                    <a16:creationId xmlns:a16="http://schemas.microsoft.com/office/drawing/2014/main" id="{07523842-A444-4630-92FE-1363088719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77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7" name="Freeform 815">
                <a:extLst>
                  <a:ext uri="{FF2B5EF4-FFF2-40B4-BE49-F238E27FC236}">
                    <a16:creationId xmlns:a16="http://schemas.microsoft.com/office/drawing/2014/main" id="{4EFB1C46-9981-4977-B653-2A108F301E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75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8" name="Freeform 816">
                <a:extLst>
                  <a:ext uri="{FF2B5EF4-FFF2-40B4-BE49-F238E27FC236}">
                    <a16:creationId xmlns:a16="http://schemas.microsoft.com/office/drawing/2014/main" id="{85FC8543-5C32-4A43-BDA6-5DC623B5F2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74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9" name="Freeform 817">
                <a:extLst>
                  <a:ext uri="{FF2B5EF4-FFF2-40B4-BE49-F238E27FC236}">
                    <a16:creationId xmlns:a16="http://schemas.microsoft.com/office/drawing/2014/main" id="{AD717987-097A-4890-A82F-D048F92C93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72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0" name="Freeform 818">
                <a:extLst>
                  <a:ext uri="{FF2B5EF4-FFF2-40B4-BE49-F238E27FC236}">
                    <a16:creationId xmlns:a16="http://schemas.microsoft.com/office/drawing/2014/main" id="{65E5B71F-35A5-44BE-B3C3-9B12A6720A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1" name="Freeform 819">
                <a:extLst>
                  <a:ext uri="{FF2B5EF4-FFF2-40B4-BE49-F238E27FC236}">
                    <a16:creationId xmlns:a16="http://schemas.microsoft.com/office/drawing/2014/main" id="{3D6007A3-8297-4077-9C23-6208522E55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2" name="Freeform 820">
                <a:extLst>
                  <a:ext uri="{FF2B5EF4-FFF2-40B4-BE49-F238E27FC236}">
                    <a16:creationId xmlns:a16="http://schemas.microsoft.com/office/drawing/2014/main" id="{C2C698B4-88DF-4B34-92F8-7B6E5589F5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3" name="Freeform 821">
                <a:extLst>
                  <a:ext uri="{FF2B5EF4-FFF2-40B4-BE49-F238E27FC236}">
                    <a16:creationId xmlns:a16="http://schemas.microsoft.com/office/drawing/2014/main" id="{DA24955F-AB1E-429A-9C2B-7D89DFCEB4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4" name="Freeform 822">
                <a:extLst>
                  <a:ext uri="{FF2B5EF4-FFF2-40B4-BE49-F238E27FC236}">
                    <a16:creationId xmlns:a16="http://schemas.microsoft.com/office/drawing/2014/main" id="{F42DE7BE-DAD9-4B70-B555-F32308B92B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5" name="Freeform 823">
                <a:extLst>
                  <a:ext uri="{FF2B5EF4-FFF2-40B4-BE49-F238E27FC236}">
                    <a16:creationId xmlns:a16="http://schemas.microsoft.com/office/drawing/2014/main" id="{4694C586-B7AF-45D6-9875-D5C014C8BF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6" name="Freeform 824">
                <a:extLst>
                  <a:ext uri="{FF2B5EF4-FFF2-40B4-BE49-F238E27FC236}">
                    <a16:creationId xmlns:a16="http://schemas.microsoft.com/office/drawing/2014/main" id="{CBDF949E-DF68-4739-AADF-E1178AFE1C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7" name="Freeform 825">
                <a:extLst>
                  <a:ext uri="{FF2B5EF4-FFF2-40B4-BE49-F238E27FC236}">
                    <a16:creationId xmlns:a16="http://schemas.microsoft.com/office/drawing/2014/main" id="{94C76CED-13DA-47AF-999B-A0AEEC15A3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601"/>
                <a:ext cx="17" cy="11"/>
              </a:xfrm>
              <a:custGeom>
                <a:avLst/>
                <a:gdLst>
                  <a:gd name="T0" fmla="*/ 6 w 8"/>
                  <a:gd name="T1" fmla="*/ 4 h 5"/>
                  <a:gd name="T2" fmla="*/ 1 w 8"/>
                  <a:gd name="T3" fmla="*/ 4 h 5"/>
                  <a:gd name="T4" fmla="*/ 1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8" name="Freeform 826">
                <a:extLst>
                  <a:ext uri="{FF2B5EF4-FFF2-40B4-BE49-F238E27FC236}">
                    <a16:creationId xmlns:a16="http://schemas.microsoft.com/office/drawing/2014/main" id="{DD815775-832E-484C-A25B-4B86C8017B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774"/>
                <a:ext cx="17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9" name="Freeform 827">
                <a:extLst>
                  <a:ext uri="{FF2B5EF4-FFF2-40B4-BE49-F238E27FC236}">
                    <a16:creationId xmlns:a16="http://schemas.microsoft.com/office/drawing/2014/main" id="{1A4FC53F-9042-47CF-8BC1-D50FCF9A73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75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0" name="Freeform 828">
                <a:extLst>
                  <a:ext uri="{FF2B5EF4-FFF2-40B4-BE49-F238E27FC236}">
                    <a16:creationId xmlns:a16="http://schemas.microsoft.com/office/drawing/2014/main" id="{C662E5B8-5371-4957-A7D4-818284D9A0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74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1" name="Freeform 829">
                <a:extLst>
                  <a:ext uri="{FF2B5EF4-FFF2-40B4-BE49-F238E27FC236}">
                    <a16:creationId xmlns:a16="http://schemas.microsoft.com/office/drawing/2014/main" id="{AC39B7E2-1BBE-410A-85E8-06A39913DC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72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2" name="Freeform 830">
                <a:extLst>
                  <a:ext uri="{FF2B5EF4-FFF2-40B4-BE49-F238E27FC236}">
                    <a16:creationId xmlns:a16="http://schemas.microsoft.com/office/drawing/2014/main" id="{B4E47C93-340F-4DB0-879A-ACE964D2D0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3" name="Freeform 831">
                <a:extLst>
                  <a:ext uri="{FF2B5EF4-FFF2-40B4-BE49-F238E27FC236}">
                    <a16:creationId xmlns:a16="http://schemas.microsoft.com/office/drawing/2014/main" id="{92A021A3-DC39-4910-B6E6-E5ABDB58E5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4" name="Freeform 832">
                <a:extLst>
                  <a:ext uri="{FF2B5EF4-FFF2-40B4-BE49-F238E27FC236}">
                    <a16:creationId xmlns:a16="http://schemas.microsoft.com/office/drawing/2014/main" id="{E628F6E2-2970-4AF2-9DF7-5D0E5BCA5C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5" name="Freeform 833">
                <a:extLst>
                  <a:ext uri="{FF2B5EF4-FFF2-40B4-BE49-F238E27FC236}">
                    <a16:creationId xmlns:a16="http://schemas.microsoft.com/office/drawing/2014/main" id="{11207697-7B28-4492-A502-0CF144C730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6" name="Freeform 834">
                <a:extLst>
                  <a:ext uri="{FF2B5EF4-FFF2-40B4-BE49-F238E27FC236}">
                    <a16:creationId xmlns:a16="http://schemas.microsoft.com/office/drawing/2014/main" id="{7FA947AE-A7DE-4EE8-90F9-698509E15F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7" name="Freeform 835">
                <a:extLst>
                  <a:ext uri="{FF2B5EF4-FFF2-40B4-BE49-F238E27FC236}">
                    <a16:creationId xmlns:a16="http://schemas.microsoft.com/office/drawing/2014/main" id="{A4352F92-9ADA-4249-8E03-CC6DA253E1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8" name="Freeform 836">
                <a:extLst>
                  <a:ext uri="{FF2B5EF4-FFF2-40B4-BE49-F238E27FC236}">
                    <a16:creationId xmlns:a16="http://schemas.microsoft.com/office/drawing/2014/main" id="{D1F5C2F9-CA0E-4E8C-B323-BA42A4CAB5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9" name="Freeform 837">
                <a:extLst>
                  <a:ext uri="{FF2B5EF4-FFF2-40B4-BE49-F238E27FC236}">
                    <a16:creationId xmlns:a16="http://schemas.microsoft.com/office/drawing/2014/main" id="{4EF7EADB-B5B8-4290-9A2D-9248E0569C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0" name="Freeform 838">
                <a:extLst>
                  <a:ext uri="{FF2B5EF4-FFF2-40B4-BE49-F238E27FC236}">
                    <a16:creationId xmlns:a16="http://schemas.microsoft.com/office/drawing/2014/main" id="{5F983FFB-E047-4B90-AB78-74629AB132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757"/>
                <a:ext cx="16" cy="11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1" name="Freeform 839">
                <a:extLst>
                  <a:ext uri="{FF2B5EF4-FFF2-40B4-BE49-F238E27FC236}">
                    <a16:creationId xmlns:a16="http://schemas.microsoft.com/office/drawing/2014/main" id="{18C30CC9-888D-4045-AC84-5C2C7BF20C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74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2" name="Freeform 840">
                <a:extLst>
                  <a:ext uri="{FF2B5EF4-FFF2-40B4-BE49-F238E27FC236}">
                    <a16:creationId xmlns:a16="http://schemas.microsoft.com/office/drawing/2014/main" id="{ECCB3FB6-946A-460B-B2A9-2A50CE1154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72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3" name="Freeform 841">
                <a:extLst>
                  <a:ext uri="{FF2B5EF4-FFF2-40B4-BE49-F238E27FC236}">
                    <a16:creationId xmlns:a16="http://schemas.microsoft.com/office/drawing/2014/main" id="{1F2378B2-CD22-410D-8CEA-024F10EB2E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4" name="Freeform 842">
                <a:extLst>
                  <a:ext uri="{FF2B5EF4-FFF2-40B4-BE49-F238E27FC236}">
                    <a16:creationId xmlns:a16="http://schemas.microsoft.com/office/drawing/2014/main" id="{3AA7F579-C117-4760-948F-077B9B2E7D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5" name="Freeform 843">
                <a:extLst>
                  <a:ext uri="{FF2B5EF4-FFF2-40B4-BE49-F238E27FC236}">
                    <a16:creationId xmlns:a16="http://schemas.microsoft.com/office/drawing/2014/main" id="{7C84D6A3-53B8-43C7-8726-0783D9F489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6" name="Freeform 844">
                <a:extLst>
                  <a:ext uri="{FF2B5EF4-FFF2-40B4-BE49-F238E27FC236}">
                    <a16:creationId xmlns:a16="http://schemas.microsoft.com/office/drawing/2014/main" id="{15871651-A822-40F2-A5EA-A73974AC1D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7" name="Freeform 845">
                <a:extLst>
                  <a:ext uri="{FF2B5EF4-FFF2-40B4-BE49-F238E27FC236}">
                    <a16:creationId xmlns:a16="http://schemas.microsoft.com/office/drawing/2014/main" id="{AD8A1C47-079F-42B9-A998-CA8A5163F6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8" name="Freeform 846">
                <a:extLst>
                  <a:ext uri="{FF2B5EF4-FFF2-40B4-BE49-F238E27FC236}">
                    <a16:creationId xmlns:a16="http://schemas.microsoft.com/office/drawing/2014/main" id="{A403BBA3-B0CD-4140-9AFA-9733D6E0C5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9" name="Freeform 847">
                <a:extLst>
                  <a:ext uri="{FF2B5EF4-FFF2-40B4-BE49-F238E27FC236}">
                    <a16:creationId xmlns:a16="http://schemas.microsoft.com/office/drawing/2014/main" id="{0169FA5E-5DC9-4EC1-AB9B-657FF5B512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0" name="Freeform 848">
                <a:extLst>
                  <a:ext uri="{FF2B5EF4-FFF2-40B4-BE49-F238E27FC236}">
                    <a16:creationId xmlns:a16="http://schemas.microsoft.com/office/drawing/2014/main" id="{53B4076C-81CF-433D-896B-BC529BDEED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1" name="Freeform 849">
                <a:extLst>
                  <a:ext uri="{FF2B5EF4-FFF2-40B4-BE49-F238E27FC236}">
                    <a16:creationId xmlns:a16="http://schemas.microsoft.com/office/drawing/2014/main" id="{ED9E8B03-2297-4743-BA21-12CDE6F64B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2" name="Freeform 850">
                <a:extLst>
                  <a:ext uri="{FF2B5EF4-FFF2-40B4-BE49-F238E27FC236}">
                    <a16:creationId xmlns:a16="http://schemas.microsoft.com/office/drawing/2014/main" id="{72555FA9-F156-4F48-8D2F-B9854AD1FF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743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3" name="Freeform 851">
                <a:extLst>
                  <a:ext uri="{FF2B5EF4-FFF2-40B4-BE49-F238E27FC236}">
                    <a16:creationId xmlns:a16="http://schemas.microsoft.com/office/drawing/2014/main" id="{F81ECED9-C71E-41D1-8971-83265A117F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72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4" name="Freeform 852">
                <a:extLst>
                  <a:ext uri="{FF2B5EF4-FFF2-40B4-BE49-F238E27FC236}">
                    <a16:creationId xmlns:a16="http://schemas.microsoft.com/office/drawing/2014/main" id="{555151F5-FED5-45AD-9839-9DF7B743A9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5" name="Freeform 853">
                <a:extLst>
                  <a:ext uri="{FF2B5EF4-FFF2-40B4-BE49-F238E27FC236}">
                    <a16:creationId xmlns:a16="http://schemas.microsoft.com/office/drawing/2014/main" id="{45C4ECA0-E237-4B6E-8DA1-83B5DFA09F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6" name="Freeform 854">
                <a:extLst>
                  <a:ext uri="{FF2B5EF4-FFF2-40B4-BE49-F238E27FC236}">
                    <a16:creationId xmlns:a16="http://schemas.microsoft.com/office/drawing/2014/main" id="{F7C92DD9-1BBF-4A7A-A93E-1B6F645E6C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7" name="Freeform 855">
                <a:extLst>
                  <a:ext uri="{FF2B5EF4-FFF2-40B4-BE49-F238E27FC236}">
                    <a16:creationId xmlns:a16="http://schemas.microsoft.com/office/drawing/2014/main" id="{3C9E07CE-F151-48D3-B9F9-26060F7146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8" name="Freeform 856">
                <a:extLst>
                  <a:ext uri="{FF2B5EF4-FFF2-40B4-BE49-F238E27FC236}">
                    <a16:creationId xmlns:a16="http://schemas.microsoft.com/office/drawing/2014/main" id="{41703844-1267-4E96-8810-E04C52B7F9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9" name="Freeform 857">
                <a:extLst>
                  <a:ext uri="{FF2B5EF4-FFF2-40B4-BE49-F238E27FC236}">
                    <a16:creationId xmlns:a16="http://schemas.microsoft.com/office/drawing/2014/main" id="{D58CEE31-2852-4119-8EAD-71B4CC7AD5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0" name="Freeform 858">
                <a:extLst>
                  <a:ext uri="{FF2B5EF4-FFF2-40B4-BE49-F238E27FC236}">
                    <a16:creationId xmlns:a16="http://schemas.microsoft.com/office/drawing/2014/main" id="{CA4C7237-0746-4B37-AB35-90D4E4B26E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1" name="Freeform 859">
                <a:extLst>
                  <a:ext uri="{FF2B5EF4-FFF2-40B4-BE49-F238E27FC236}">
                    <a16:creationId xmlns:a16="http://schemas.microsoft.com/office/drawing/2014/main" id="{DAE8DB10-34A6-41AC-A1A0-9DD8D41801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2" name="Freeform 860">
                <a:extLst>
                  <a:ext uri="{FF2B5EF4-FFF2-40B4-BE49-F238E27FC236}">
                    <a16:creationId xmlns:a16="http://schemas.microsoft.com/office/drawing/2014/main" id="{84BFA1D3-EE44-4461-AAEC-97EA7FD1DD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3" name="Freeform 861">
                <a:extLst>
                  <a:ext uri="{FF2B5EF4-FFF2-40B4-BE49-F238E27FC236}">
                    <a16:creationId xmlns:a16="http://schemas.microsoft.com/office/drawing/2014/main" id="{2E777159-3AD8-4548-B304-F776B734E3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7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4" name="Freeform 862">
                <a:extLst>
                  <a:ext uri="{FF2B5EF4-FFF2-40B4-BE49-F238E27FC236}">
                    <a16:creationId xmlns:a16="http://schemas.microsoft.com/office/drawing/2014/main" id="{69D274EF-2F04-40B4-801C-F2A3163364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556"/>
                <a:ext cx="17" cy="8"/>
              </a:xfrm>
              <a:custGeom>
                <a:avLst/>
                <a:gdLst>
                  <a:gd name="T0" fmla="*/ 6 w 8"/>
                  <a:gd name="T1" fmla="*/ 3 h 4"/>
                  <a:gd name="T2" fmla="*/ 1 w 8"/>
                  <a:gd name="T3" fmla="*/ 3 h 4"/>
                  <a:gd name="T4" fmla="*/ 1 w 8"/>
                  <a:gd name="T5" fmla="*/ 1 h 4"/>
                  <a:gd name="T6" fmla="*/ 6 w 8"/>
                  <a:gd name="T7" fmla="*/ 1 h 4"/>
                  <a:gd name="T8" fmla="*/ 6 w 8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3"/>
                    </a:move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3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5" name="Freeform 863">
                <a:extLst>
                  <a:ext uri="{FF2B5EF4-FFF2-40B4-BE49-F238E27FC236}">
                    <a16:creationId xmlns:a16="http://schemas.microsoft.com/office/drawing/2014/main" id="{75E55645-21F9-4A1F-85A4-2EBFA6E514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726"/>
                <a:ext cx="16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6" name="Freeform 864">
                <a:extLst>
                  <a:ext uri="{FF2B5EF4-FFF2-40B4-BE49-F238E27FC236}">
                    <a16:creationId xmlns:a16="http://schemas.microsoft.com/office/drawing/2014/main" id="{F32EEA9D-F76C-4381-9C88-BE368012D9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71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7" name="Freeform 865">
                <a:extLst>
                  <a:ext uri="{FF2B5EF4-FFF2-40B4-BE49-F238E27FC236}">
                    <a16:creationId xmlns:a16="http://schemas.microsoft.com/office/drawing/2014/main" id="{548F7997-A448-4ACE-B797-E71E79F7F1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69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8" name="Freeform 866">
                <a:extLst>
                  <a:ext uri="{FF2B5EF4-FFF2-40B4-BE49-F238E27FC236}">
                    <a16:creationId xmlns:a16="http://schemas.microsoft.com/office/drawing/2014/main" id="{945A05B1-B994-4AE0-BAC3-3220418B61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9" name="Freeform 867">
                <a:extLst>
                  <a:ext uri="{FF2B5EF4-FFF2-40B4-BE49-F238E27FC236}">
                    <a16:creationId xmlns:a16="http://schemas.microsoft.com/office/drawing/2014/main" id="{FFCC5A2F-0316-4833-8ADD-A5F221546F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0" name="Freeform 868">
                <a:extLst>
                  <a:ext uri="{FF2B5EF4-FFF2-40B4-BE49-F238E27FC236}">
                    <a16:creationId xmlns:a16="http://schemas.microsoft.com/office/drawing/2014/main" id="{7F1F9EA1-D8E5-4038-95CF-34C9001F2C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1" name="Freeform 869">
                <a:extLst>
                  <a:ext uri="{FF2B5EF4-FFF2-40B4-BE49-F238E27FC236}">
                    <a16:creationId xmlns:a16="http://schemas.microsoft.com/office/drawing/2014/main" id="{06A352ED-1B1F-46E1-924F-CBE751109E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2" name="Freeform 870">
                <a:extLst>
                  <a:ext uri="{FF2B5EF4-FFF2-40B4-BE49-F238E27FC236}">
                    <a16:creationId xmlns:a16="http://schemas.microsoft.com/office/drawing/2014/main" id="{96A7F748-DAE2-44E3-AD57-0FED6FF435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3" name="Freeform 871">
                <a:extLst>
                  <a:ext uri="{FF2B5EF4-FFF2-40B4-BE49-F238E27FC236}">
                    <a16:creationId xmlns:a16="http://schemas.microsoft.com/office/drawing/2014/main" id="{BDC3723C-E6BD-4433-9A24-DBE1AD1199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4" name="Freeform 872">
                <a:extLst>
                  <a:ext uri="{FF2B5EF4-FFF2-40B4-BE49-F238E27FC236}">
                    <a16:creationId xmlns:a16="http://schemas.microsoft.com/office/drawing/2014/main" id="{E6CEFFF0-A4B8-4D30-8DD8-C82EC0FA5C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5" name="Freeform 873">
                <a:extLst>
                  <a:ext uri="{FF2B5EF4-FFF2-40B4-BE49-F238E27FC236}">
                    <a16:creationId xmlns:a16="http://schemas.microsoft.com/office/drawing/2014/main" id="{2084D668-C217-48A1-9C14-5ACAF79F1A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57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6" name="Freeform 874">
                <a:extLst>
                  <a:ext uri="{FF2B5EF4-FFF2-40B4-BE49-F238E27FC236}">
                    <a16:creationId xmlns:a16="http://schemas.microsoft.com/office/drawing/2014/main" id="{679BAF70-857D-448A-8394-9E5ED5A854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556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7" name="Freeform 875">
                <a:extLst>
                  <a:ext uri="{FF2B5EF4-FFF2-40B4-BE49-F238E27FC236}">
                    <a16:creationId xmlns:a16="http://schemas.microsoft.com/office/drawing/2014/main" id="{F227D129-CF04-4F51-BDEC-DDB4021A0E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39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8" name="Freeform 876">
                <a:extLst>
                  <a:ext uri="{FF2B5EF4-FFF2-40B4-BE49-F238E27FC236}">
                    <a16:creationId xmlns:a16="http://schemas.microsoft.com/office/drawing/2014/main" id="{C3287F59-79F6-495D-B5AC-AA05A22AEA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712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9" name="Freeform 877">
                <a:extLst>
                  <a:ext uri="{FF2B5EF4-FFF2-40B4-BE49-F238E27FC236}">
                    <a16:creationId xmlns:a16="http://schemas.microsoft.com/office/drawing/2014/main" id="{25A774CB-8F54-44A8-8C2A-6D2BB26EF2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69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0" name="Freeform 878">
                <a:extLst>
                  <a:ext uri="{FF2B5EF4-FFF2-40B4-BE49-F238E27FC236}">
                    <a16:creationId xmlns:a16="http://schemas.microsoft.com/office/drawing/2014/main" id="{AFF659A2-9A36-465F-B696-0DA736F03A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680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1" name="Freeform 879">
                <a:extLst>
                  <a:ext uri="{FF2B5EF4-FFF2-40B4-BE49-F238E27FC236}">
                    <a16:creationId xmlns:a16="http://schemas.microsoft.com/office/drawing/2014/main" id="{295458FD-E86A-493E-93FB-41DA6D7794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2" name="Freeform 880">
                <a:extLst>
                  <a:ext uri="{FF2B5EF4-FFF2-40B4-BE49-F238E27FC236}">
                    <a16:creationId xmlns:a16="http://schemas.microsoft.com/office/drawing/2014/main" id="{9CFBDC7E-0C9F-4887-8FDE-5A31AD7155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3" name="Freeform 881">
                <a:extLst>
                  <a:ext uri="{FF2B5EF4-FFF2-40B4-BE49-F238E27FC236}">
                    <a16:creationId xmlns:a16="http://schemas.microsoft.com/office/drawing/2014/main" id="{F9AF7D11-57B9-43CA-B03E-8728FE3E28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4" name="Freeform 882">
                <a:extLst>
                  <a:ext uri="{FF2B5EF4-FFF2-40B4-BE49-F238E27FC236}">
                    <a16:creationId xmlns:a16="http://schemas.microsoft.com/office/drawing/2014/main" id="{EC30C2A8-B522-4A5E-A1AF-6AEB2E1690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5" name="Freeform 883">
                <a:extLst>
                  <a:ext uri="{FF2B5EF4-FFF2-40B4-BE49-F238E27FC236}">
                    <a16:creationId xmlns:a16="http://schemas.microsoft.com/office/drawing/2014/main" id="{D3E89626-7A28-4D5E-B81E-3E2D4949F4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6" name="Freeform 884">
                <a:extLst>
                  <a:ext uri="{FF2B5EF4-FFF2-40B4-BE49-F238E27FC236}">
                    <a16:creationId xmlns:a16="http://schemas.microsoft.com/office/drawing/2014/main" id="{F9B98A29-4D80-4462-9502-68A0B1F928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7" name="Freeform 885">
                <a:extLst>
                  <a:ext uri="{FF2B5EF4-FFF2-40B4-BE49-F238E27FC236}">
                    <a16:creationId xmlns:a16="http://schemas.microsoft.com/office/drawing/2014/main" id="{B01B0278-E2F4-440F-9737-CF9E92FAB5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57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8" name="Freeform 886">
                <a:extLst>
                  <a:ext uri="{FF2B5EF4-FFF2-40B4-BE49-F238E27FC236}">
                    <a16:creationId xmlns:a16="http://schemas.microsoft.com/office/drawing/2014/main" id="{CCEAC6F2-AA84-48FD-8189-716D765F96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556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9" name="Freeform 887">
                <a:extLst>
                  <a:ext uri="{FF2B5EF4-FFF2-40B4-BE49-F238E27FC236}">
                    <a16:creationId xmlns:a16="http://schemas.microsoft.com/office/drawing/2014/main" id="{03F0B157-5991-4E26-90A6-A58DAC67B0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539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0" name="Freeform 888">
                <a:extLst>
                  <a:ext uri="{FF2B5EF4-FFF2-40B4-BE49-F238E27FC236}">
                    <a16:creationId xmlns:a16="http://schemas.microsoft.com/office/drawing/2014/main" id="{716559C3-2152-4306-8CDE-783B522D60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524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1" name="Freeform 889">
                <a:extLst>
                  <a:ext uri="{FF2B5EF4-FFF2-40B4-BE49-F238E27FC236}">
                    <a16:creationId xmlns:a16="http://schemas.microsoft.com/office/drawing/2014/main" id="{9B234D85-2FF8-4523-8A69-BCF77FAA14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08"/>
                <a:ext cx="17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2" name="Freeform 890">
                <a:extLst>
                  <a:ext uri="{FF2B5EF4-FFF2-40B4-BE49-F238E27FC236}">
                    <a16:creationId xmlns:a16="http://schemas.microsoft.com/office/drawing/2014/main" id="{1E646753-0E3C-4456-B813-C285C613CE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08"/>
                <a:ext cx="17" cy="10"/>
              </a:xfrm>
              <a:custGeom>
                <a:avLst/>
                <a:gdLst>
                  <a:gd name="T0" fmla="*/ 6 w 8"/>
                  <a:gd name="T1" fmla="*/ 4 h 5"/>
                  <a:gd name="T2" fmla="*/ 1 w 8"/>
                  <a:gd name="T3" fmla="*/ 4 h 5"/>
                  <a:gd name="T4" fmla="*/ 1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3" name="Freeform 891">
                <a:extLst>
                  <a:ext uri="{FF2B5EF4-FFF2-40B4-BE49-F238E27FC236}">
                    <a16:creationId xmlns:a16="http://schemas.microsoft.com/office/drawing/2014/main" id="{0260990D-2CFF-4CA3-8A95-E011B7DBB7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695"/>
                <a:ext cx="16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4" name="Freeform 892">
                <a:extLst>
                  <a:ext uri="{FF2B5EF4-FFF2-40B4-BE49-F238E27FC236}">
                    <a16:creationId xmlns:a16="http://schemas.microsoft.com/office/drawing/2014/main" id="{CEFA512B-C2B7-4D72-8555-5710C80F21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680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5" name="Freeform 893">
                <a:extLst>
                  <a:ext uri="{FF2B5EF4-FFF2-40B4-BE49-F238E27FC236}">
                    <a16:creationId xmlns:a16="http://schemas.microsoft.com/office/drawing/2014/main" id="{4C000B18-F34C-48E2-AEB0-DC7F289245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6" name="Freeform 894">
                <a:extLst>
                  <a:ext uri="{FF2B5EF4-FFF2-40B4-BE49-F238E27FC236}">
                    <a16:creationId xmlns:a16="http://schemas.microsoft.com/office/drawing/2014/main" id="{ABCC9F67-DB98-45B6-9C10-39D62CD14B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64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7" name="Freeform 895">
                <a:extLst>
                  <a:ext uri="{FF2B5EF4-FFF2-40B4-BE49-F238E27FC236}">
                    <a16:creationId xmlns:a16="http://schemas.microsoft.com/office/drawing/2014/main" id="{3E2A68ED-F089-44EF-A53C-6C69410258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633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8" name="Freeform 896">
                <a:extLst>
                  <a:ext uri="{FF2B5EF4-FFF2-40B4-BE49-F238E27FC236}">
                    <a16:creationId xmlns:a16="http://schemas.microsoft.com/office/drawing/2014/main" id="{FC31CC78-B080-475E-9530-17E9974DD7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9" name="Freeform 897">
                <a:extLst>
                  <a:ext uri="{FF2B5EF4-FFF2-40B4-BE49-F238E27FC236}">
                    <a16:creationId xmlns:a16="http://schemas.microsoft.com/office/drawing/2014/main" id="{8F2ED4CE-356F-4814-8F11-81B96DD270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6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0" name="Freeform 898">
                <a:extLst>
                  <a:ext uri="{FF2B5EF4-FFF2-40B4-BE49-F238E27FC236}">
                    <a16:creationId xmlns:a16="http://schemas.microsoft.com/office/drawing/2014/main" id="{DBE0FD3E-B803-48E5-A853-072ECA913F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680"/>
                <a:ext cx="16" cy="9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1" name="Freeform 899">
                <a:extLst>
                  <a:ext uri="{FF2B5EF4-FFF2-40B4-BE49-F238E27FC236}">
                    <a16:creationId xmlns:a16="http://schemas.microsoft.com/office/drawing/2014/main" id="{402E2380-B5CC-437C-A224-88F1AFBA4B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2" name="Freeform 900">
                <a:extLst>
                  <a:ext uri="{FF2B5EF4-FFF2-40B4-BE49-F238E27FC236}">
                    <a16:creationId xmlns:a16="http://schemas.microsoft.com/office/drawing/2014/main" id="{B2502661-C347-45AB-BCEC-B166C801FE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64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3" name="Freeform 901">
                <a:extLst>
                  <a:ext uri="{FF2B5EF4-FFF2-40B4-BE49-F238E27FC236}">
                    <a16:creationId xmlns:a16="http://schemas.microsoft.com/office/drawing/2014/main" id="{5162DE76-F318-4E39-9DD5-94FDBDD07A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633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6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4" name="Freeform 902">
                <a:extLst>
                  <a:ext uri="{FF2B5EF4-FFF2-40B4-BE49-F238E27FC236}">
                    <a16:creationId xmlns:a16="http://schemas.microsoft.com/office/drawing/2014/main" id="{D313182B-9FB8-4782-B859-0943A73264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6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5" name="Freeform 903">
                <a:extLst>
                  <a:ext uri="{FF2B5EF4-FFF2-40B4-BE49-F238E27FC236}">
                    <a16:creationId xmlns:a16="http://schemas.microsoft.com/office/drawing/2014/main" id="{5325FF04-C2E9-4F63-A085-FDD940A180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4" y="2834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6" name="Freeform 904">
                <a:extLst>
                  <a:ext uri="{FF2B5EF4-FFF2-40B4-BE49-F238E27FC236}">
                    <a16:creationId xmlns:a16="http://schemas.microsoft.com/office/drawing/2014/main" id="{F4AA8A47-C376-4D9F-B5E7-8E79830DA9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11" y="2819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7" name="Freeform 905">
                <a:extLst>
                  <a:ext uri="{FF2B5EF4-FFF2-40B4-BE49-F238E27FC236}">
                    <a16:creationId xmlns:a16="http://schemas.microsoft.com/office/drawing/2014/main" id="{80489E6D-990C-4102-BBCD-BE8F049C0A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8" y="2803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8" name="Freeform 906">
                <a:extLst>
                  <a:ext uri="{FF2B5EF4-FFF2-40B4-BE49-F238E27FC236}">
                    <a16:creationId xmlns:a16="http://schemas.microsoft.com/office/drawing/2014/main" id="{460745BD-6399-436A-802F-226BFCB876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9" y="275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9" name="Freeform 907">
                <a:extLst>
                  <a:ext uri="{FF2B5EF4-FFF2-40B4-BE49-F238E27FC236}">
                    <a16:creationId xmlns:a16="http://schemas.microsoft.com/office/drawing/2014/main" id="{A67EA0C7-0ABB-4F84-825C-070E7403D8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74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0" name="Freeform 908">
                <a:extLst>
                  <a:ext uri="{FF2B5EF4-FFF2-40B4-BE49-F238E27FC236}">
                    <a16:creationId xmlns:a16="http://schemas.microsoft.com/office/drawing/2014/main" id="{F14A3D72-D034-4734-BD76-5AB5ADD4C8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72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1" name="Freeform 909">
                <a:extLst>
                  <a:ext uri="{FF2B5EF4-FFF2-40B4-BE49-F238E27FC236}">
                    <a16:creationId xmlns:a16="http://schemas.microsoft.com/office/drawing/2014/main" id="{EFAEA2AC-2F87-4109-A8A4-0B89904474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70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2" name="Freeform 910">
                <a:extLst>
                  <a:ext uri="{FF2B5EF4-FFF2-40B4-BE49-F238E27FC236}">
                    <a16:creationId xmlns:a16="http://schemas.microsoft.com/office/drawing/2014/main" id="{55FD9B07-7D67-48A7-AD6F-C9349A2D1B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95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3" name="Freeform 911">
                <a:extLst>
                  <a:ext uri="{FF2B5EF4-FFF2-40B4-BE49-F238E27FC236}">
                    <a16:creationId xmlns:a16="http://schemas.microsoft.com/office/drawing/2014/main" id="{B9E077C3-1A42-4AE0-8DB2-CAD5C60395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678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4" name="Freeform 912">
                <a:extLst>
                  <a:ext uri="{FF2B5EF4-FFF2-40B4-BE49-F238E27FC236}">
                    <a16:creationId xmlns:a16="http://schemas.microsoft.com/office/drawing/2014/main" id="{0079D09F-38F9-43F3-A140-FFE39CDACC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664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5" name="Freeform 913">
                <a:extLst>
                  <a:ext uri="{FF2B5EF4-FFF2-40B4-BE49-F238E27FC236}">
                    <a16:creationId xmlns:a16="http://schemas.microsoft.com/office/drawing/2014/main" id="{45DDC5DD-DF31-433A-A1F3-FA68889FC0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5" y="2788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6" name="Freeform 914">
                <a:extLst>
                  <a:ext uri="{FF2B5EF4-FFF2-40B4-BE49-F238E27FC236}">
                    <a16:creationId xmlns:a16="http://schemas.microsoft.com/office/drawing/2014/main" id="{1B553BEB-0383-4A90-A2A6-3C6E92A641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2" y="277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7" name="Freeform 915">
                <a:extLst>
                  <a:ext uri="{FF2B5EF4-FFF2-40B4-BE49-F238E27FC236}">
                    <a16:creationId xmlns:a16="http://schemas.microsoft.com/office/drawing/2014/main" id="{8BCFBADA-79FF-4699-A690-90D4575A05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30" y="2834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8" name="Freeform 916">
                <a:extLst>
                  <a:ext uri="{FF2B5EF4-FFF2-40B4-BE49-F238E27FC236}">
                    <a16:creationId xmlns:a16="http://schemas.microsoft.com/office/drawing/2014/main" id="{4596E06F-718A-400B-9EE3-C7981B7E6F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7" y="2819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9" name="Freeform 917">
                <a:extLst>
                  <a:ext uri="{FF2B5EF4-FFF2-40B4-BE49-F238E27FC236}">
                    <a16:creationId xmlns:a16="http://schemas.microsoft.com/office/drawing/2014/main" id="{33A08917-7EA3-4264-8638-62B0A81417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4" y="2803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0" name="Freeform 918">
                <a:extLst>
                  <a:ext uri="{FF2B5EF4-FFF2-40B4-BE49-F238E27FC236}">
                    <a16:creationId xmlns:a16="http://schemas.microsoft.com/office/drawing/2014/main" id="{F03C1317-A613-44FC-9130-75776A3E96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11" y="2788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1" name="Freeform 919">
                <a:extLst>
                  <a:ext uri="{FF2B5EF4-FFF2-40B4-BE49-F238E27FC236}">
                    <a16:creationId xmlns:a16="http://schemas.microsoft.com/office/drawing/2014/main" id="{41DF4471-ADB3-4829-9CD7-E283D603D3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2" y="274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2" name="Freeform 920">
                <a:extLst>
                  <a:ext uri="{FF2B5EF4-FFF2-40B4-BE49-F238E27FC236}">
                    <a16:creationId xmlns:a16="http://schemas.microsoft.com/office/drawing/2014/main" id="{E71831DA-6695-4354-8647-32EDDE0C8D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9" y="272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3" name="Freeform 921">
                <a:extLst>
                  <a:ext uri="{FF2B5EF4-FFF2-40B4-BE49-F238E27FC236}">
                    <a16:creationId xmlns:a16="http://schemas.microsoft.com/office/drawing/2014/main" id="{EFBA13EE-94C3-4C83-A033-834C357EBB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70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4" name="Freeform 922">
                <a:extLst>
                  <a:ext uri="{FF2B5EF4-FFF2-40B4-BE49-F238E27FC236}">
                    <a16:creationId xmlns:a16="http://schemas.microsoft.com/office/drawing/2014/main" id="{DA4A5FFD-A606-4891-9EE3-2D7CFD35CE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69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5" name="Freeform 923">
                <a:extLst>
                  <a:ext uri="{FF2B5EF4-FFF2-40B4-BE49-F238E27FC236}">
                    <a16:creationId xmlns:a16="http://schemas.microsoft.com/office/drawing/2014/main" id="{65C56673-F118-4B8C-B2B5-C32023278B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67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6" name="Freeform 924">
                <a:extLst>
                  <a:ext uri="{FF2B5EF4-FFF2-40B4-BE49-F238E27FC236}">
                    <a16:creationId xmlns:a16="http://schemas.microsoft.com/office/drawing/2014/main" id="{5FE5A0E9-9105-44CA-AD50-5C8440A1B9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64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7" name="Freeform 925">
                <a:extLst>
                  <a:ext uri="{FF2B5EF4-FFF2-40B4-BE49-F238E27FC236}">
                    <a16:creationId xmlns:a16="http://schemas.microsoft.com/office/drawing/2014/main" id="{E1C2083B-F5C7-495D-9651-CE706A2B55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647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8" name="Freeform 926">
                <a:extLst>
                  <a:ext uri="{FF2B5EF4-FFF2-40B4-BE49-F238E27FC236}">
                    <a16:creationId xmlns:a16="http://schemas.microsoft.com/office/drawing/2014/main" id="{34CEDD7F-1708-4330-BEB2-0AE4C88236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8" y="277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9" name="Freeform 927">
                <a:extLst>
                  <a:ext uri="{FF2B5EF4-FFF2-40B4-BE49-F238E27FC236}">
                    <a16:creationId xmlns:a16="http://schemas.microsoft.com/office/drawing/2014/main" id="{B9DCD56F-0E62-4F20-8C7A-2BEF39D5F3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5" y="275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0" name="Freeform 928">
                <a:extLst>
                  <a:ext uri="{FF2B5EF4-FFF2-40B4-BE49-F238E27FC236}">
                    <a16:creationId xmlns:a16="http://schemas.microsoft.com/office/drawing/2014/main" id="{AA29F9A4-B651-41E9-8342-71726F86B0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83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1" name="Freeform 929">
                <a:extLst>
                  <a:ext uri="{FF2B5EF4-FFF2-40B4-BE49-F238E27FC236}">
                    <a16:creationId xmlns:a16="http://schemas.microsoft.com/office/drawing/2014/main" id="{6FD39AE6-0D6D-435A-9269-AD11F38881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819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2" name="Freeform 930">
                <a:extLst>
                  <a:ext uri="{FF2B5EF4-FFF2-40B4-BE49-F238E27FC236}">
                    <a16:creationId xmlns:a16="http://schemas.microsoft.com/office/drawing/2014/main" id="{1DDE7670-57C1-4706-AE8C-60016B1CEE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30" y="2803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3" name="Freeform 931">
                <a:extLst>
                  <a:ext uri="{FF2B5EF4-FFF2-40B4-BE49-F238E27FC236}">
                    <a16:creationId xmlns:a16="http://schemas.microsoft.com/office/drawing/2014/main" id="{D1BF5666-272A-4050-AD85-648FEA8C31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7" y="2788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4" name="Freeform 932">
                <a:extLst>
                  <a:ext uri="{FF2B5EF4-FFF2-40B4-BE49-F238E27FC236}">
                    <a16:creationId xmlns:a16="http://schemas.microsoft.com/office/drawing/2014/main" id="{4FCD52D3-FB86-4735-80ED-BA0CC4A0A8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4" y="277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5" name="Freeform 933">
                <a:extLst>
                  <a:ext uri="{FF2B5EF4-FFF2-40B4-BE49-F238E27FC236}">
                    <a16:creationId xmlns:a16="http://schemas.microsoft.com/office/drawing/2014/main" id="{6C1D95B3-09CA-4A83-B953-7B5D52C80E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5" y="272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6" name="Freeform 934">
                <a:extLst>
                  <a:ext uri="{FF2B5EF4-FFF2-40B4-BE49-F238E27FC236}">
                    <a16:creationId xmlns:a16="http://schemas.microsoft.com/office/drawing/2014/main" id="{D45E35BA-BA91-4EF3-9F1B-6C817D837C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2" y="270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7" name="Freeform 935">
                <a:extLst>
                  <a:ext uri="{FF2B5EF4-FFF2-40B4-BE49-F238E27FC236}">
                    <a16:creationId xmlns:a16="http://schemas.microsoft.com/office/drawing/2014/main" id="{71B3F84A-FBC1-4B94-B2C7-D0BFBD56A1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9" y="269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8" name="Freeform 936">
                <a:extLst>
                  <a:ext uri="{FF2B5EF4-FFF2-40B4-BE49-F238E27FC236}">
                    <a16:creationId xmlns:a16="http://schemas.microsoft.com/office/drawing/2014/main" id="{F7192BD9-4455-47DC-B667-C7BE33CC62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67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9" name="Freeform 937">
                <a:extLst>
                  <a:ext uri="{FF2B5EF4-FFF2-40B4-BE49-F238E27FC236}">
                    <a16:creationId xmlns:a16="http://schemas.microsoft.com/office/drawing/2014/main" id="{CFC4B7A0-05A8-43F1-9355-C4B1EE5FE8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664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0" name="Freeform 938">
                <a:extLst>
                  <a:ext uri="{FF2B5EF4-FFF2-40B4-BE49-F238E27FC236}">
                    <a16:creationId xmlns:a16="http://schemas.microsoft.com/office/drawing/2014/main" id="{9C2431CC-A82E-4A8A-91F8-49502F51BB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64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1" name="Freeform 939">
                <a:extLst>
                  <a:ext uri="{FF2B5EF4-FFF2-40B4-BE49-F238E27FC236}">
                    <a16:creationId xmlns:a16="http://schemas.microsoft.com/office/drawing/2014/main" id="{A780FF1C-F54E-4C7B-9F00-A8A9973F93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32"/>
                <a:ext cx="14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2" name="Freeform 940">
                <a:extLst>
                  <a:ext uri="{FF2B5EF4-FFF2-40B4-BE49-F238E27FC236}">
                    <a16:creationId xmlns:a16="http://schemas.microsoft.com/office/drawing/2014/main" id="{7C2C2A27-9B7B-411B-AD92-8C76505F25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11" y="275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3" name="Freeform 941">
                <a:extLst>
                  <a:ext uri="{FF2B5EF4-FFF2-40B4-BE49-F238E27FC236}">
                    <a16:creationId xmlns:a16="http://schemas.microsoft.com/office/drawing/2014/main" id="{58C2A2E4-90B3-40B3-AA17-251B450DE4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8" y="274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4" name="Freeform 942">
                <a:extLst>
                  <a:ext uri="{FF2B5EF4-FFF2-40B4-BE49-F238E27FC236}">
                    <a16:creationId xmlns:a16="http://schemas.microsoft.com/office/drawing/2014/main" id="{EDF7EEC2-93D4-4DAC-B197-187D2660A4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83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5" name="Freeform 943">
                <a:extLst>
                  <a:ext uri="{FF2B5EF4-FFF2-40B4-BE49-F238E27FC236}">
                    <a16:creationId xmlns:a16="http://schemas.microsoft.com/office/drawing/2014/main" id="{4A9D906E-90B8-4B06-9BD9-233E007336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819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6" name="Freeform 944">
                <a:extLst>
                  <a:ext uri="{FF2B5EF4-FFF2-40B4-BE49-F238E27FC236}">
                    <a16:creationId xmlns:a16="http://schemas.microsoft.com/office/drawing/2014/main" id="{5491F1C0-0A2E-4278-9A2E-5141C06B42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803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7" name="Freeform 945">
                <a:extLst>
                  <a:ext uri="{FF2B5EF4-FFF2-40B4-BE49-F238E27FC236}">
                    <a16:creationId xmlns:a16="http://schemas.microsoft.com/office/drawing/2014/main" id="{9B88712D-6360-4BC8-B12B-E1D78D8444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8" name="Freeform 946">
                <a:extLst>
                  <a:ext uri="{FF2B5EF4-FFF2-40B4-BE49-F238E27FC236}">
                    <a16:creationId xmlns:a16="http://schemas.microsoft.com/office/drawing/2014/main" id="{D5B0E796-21D8-47FA-B57F-EAC1E1B486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9" name="Freeform 947">
                <a:extLst>
                  <a:ext uri="{FF2B5EF4-FFF2-40B4-BE49-F238E27FC236}">
                    <a16:creationId xmlns:a16="http://schemas.microsoft.com/office/drawing/2014/main" id="{2114C653-78FE-484C-AE79-D4E2A33BE5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0" name="Freeform 948">
                <a:extLst>
                  <a:ext uri="{FF2B5EF4-FFF2-40B4-BE49-F238E27FC236}">
                    <a16:creationId xmlns:a16="http://schemas.microsoft.com/office/drawing/2014/main" id="{A88C2995-4063-49DF-9255-A4B684F16E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1" name="Freeform 949">
                <a:extLst>
                  <a:ext uri="{FF2B5EF4-FFF2-40B4-BE49-F238E27FC236}">
                    <a16:creationId xmlns:a16="http://schemas.microsoft.com/office/drawing/2014/main" id="{0248B608-0446-4B62-AC01-7782277B87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2" name="Freeform 950">
                <a:extLst>
                  <a:ext uri="{FF2B5EF4-FFF2-40B4-BE49-F238E27FC236}">
                    <a16:creationId xmlns:a16="http://schemas.microsoft.com/office/drawing/2014/main" id="{27A1F0A6-3D45-462C-9079-F9DDE601C2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3" name="Freeform 951">
                <a:extLst>
                  <a:ext uri="{FF2B5EF4-FFF2-40B4-BE49-F238E27FC236}">
                    <a16:creationId xmlns:a16="http://schemas.microsoft.com/office/drawing/2014/main" id="{D5F5E27F-AEF3-4812-852B-773F6CC051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4" name="Freeform 952">
                <a:extLst>
                  <a:ext uri="{FF2B5EF4-FFF2-40B4-BE49-F238E27FC236}">
                    <a16:creationId xmlns:a16="http://schemas.microsoft.com/office/drawing/2014/main" id="{AC69A621-344B-47A0-A7FE-DD2D5AA34D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5" name="Freeform 953">
                <a:extLst>
                  <a:ext uri="{FF2B5EF4-FFF2-40B4-BE49-F238E27FC236}">
                    <a16:creationId xmlns:a16="http://schemas.microsoft.com/office/drawing/2014/main" id="{E3DFA41A-040F-4549-BB5F-8AEF38009F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6" name="Freeform 954">
                <a:extLst>
                  <a:ext uri="{FF2B5EF4-FFF2-40B4-BE49-F238E27FC236}">
                    <a16:creationId xmlns:a16="http://schemas.microsoft.com/office/drawing/2014/main" id="{F7D723AB-E0DE-4F07-BAC4-4787EBAB20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7" name="Freeform 955">
                <a:extLst>
                  <a:ext uri="{FF2B5EF4-FFF2-40B4-BE49-F238E27FC236}">
                    <a16:creationId xmlns:a16="http://schemas.microsoft.com/office/drawing/2014/main" id="{768C6317-73FC-4C87-8C93-0AA8FD2907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8" name="Freeform 956">
                <a:extLst>
                  <a:ext uri="{FF2B5EF4-FFF2-40B4-BE49-F238E27FC236}">
                    <a16:creationId xmlns:a16="http://schemas.microsoft.com/office/drawing/2014/main" id="{878FF3F9-7049-4EAF-993E-4F46501249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9" name="Freeform 957">
                <a:extLst>
                  <a:ext uri="{FF2B5EF4-FFF2-40B4-BE49-F238E27FC236}">
                    <a16:creationId xmlns:a16="http://schemas.microsoft.com/office/drawing/2014/main" id="{D2CE29CD-785B-43A7-B577-8C7CB6FF75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819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0" name="Freeform 958">
                <a:extLst>
                  <a:ext uri="{FF2B5EF4-FFF2-40B4-BE49-F238E27FC236}">
                    <a16:creationId xmlns:a16="http://schemas.microsoft.com/office/drawing/2014/main" id="{490D4424-855F-4BDC-8F51-3DD072A967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803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1" name="Freeform 959">
                <a:extLst>
                  <a:ext uri="{FF2B5EF4-FFF2-40B4-BE49-F238E27FC236}">
                    <a16:creationId xmlns:a16="http://schemas.microsoft.com/office/drawing/2014/main" id="{D82B9870-710A-4E56-90BA-B6BFB59F26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2" name="Freeform 960">
                <a:extLst>
                  <a:ext uri="{FF2B5EF4-FFF2-40B4-BE49-F238E27FC236}">
                    <a16:creationId xmlns:a16="http://schemas.microsoft.com/office/drawing/2014/main" id="{ACDC9D1F-27A4-4473-8C8F-634870F2E5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3" name="Freeform 961">
                <a:extLst>
                  <a:ext uri="{FF2B5EF4-FFF2-40B4-BE49-F238E27FC236}">
                    <a16:creationId xmlns:a16="http://schemas.microsoft.com/office/drawing/2014/main" id="{C4CAF73B-1045-4218-B2AC-6676F46BB1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4" name="Freeform 962">
                <a:extLst>
                  <a:ext uri="{FF2B5EF4-FFF2-40B4-BE49-F238E27FC236}">
                    <a16:creationId xmlns:a16="http://schemas.microsoft.com/office/drawing/2014/main" id="{B963C048-3589-4308-9475-3350CE05D8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5" name="Freeform 963">
                <a:extLst>
                  <a:ext uri="{FF2B5EF4-FFF2-40B4-BE49-F238E27FC236}">
                    <a16:creationId xmlns:a16="http://schemas.microsoft.com/office/drawing/2014/main" id="{6CF51346-4D92-4514-8383-9F34A0AA28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6" name="Freeform 964">
                <a:extLst>
                  <a:ext uri="{FF2B5EF4-FFF2-40B4-BE49-F238E27FC236}">
                    <a16:creationId xmlns:a16="http://schemas.microsoft.com/office/drawing/2014/main" id="{AF281F34-6F1F-47E8-9405-21CEAFACB3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7" name="Freeform 965">
                <a:extLst>
                  <a:ext uri="{FF2B5EF4-FFF2-40B4-BE49-F238E27FC236}">
                    <a16:creationId xmlns:a16="http://schemas.microsoft.com/office/drawing/2014/main" id="{F459654B-C350-4FE6-8EE8-FD1B4D65D2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8" name="Freeform 966">
                <a:extLst>
                  <a:ext uri="{FF2B5EF4-FFF2-40B4-BE49-F238E27FC236}">
                    <a16:creationId xmlns:a16="http://schemas.microsoft.com/office/drawing/2014/main" id="{2BF126D8-21B6-4E96-A52B-BD5E1AF0B3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9" name="Freeform 967">
                <a:extLst>
                  <a:ext uri="{FF2B5EF4-FFF2-40B4-BE49-F238E27FC236}">
                    <a16:creationId xmlns:a16="http://schemas.microsoft.com/office/drawing/2014/main" id="{9511AF98-8874-4A5E-BABF-4C1D269273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0" name="Freeform 968">
                <a:extLst>
                  <a:ext uri="{FF2B5EF4-FFF2-40B4-BE49-F238E27FC236}">
                    <a16:creationId xmlns:a16="http://schemas.microsoft.com/office/drawing/2014/main" id="{1B522CC8-E8A9-4B1E-BAD9-E4AF12EACD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1" name="Freeform 969">
                <a:extLst>
                  <a:ext uri="{FF2B5EF4-FFF2-40B4-BE49-F238E27FC236}">
                    <a16:creationId xmlns:a16="http://schemas.microsoft.com/office/drawing/2014/main" id="{063D491D-E815-4EDD-B443-FC92BADE44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60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2" name="Freeform 970">
                <a:extLst>
                  <a:ext uri="{FF2B5EF4-FFF2-40B4-BE49-F238E27FC236}">
                    <a16:creationId xmlns:a16="http://schemas.microsoft.com/office/drawing/2014/main" id="{1C2FC9B0-2269-4A46-BDAA-405556BCB8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3" name="Freeform 971">
                <a:extLst>
                  <a:ext uri="{FF2B5EF4-FFF2-40B4-BE49-F238E27FC236}">
                    <a16:creationId xmlns:a16="http://schemas.microsoft.com/office/drawing/2014/main" id="{F43207FE-CEA1-42E9-9583-8D7683D7E0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4" name="Freeform 972">
                <a:extLst>
                  <a:ext uri="{FF2B5EF4-FFF2-40B4-BE49-F238E27FC236}">
                    <a16:creationId xmlns:a16="http://schemas.microsoft.com/office/drawing/2014/main" id="{917DA433-DB4F-4827-8D3C-E66B09F31B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803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5" name="Freeform 973">
                <a:extLst>
                  <a:ext uri="{FF2B5EF4-FFF2-40B4-BE49-F238E27FC236}">
                    <a16:creationId xmlns:a16="http://schemas.microsoft.com/office/drawing/2014/main" id="{D3D2682E-E52D-4572-B200-D92F72DA60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6" name="Freeform 974">
                <a:extLst>
                  <a:ext uri="{FF2B5EF4-FFF2-40B4-BE49-F238E27FC236}">
                    <a16:creationId xmlns:a16="http://schemas.microsoft.com/office/drawing/2014/main" id="{068ECE3A-161C-4214-8247-4B108FE975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7" name="Freeform 975">
                <a:extLst>
                  <a:ext uri="{FF2B5EF4-FFF2-40B4-BE49-F238E27FC236}">
                    <a16:creationId xmlns:a16="http://schemas.microsoft.com/office/drawing/2014/main" id="{A7B85569-6C34-4A85-87A2-CDF12EA5AE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8" name="Freeform 976">
                <a:extLst>
                  <a:ext uri="{FF2B5EF4-FFF2-40B4-BE49-F238E27FC236}">
                    <a16:creationId xmlns:a16="http://schemas.microsoft.com/office/drawing/2014/main" id="{3C8F72EE-11C4-4985-83AD-06ECFD44ED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9" name="Freeform 977">
                <a:extLst>
                  <a:ext uri="{FF2B5EF4-FFF2-40B4-BE49-F238E27FC236}">
                    <a16:creationId xmlns:a16="http://schemas.microsoft.com/office/drawing/2014/main" id="{63A6BC7F-47C0-42D5-8797-FA8311BF2F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0" name="Freeform 978">
                <a:extLst>
                  <a:ext uri="{FF2B5EF4-FFF2-40B4-BE49-F238E27FC236}">
                    <a16:creationId xmlns:a16="http://schemas.microsoft.com/office/drawing/2014/main" id="{6C389255-B4D1-498B-B12C-C21A10B560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1" name="Freeform 979">
                <a:extLst>
                  <a:ext uri="{FF2B5EF4-FFF2-40B4-BE49-F238E27FC236}">
                    <a16:creationId xmlns:a16="http://schemas.microsoft.com/office/drawing/2014/main" id="{74DB1ACD-C614-4D58-8874-B58EE26639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2" name="Freeform 980">
                <a:extLst>
                  <a:ext uri="{FF2B5EF4-FFF2-40B4-BE49-F238E27FC236}">
                    <a16:creationId xmlns:a16="http://schemas.microsoft.com/office/drawing/2014/main" id="{7AEE92ED-3218-4C91-A842-9DC596F61D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3" name="Freeform 981">
                <a:extLst>
                  <a:ext uri="{FF2B5EF4-FFF2-40B4-BE49-F238E27FC236}">
                    <a16:creationId xmlns:a16="http://schemas.microsoft.com/office/drawing/2014/main" id="{17E4A90C-5010-40A0-B577-A52BB6BCC9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4" name="Freeform 982">
                <a:extLst>
                  <a:ext uri="{FF2B5EF4-FFF2-40B4-BE49-F238E27FC236}">
                    <a16:creationId xmlns:a16="http://schemas.microsoft.com/office/drawing/2014/main" id="{B594DCF9-42FA-4DDB-91D4-D555C62542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5" name="Freeform 983">
                <a:extLst>
                  <a:ext uri="{FF2B5EF4-FFF2-40B4-BE49-F238E27FC236}">
                    <a16:creationId xmlns:a16="http://schemas.microsoft.com/office/drawing/2014/main" id="{DB351CA8-BE56-40CB-8A24-0386F78003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60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6" name="Freeform 984">
                <a:extLst>
                  <a:ext uri="{FF2B5EF4-FFF2-40B4-BE49-F238E27FC236}">
                    <a16:creationId xmlns:a16="http://schemas.microsoft.com/office/drawing/2014/main" id="{BD2E4A76-1003-42A9-B43E-A33B61471C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58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7" name="Freeform 985">
                <a:extLst>
                  <a:ext uri="{FF2B5EF4-FFF2-40B4-BE49-F238E27FC236}">
                    <a16:creationId xmlns:a16="http://schemas.microsoft.com/office/drawing/2014/main" id="{2F3B3167-8EB0-4EE1-82E9-9C8A8CD045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8" name="Freeform 986">
                <a:extLst>
                  <a:ext uri="{FF2B5EF4-FFF2-40B4-BE49-F238E27FC236}">
                    <a16:creationId xmlns:a16="http://schemas.microsoft.com/office/drawing/2014/main" id="{77AF5832-E8D1-499B-A14B-79B091290A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9" name="Freeform 987">
                <a:extLst>
                  <a:ext uri="{FF2B5EF4-FFF2-40B4-BE49-F238E27FC236}">
                    <a16:creationId xmlns:a16="http://schemas.microsoft.com/office/drawing/2014/main" id="{37BBBC27-BF73-420F-9941-F2A57229E6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0" name="Freeform 988">
                <a:extLst>
                  <a:ext uri="{FF2B5EF4-FFF2-40B4-BE49-F238E27FC236}">
                    <a16:creationId xmlns:a16="http://schemas.microsoft.com/office/drawing/2014/main" id="{6580F522-3EFC-4C46-A75C-FEF5B368F6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1" name="Freeform 989">
                <a:extLst>
                  <a:ext uri="{FF2B5EF4-FFF2-40B4-BE49-F238E27FC236}">
                    <a16:creationId xmlns:a16="http://schemas.microsoft.com/office/drawing/2014/main" id="{419E792E-9AD7-4A2F-9F64-2B0151B5BB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2" name="Freeform 990">
                <a:extLst>
                  <a:ext uri="{FF2B5EF4-FFF2-40B4-BE49-F238E27FC236}">
                    <a16:creationId xmlns:a16="http://schemas.microsoft.com/office/drawing/2014/main" id="{8686EAC2-8E63-4D88-A6E8-8FCC24A742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3" name="Freeform 991">
                <a:extLst>
                  <a:ext uri="{FF2B5EF4-FFF2-40B4-BE49-F238E27FC236}">
                    <a16:creationId xmlns:a16="http://schemas.microsoft.com/office/drawing/2014/main" id="{79F17627-F78D-4314-BD40-1CA974A5D2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4" name="Freeform 992">
                <a:extLst>
                  <a:ext uri="{FF2B5EF4-FFF2-40B4-BE49-F238E27FC236}">
                    <a16:creationId xmlns:a16="http://schemas.microsoft.com/office/drawing/2014/main" id="{7906DC90-7C24-478C-BEB5-C969BEED05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5" name="Freeform 993">
                <a:extLst>
                  <a:ext uri="{FF2B5EF4-FFF2-40B4-BE49-F238E27FC236}">
                    <a16:creationId xmlns:a16="http://schemas.microsoft.com/office/drawing/2014/main" id="{BF27B34A-CB42-435A-98F9-D49A28B7AF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6" name="Freeform 994">
                <a:extLst>
                  <a:ext uri="{FF2B5EF4-FFF2-40B4-BE49-F238E27FC236}">
                    <a16:creationId xmlns:a16="http://schemas.microsoft.com/office/drawing/2014/main" id="{052E4D3B-3BDA-4BEB-9E12-C06589EA2F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7" name="Freeform 995">
                <a:extLst>
                  <a:ext uri="{FF2B5EF4-FFF2-40B4-BE49-F238E27FC236}">
                    <a16:creationId xmlns:a16="http://schemas.microsoft.com/office/drawing/2014/main" id="{4DD8B275-A0DA-4885-931D-01E26C5006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8" name="Freeform 996">
                <a:extLst>
                  <a:ext uri="{FF2B5EF4-FFF2-40B4-BE49-F238E27FC236}">
                    <a16:creationId xmlns:a16="http://schemas.microsoft.com/office/drawing/2014/main" id="{493A1318-1870-4163-A992-146D27AB89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9" name="Freeform 997">
                <a:extLst>
                  <a:ext uri="{FF2B5EF4-FFF2-40B4-BE49-F238E27FC236}">
                    <a16:creationId xmlns:a16="http://schemas.microsoft.com/office/drawing/2014/main" id="{AD4BEAAF-2032-4163-8F6D-02F0C25E69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0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0" name="Freeform 998">
                <a:extLst>
                  <a:ext uri="{FF2B5EF4-FFF2-40B4-BE49-F238E27FC236}">
                    <a16:creationId xmlns:a16="http://schemas.microsoft.com/office/drawing/2014/main" id="{AFE51027-FB0F-450C-8194-8DA4E4F93C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58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1" name="Freeform 999">
                <a:extLst>
                  <a:ext uri="{FF2B5EF4-FFF2-40B4-BE49-F238E27FC236}">
                    <a16:creationId xmlns:a16="http://schemas.microsoft.com/office/drawing/2014/main" id="{552A751B-8D02-41DE-9A1F-8670624B68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56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2" name="Freeform 1000">
                <a:extLst>
                  <a:ext uri="{FF2B5EF4-FFF2-40B4-BE49-F238E27FC236}">
                    <a16:creationId xmlns:a16="http://schemas.microsoft.com/office/drawing/2014/main" id="{61F6AF9C-B57B-45DF-A653-A1AAFC12E0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3" name="Freeform 1001">
                <a:extLst>
                  <a:ext uri="{FF2B5EF4-FFF2-40B4-BE49-F238E27FC236}">
                    <a16:creationId xmlns:a16="http://schemas.microsoft.com/office/drawing/2014/main" id="{4A4C7C90-D898-43B8-9E10-C3F106B210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4" name="Freeform 1002">
                <a:extLst>
                  <a:ext uri="{FF2B5EF4-FFF2-40B4-BE49-F238E27FC236}">
                    <a16:creationId xmlns:a16="http://schemas.microsoft.com/office/drawing/2014/main" id="{639A9F89-E15B-477D-B505-E67863F023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647"/>
                <a:ext cx="14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5" name="Freeform 1003">
                <a:extLst>
                  <a:ext uri="{FF2B5EF4-FFF2-40B4-BE49-F238E27FC236}">
                    <a16:creationId xmlns:a16="http://schemas.microsoft.com/office/drawing/2014/main" id="{93DD9907-F2D4-45A4-A6AE-E918E95073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632"/>
                <a:ext cx="14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6" name="Freeform 1004">
                <a:extLst>
                  <a:ext uri="{FF2B5EF4-FFF2-40B4-BE49-F238E27FC236}">
                    <a16:creationId xmlns:a16="http://schemas.microsoft.com/office/drawing/2014/main" id="{F4E3537B-1B77-40BF-8993-606FC6BD95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61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7" name="Freeform 1005">
                <a:extLst>
                  <a:ext uri="{FF2B5EF4-FFF2-40B4-BE49-F238E27FC236}">
                    <a16:creationId xmlns:a16="http://schemas.microsoft.com/office/drawing/2014/main" id="{DED5DB5D-6B0E-43EA-A3E1-944CA2C871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601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8" name="Freeform 1006">
                <a:extLst>
                  <a:ext uri="{FF2B5EF4-FFF2-40B4-BE49-F238E27FC236}">
                    <a16:creationId xmlns:a16="http://schemas.microsoft.com/office/drawing/2014/main" id="{46730628-C8E9-41C7-B2BB-19250C2667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9" name="Freeform 1007">
                <a:extLst>
                  <a:ext uri="{FF2B5EF4-FFF2-40B4-BE49-F238E27FC236}">
                    <a16:creationId xmlns:a16="http://schemas.microsoft.com/office/drawing/2014/main" id="{87D8284F-55ED-463F-892A-C4CCE45FF5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57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0" name="Freeform 1008">
                <a:extLst>
                  <a:ext uri="{FF2B5EF4-FFF2-40B4-BE49-F238E27FC236}">
                    <a16:creationId xmlns:a16="http://schemas.microsoft.com/office/drawing/2014/main" id="{1C9F1373-4940-46DC-BCE9-633BFE22BE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11" name="Group 1210">
              <a:extLst>
                <a:ext uri="{FF2B5EF4-FFF2-40B4-BE49-F238E27FC236}">
                  <a16:creationId xmlns:a16="http://schemas.microsoft.com/office/drawing/2014/main" id="{7B71D694-F5A8-4D02-8591-3C2D43B4D25F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8587992" y="4200035"/>
              <a:ext cx="2102515" cy="1148951"/>
              <a:chOff x="5146" y="2100"/>
              <a:chExt cx="990" cy="541"/>
            </a:xfrm>
          </p:grpSpPr>
          <p:sp>
            <p:nvSpPr>
              <p:cNvPr id="10171" name="Freeform 1010">
                <a:extLst>
                  <a:ext uri="{FF2B5EF4-FFF2-40B4-BE49-F238E27FC236}">
                    <a16:creationId xmlns:a16="http://schemas.microsoft.com/office/drawing/2014/main" id="{DCF4586A-DBAC-4AD9-8A0A-6BC36ECE6F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53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2" name="Freeform 1011">
                <a:extLst>
                  <a:ext uri="{FF2B5EF4-FFF2-40B4-BE49-F238E27FC236}">
                    <a16:creationId xmlns:a16="http://schemas.microsoft.com/office/drawing/2014/main" id="{4FB20D46-986D-439A-8A26-51863A9141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3" name="Freeform 1012">
                <a:extLst>
                  <a:ext uri="{FF2B5EF4-FFF2-40B4-BE49-F238E27FC236}">
                    <a16:creationId xmlns:a16="http://schemas.microsoft.com/office/drawing/2014/main" id="{65EA4C67-8390-4B97-9BF1-10456237A8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4" name="Freeform 1013">
                <a:extLst>
                  <a:ext uri="{FF2B5EF4-FFF2-40B4-BE49-F238E27FC236}">
                    <a16:creationId xmlns:a16="http://schemas.microsoft.com/office/drawing/2014/main" id="{20C3A125-F0D6-490E-87C1-2879A3CE43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5" name="Freeform 1014">
                <a:extLst>
                  <a:ext uri="{FF2B5EF4-FFF2-40B4-BE49-F238E27FC236}">
                    <a16:creationId xmlns:a16="http://schemas.microsoft.com/office/drawing/2014/main" id="{4168B61D-3BD5-4215-8ACA-F56D6F7E21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6" name="Freeform 1015">
                <a:extLst>
                  <a:ext uri="{FF2B5EF4-FFF2-40B4-BE49-F238E27FC236}">
                    <a16:creationId xmlns:a16="http://schemas.microsoft.com/office/drawing/2014/main" id="{09B112F0-6653-4FB8-AFB0-A61C77011D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7" name="Freeform 1016">
                <a:extLst>
                  <a:ext uri="{FF2B5EF4-FFF2-40B4-BE49-F238E27FC236}">
                    <a16:creationId xmlns:a16="http://schemas.microsoft.com/office/drawing/2014/main" id="{2CAEC1E8-58D6-4201-85F2-1663B69FB1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8" name="Freeform 1017">
                <a:extLst>
                  <a:ext uri="{FF2B5EF4-FFF2-40B4-BE49-F238E27FC236}">
                    <a16:creationId xmlns:a16="http://schemas.microsoft.com/office/drawing/2014/main" id="{D0A251AA-8456-4128-9CBB-68BD0BEA33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632"/>
                <a:ext cx="14" cy="9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9" name="Freeform 1018">
                <a:extLst>
                  <a:ext uri="{FF2B5EF4-FFF2-40B4-BE49-F238E27FC236}">
                    <a16:creationId xmlns:a16="http://schemas.microsoft.com/office/drawing/2014/main" id="{802582CD-3CEF-4ABA-8D95-6B31F2D246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61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0" name="Freeform 1019">
                <a:extLst>
                  <a:ext uri="{FF2B5EF4-FFF2-40B4-BE49-F238E27FC236}">
                    <a16:creationId xmlns:a16="http://schemas.microsoft.com/office/drawing/2014/main" id="{4164B72A-1EF0-4068-8A94-0967E829CE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601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1" name="Freeform 1020">
                <a:extLst>
                  <a:ext uri="{FF2B5EF4-FFF2-40B4-BE49-F238E27FC236}">
                    <a16:creationId xmlns:a16="http://schemas.microsoft.com/office/drawing/2014/main" id="{B1D72975-FE7C-48CC-988F-1CE2115043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2" name="Freeform 1021">
                <a:extLst>
                  <a:ext uri="{FF2B5EF4-FFF2-40B4-BE49-F238E27FC236}">
                    <a16:creationId xmlns:a16="http://schemas.microsoft.com/office/drawing/2014/main" id="{87B70F42-D9B9-4C5A-B283-93FFA7144A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3" name="Freeform 1022">
                <a:extLst>
                  <a:ext uri="{FF2B5EF4-FFF2-40B4-BE49-F238E27FC236}">
                    <a16:creationId xmlns:a16="http://schemas.microsoft.com/office/drawing/2014/main" id="{A13F57CC-52B9-4101-B617-5AF22D72D2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4" name="Freeform 1023">
                <a:extLst>
                  <a:ext uri="{FF2B5EF4-FFF2-40B4-BE49-F238E27FC236}">
                    <a16:creationId xmlns:a16="http://schemas.microsoft.com/office/drawing/2014/main" id="{3E4E5F06-88C2-417B-88E4-22AC022163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53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5" name="Freeform 1024">
                <a:extLst>
                  <a:ext uri="{FF2B5EF4-FFF2-40B4-BE49-F238E27FC236}">
                    <a16:creationId xmlns:a16="http://schemas.microsoft.com/office/drawing/2014/main" id="{E0027550-8C25-49BB-9745-3DA84FEECF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6" name="Freeform 1025">
                <a:extLst>
                  <a:ext uri="{FF2B5EF4-FFF2-40B4-BE49-F238E27FC236}">
                    <a16:creationId xmlns:a16="http://schemas.microsoft.com/office/drawing/2014/main" id="{FB9DCB00-20C3-4320-94F2-05B33C4E37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50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7" name="Freeform 1026">
                <a:extLst>
                  <a:ext uri="{FF2B5EF4-FFF2-40B4-BE49-F238E27FC236}">
                    <a16:creationId xmlns:a16="http://schemas.microsoft.com/office/drawing/2014/main" id="{BEA3E6FC-5BA8-4510-A113-58A96D9C18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8" name="Freeform 1027">
                <a:extLst>
                  <a:ext uri="{FF2B5EF4-FFF2-40B4-BE49-F238E27FC236}">
                    <a16:creationId xmlns:a16="http://schemas.microsoft.com/office/drawing/2014/main" id="{5B3CCE53-B162-41F5-94DD-F2DE931E4E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9" name="Freeform 1028">
                <a:extLst>
                  <a:ext uri="{FF2B5EF4-FFF2-40B4-BE49-F238E27FC236}">
                    <a16:creationId xmlns:a16="http://schemas.microsoft.com/office/drawing/2014/main" id="{4B19CB26-A666-47A0-83DD-53B4779953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0" name="Freeform 1029">
                <a:extLst>
                  <a:ext uri="{FF2B5EF4-FFF2-40B4-BE49-F238E27FC236}">
                    <a16:creationId xmlns:a16="http://schemas.microsoft.com/office/drawing/2014/main" id="{2A0B8815-947F-4338-AB5C-572523BCF7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1" name="Freeform 1030">
                <a:extLst>
                  <a:ext uri="{FF2B5EF4-FFF2-40B4-BE49-F238E27FC236}">
                    <a16:creationId xmlns:a16="http://schemas.microsoft.com/office/drawing/2014/main" id="{8EDD61E0-A2AF-4D34-BE8A-155AC8BB02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42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2" name="Freeform 1031">
                <a:extLst>
                  <a:ext uri="{FF2B5EF4-FFF2-40B4-BE49-F238E27FC236}">
                    <a16:creationId xmlns:a16="http://schemas.microsoft.com/office/drawing/2014/main" id="{24EC8112-368E-4D96-9877-A013C7DCA9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41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3" name="Freeform 1032">
                <a:extLst>
                  <a:ext uri="{FF2B5EF4-FFF2-40B4-BE49-F238E27FC236}">
                    <a16:creationId xmlns:a16="http://schemas.microsoft.com/office/drawing/2014/main" id="{AE39EFA6-8F2D-4040-97F6-DF7F0B89CD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42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4" name="Freeform 1033">
                <a:extLst>
                  <a:ext uri="{FF2B5EF4-FFF2-40B4-BE49-F238E27FC236}">
                    <a16:creationId xmlns:a16="http://schemas.microsoft.com/office/drawing/2014/main" id="{FF923C38-5C25-47F6-B05E-7BE288E1C7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616"/>
                <a:ext cx="14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5" name="Freeform 1034">
                <a:extLst>
                  <a:ext uri="{FF2B5EF4-FFF2-40B4-BE49-F238E27FC236}">
                    <a16:creationId xmlns:a16="http://schemas.microsoft.com/office/drawing/2014/main" id="{A7EE1EF6-3FCF-43D8-850A-9B9173804C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601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6" name="Freeform 1035">
                <a:extLst>
                  <a:ext uri="{FF2B5EF4-FFF2-40B4-BE49-F238E27FC236}">
                    <a16:creationId xmlns:a16="http://schemas.microsoft.com/office/drawing/2014/main" id="{5D3424E7-A08D-45EF-892D-7BD633E3E9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7" name="Freeform 1036">
                <a:extLst>
                  <a:ext uri="{FF2B5EF4-FFF2-40B4-BE49-F238E27FC236}">
                    <a16:creationId xmlns:a16="http://schemas.microsoft.com/office/drawing/2014/main" id="{46DE3D24-D23F-447E-AB9E-6EB0B10E7B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8" name="Freeform 1037">
                <a:extLst>
                  <a:ext uri="{FF2B5EF4-FFF2-40B4-BE49-F238E27FC236}">
                    <a16:creationId xmlns:a16="http://schemas.microsoft.com/office/drawing/2014/main" id="{7AB338C8-D961-45C7-852D-A8848D8E7C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9" name="Freeform 1038">
                <a:extLst>
                  <a:ext uri="{FF2B5EF4-FFF2-40B4-BE49-F238E27FC236}">
                    <a16:creationId xmlns:a16="http://schemas.microsoft.com/office/drawing/2014/main" id="{D119EBBC-1EA4-4385-A70E-C61D7F71C6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0" name="Freeform 1039">
                <a:extLst>
                  <a:ext uri="{FF2B5EF4-FFF2-40B4-BE49-F238E27FC236}">
                    <a16:creationId xmlns:a16="http://schemas.microsoft.com/office/drawing/2014/main" id="{7A69D16B-7DF0-43E1-BD8F-00D6B8304E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522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1" name="Freeform 1040">
                <a:extLst>
                  <a:ext uri="{FF2B5EF4-FFF2-40B4-BE49-F238E27FC236}">
                    <a16:creationId xmlns:a16="http://schemas.microsoft.com/office/drawing/2014/main" id="{FF845ADF-C510-42D2-9102-42614393FD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50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2" name="Freeform 1041">
                <a:extLst>
                  <a:ext uri="{FF2B5EF4-FFF2-40B4-BE49-F238E27FC236}">
                    <a16:creationId xmlns:a16="http://schemas.microsoft.com/office/drawing/2014/main" id="{84662BC4-1ED8-476B-A243-348EB5EBEB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3" name="Freeform 1042">
                <a:extLst>
                  <a:ext uri="{FF2B5EF4-FFF2-40B4-BE49-F238E27FC236}">
                    <a16:creationId xmlns:a16="http://schemas.microsoft.com/office/drawing/2014/main" id="{D746430B-64F0-4E8A-860F-E19A78E079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4" name="Freeform 1043">
                <a:extLst>
                  <a:ext uri="{FF2B5EF4-FFF2-40B4-BE49-F238E27FC236}">
                    <a16:creationId xmlns:a16="http://schemas.microsoft.com/office/drawing/2014/main" id="{70328013-1FEC-4910-9639-51FAE56574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5" name="Freeform 1044">
                <a:extLst>
                  <a:ext uri="{FF2B5EF4-FFF2-40B4-BE49-F238E27FC236}">
                    <a16:creationId xmlns:a16="http://schemas.microsoft.com/office/drawing/2014/main" id="{2CF1CE46-D475-45E1-A62E-6D04FE4C0F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6" name="Freeform 1045">
                <a:extLst>
                  <a:ext uri="{FF2B5EF4-FFF2-40B4-BE49-F238E27FC236}">
                    <a16:creationId xmlns:a16="http://schemas.microsoft.com/office/drawing/2014/main" id="{34191C21-DC6B-4B94-ADC4-A51917489F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42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7" name="Freeform 1046">
                <a:extLst>
                  <a:ext uri="{FF2B5EF4-FFF2-40B4-BE49-F238E27FC236}">
                    <a16:creationId xmlns:a16="http://schemas.microsoft.com/office/drawing/2014/main" id="{60CE7025-CE19-4B24-97BC-D9A86FF2D9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41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8" name="Freeform 1047">
                <a:extLst>
                  <a:ext uri="{FF2B5EF4-FFF2-40B4-BE49-F238E27FC236}">
                    <a16:creationId xmlns:a16="http://schemas.microsoft.com/office/drawing/2014/main" id="{14FDDFCE-B647-4178-85C8-661323AC4D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41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9" name="Freeform 1048">
                <a:extLst>
                  <a:ext uri="{FF2B5EF4-FFF2-40B4-BE49-F238E27FC236}">
                    <a16:creationId xmlns:a16="http://schemas.microsoft.com/office/drawing/2014/main" id="{93830126-7172-4562-8236-FF5547E316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97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0" name="Freeform 1049">
                <a:extLst>
                  <a:ext uri="{FF2B5EF4-FFF2-40B4-BE49-F238E27FC236}">
                    <a16:creationId xmlns:a16="http://schemas.microsoft.com/office/drawing/2014/main" id="{38503447-3384-4608-9C8E-5730C536C9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01"/>
                <a:ext cx="14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1" name="Freeform 1050">
                <a:extLst>
                  <a:ext uri="{FF2B5EF4-FFF2-40B4-BE49-F238E27FC236}">
                    <a16:creationId xmlns:a16="http://schemas.microsoft.com/office/drawing/2014/main" id="{CF0B41C2-7932-42BF-9D50-4A3FE80770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2" name="Freeform 1051">
                <a:extLst>
                  <a:ext uri="{FF2B5EF4-FFF2-40B4-BE49-F238E27FC236}">
                    <a16:creationId xmlns:a16="http://schemas.microsoft.com/office/drawing/2014/main" id="{AFE72E4A-42EA-47D1-AA6F-7B3DC86F34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3" name="Freeform 1052">
                <a:extLst>
                  <a:ext uri="{FF2B5EF4-FFF2-40B4-BE49-F238E27FC236}">
                    <a16:creationId xmlns:a16="http://schemas.microsoft.com/office/drawing/2014/main" id="{CC83E75F-B153-47BE-B78D-22C1631A87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4" name="Freeform 1053">
                <a:extLst>
                  <a:ext uri="{FF2B5EF4-FFF2-40B4-BE49-F238E27FC236}">
                    <a16:creationId xmlns:a16="http://schemas.microsoft.com/office/drawing/2014/main" id="{6FF7288E-582F-4B6F-B736-5C94C45DF5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5" name="Freeform 1054">
                <a:extLst>
                  <a:ext uri="{FF2B5EF4-FFF2-40B4-BE49-F238E27FC236}">
                    <a16:creationId xmlns:a16="http://schemas.microsoft.com/office/drawing/2014/main" id="{BE717727-EB29-4742-9B54-7F5FBB4F5D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52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6" name="Freeform 1055">
                <a:extLst>
                  <a:ext uri="{FF2B5EF4-FFF2-40B4-BE49-F238E27FC236}">
                    <a16:creationId xmlns:a16="http://schemas.microsoft.com/office/drawing/2014/main" id="{0074B179-36C9-40A3-92DD-C0A55D5F5E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7" name="Freeform 1056">
                <a:extLst>
                  <a:ext uri="{FF2B5EF4-FFF2-40B4-BE49-F238E27FC236}">
                    <a16:creationId xmlns:a16="http://schemas.microsoft.com/office/drawing/2014/main" id="{31C0F204-B609-4B41-AB63-65B1D56AF6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8" name="Freeform 1057">
                <a:extLst>
                  <a:ext uri="{FF2B5EF4-FFF2-40B4-BE49-F238E27FC236}">
                    <a16:creationId xmlns:a16="http://schemas.microsoft.com/office/drawing/2014/main" id="{CE1235DF-42FE-431D-9AE4-5645842B3B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9" name="Freeform 1058">
                <a:extLst>
                  <a:ext uri="{FF2B5EF4-FFF2-40B4-BE49-F238E27FC236}">
                    <a16:creationId xmlns:a16="http://schemas.microsoft.com/office/drawing/2014/main" id="{D9E3ECB9-36A9-457D-AF15-75C271DBF5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0" name="Freeform 1059">
                <a:extLst>
                  <a:ext uri="{FF2B5EF4-FFF2-40B4-BE49-F238E27FC236}">
                    <a16:creationId xmlns:a16="http://schemas.microsoft.com/office/drawing/2014/main" id="{CE04DE76-489C-4BBE-8B93-E6DCC61913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1" name="Freeform 1060">
                <a:extLst>
                  <a:ext uri="{FF2B5EF4-FFF2-40B4-BE49-F238E27FC236}">
                    <a16:creationId xmlns:a16="http://schemas.microsoft.com/office/drawing/2014/main" id="{8637108E-5841-4F96-B0BE-0A3AB342AF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2" name="Freeform 1061">
                <a:extLst>
                  <a:ext uri="{FF2B5EF4-FFF2-40B4-BE49-F238E27FC236}">
                    <a16:creationId xmlns:a16="http://schemas.microsoft.com/office/drawing/2014/main" id="{69C7EC80-8A7A-45E4-884D-D23DDAFCC0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3" name="Freeform 1062">
                <a:extLst>
                  <a:ext uri="{FF2B5EF4-FFF2-40B4-BE49-F238E27FC236}">
                    <a16:creationId xmlns:a16="http://schemas.microsoft.com/office/drawing/2014/main" id="{24B81122-5E06-4F08-B6AE-1C6A5977F9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4" name="Freeform 1063">
                <a:extLst>
                  <a:ext uri="{FF2B5EF4-FFF2-40B4-BE49-F238E27FC236}">
                    <a16:creationId xmlns:a16="http://schemas.microsoft.com/office/drawing/2014/main" id="{05F35DA0-A364-425F-8B7A-8A4464D4CA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38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5" name="Freeform 1064">
                <a:extLst>
                  <a:ext uri="{FF2B5EF4-FFF2-40B4-BE49-F238E27FC236}">
                    <a16:creationId xmlns:a16="http://schemas.microsoft.com/office/drawing/2014/main" id="{64CACD94-20D8-458B-AA03-8F1C145969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97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6" name="Freeform 1065">
                <a:extLst>
                  <a:ext uri="{FF2B5EF4-FFF2-40B4-BE49-F238E27FC236}">
                    <a16:creationId xmlns:a16="http://schemas.microsoft.com/office/drawing/2014/main" id="{3D728B1F-CE9C-40FD-A940-F2ACCC1DA3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585"/>
                <a:ext cx="15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7" name="Freeform 1066">
                <a:extLst>
                  <a:ext uri="{FF2B5EF4-FFF2-40B4-BE49-F238E27FC236}">
                    <a16:creationId xmlns:a16="http://schemas.microsoft.com/office/drawing/2014/main" id="{067074AB-B89D-4CFA-817A-0442F1DA60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8" name="Freeform 1067">
                <a:extLst>
                  <a:ext uri="{FF2B5EF4-FFF2-40B4-BE49-F238E27FC236}">
                    <a16:creationId xmlns:a16="http://schemas.microsoft.com/office/drawing/2014/main" id="{C55E6B25-CA7A-4326-BCCC-6127AFCB4E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9" name="Freeform 1068">
                <a:extLst>
                  <a:ext uri="{FF2B5EF4-FFF2-40B4-BE49-F238E27FC236}">
                    <a16:creationId xmlns:a16="http://schemas.microsoft.com/office/drawing/2014/main" id="{95C3C80D-7D3F-4F7D-B552-186DA9B0BD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0" name="Freeform 1069">
                <a:extLst>
                  <a:ext uri="{FF2B5EF4-FFF2-40B4-BE49-F238E27FC236}">
                    <a16:creationId xmlns:a16="http://schemas.microsoft.com/office/drawing/2014/main" id="{137502F1-386A-407E-80D9-6F9130687E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52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1" name="Freeform 1070">
                <a:extLst>
                  <a:ext uri="{FF2B5EF4-FFF2-40B4-BE49-F238E27FC236}">
                    <a16:creationId xmlns:a16="http://schemas.microsoft.com/office/drawing/2014/main" id="{78B77B8A-8994-4D40-B8B2-8C8004F3E5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2" name="Freeform 1071">
                <a:extLst>
                  <a:ext uri="{FF2B5EF4-FFF2-40B4-BE49-F238E27FC236}">
                    <a16:creationId xmlns:a16="http://schemas.microsoft.com/office/drawing/2014/main" id="{62FEAB60-62FE-4C86-B67C-B68F442733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3" name="Freeform 1072">
                <a:extLst>
                  <a:ext uri="{FF2B5EF4-FFF2-40B4-BE49-F238E27FC236}">
                    <a16:creationId xmlns:a16="http://schemas.microsoft.com/office/drawing/2014/main" id="{F1F425D2-E6FE-4B5F-8B4F-D8471CE497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4" name="Freeform 1073">
                <a:extLst>
                  <a:ext uri="{FF2B5EF4-FFF2-40B4-BE49-F238E27FC236}">
                    <a16:creationId xmlns:a16="http://schemas.microsoft.com/office/drawing/2014/main" id="{43916B55-F5C6-453B-AC76-B7C510BEBA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5" name="Freeform 1074">
                <a:extLst>
                  <a:ext uri="{FF2B5EF4-FFF2-40B4-BE49-F238E27FC236}">
                    <a16:creationId xmlns:a16="http://schemas.microsoft.com/office/drawing/2014/main" id="{8A186AE0-36F8-444E-966A-81B5FB52E1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6" name="Freeform 1075">
                <a:extLst>
                  <a:ext uri="{FF2B5EF4-FFF2-40B4-BE49-F238E27FC236}">
                    <a16:creationId xmlns:a16="http://schemas.microsoft.com/office/drawing/2014/main" id="{1EE703C9-FF21-4A9D-B33A-D189AEC2C8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7" name="Freeform 1076">
                <a:extLst>
                  <a:ext uri="{FF2B5EF4-FFF2-40B4-BE49-F238E27FC236}">
                    <a16:creationId xmlns:a16="http://schemas.microsoft.com/office/drawing/2014/main" id="{796B79CB-69AE-48A2-914D-A2FC77B343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8" name="Freeform 1077">
                <a:extLst>
                  <a:ext uri="{FF2B5EF4-FFF2-40B4-BE49-F238E27FC236}">
                    <a16:creationId xmlns:a16="http://schemas.microsoft.com/office/drawing/2014/main" id="{4D137956-C8AB-4C66-B5ED-7462D386BE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9" name="Freeform 1078">
                <a:extLst>
                  <a:ext uri="{FF2B5EF4-FFF2-40B4-BE49-F238E27FC236}">
                    <a16:creationId xmlns:a16="http://schemas.microsoft.com/office/drawing/2014/main" id="{0D4052BF-F8C5-42F2-8673-C71312F85A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38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0" name="Freeform 1079">
                <a:extLst>
                  <a:ext uri="{FF2B5EF4-FFF2-40B4-BE49-F238E27FC236}">
                    <a16:creationId xmlns:a16="http://schemas.microsoft.com/office/drawing/2014/main" id="{CF37CD31-488E-42A8-BC67-810672C1EC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6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1" name="Freeform 1080">
                <a:extLst>
                  <a:ext uri="{FF2B5EF4-FFF2-40B4-BE49-F238E27FC236}">
                    <a16:creationId xmlns:a16="http://schemas.microsoft.com/office/drawing/2014/main" id="{980B1881-10EB-4077-AEE3-51929F177D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35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2" name="Freeform 1081">
                <a:extLst>
                  <a:ext uri="{FF2B5EF4-FFF2-40B4-BE49-F238E27FC236}">
                    <a16:creationId xmlns:a16="http://schemas.microsoft.com/office/drawing/2014/main" id="{97E11C2D-63B7-4308-AAF8-5606F87640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570"/>
                <a:ext cx="15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3" name="Freeform 1082">
                <a:extLst>
                  <a:ext uri="{FF2B5EF4-FFF2-40B4-BE49-F238E27FC236}">
                    <a16:creationId xmlns:a16="http://schemas.microsoft.com/office/drawing/2014/main" id="{01A78239-3124-4333-9FF9-106C64877D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55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4" name="Freeform 1083">
                <a:extLst>
                  <a:ext uri="{FF2B5EF4-FFF2-40B4-BE49-F238E27FC236}">
                    <a16:creationId xmlns:a16="http://schemas.microsoft.com/office/drawing/2014/main" id="{4C228E5C-0B21-48C6-B39A-DE191FF234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5" name="Freeform 1084">
                <a:extLst>
                  <a:ext uri="{FF2B5EF4-FFF2-40B4-BE49-F238E27FC236}">
                    <a16:creationId xmlns:a16="http://schemas.microsoft.com/office/drawing/2014/main" id="{53EA2DC1-9109-4743-80F2-C4500640E8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52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6" name="Freeform 1085">
                <a:extLst>
                  <a:ext uri="{FF2B5EF4-FFF2-40B4-BE49-F238E27FC236}">
                    <a16:creationId xmlns:a16="http://schemas.microsoft.com/office/drawing/2014/main" id="{78424B45-360F-4D69-A909-F87F6D6AEE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7" name="Freeform 1086">
                <a:extLst>
                  <a:ext uri="{FF2B5EF4-FFF2-40B4-BE49-F238E27FC236}">
                    <a16:creationId xmlns:a16="http://schemas.microsoft.com/office/drawing/2014/main" id="{70F491B1-B0DF-4F96-8884-79E860F5C0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8" name="Freeform 1087">
                <a:extLst>
                  <a:ext uri="{FF2B5EF4-FFF2-40B4-BE49-F238E27FC236}">
                    <a16:creationId xmlns:a16="http://schemas.microsoft.com/office/drawing/2014/main" id="{83039DA1-DF9B-4BDC-9A74-2A3AF11C01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9" name="Freeform 1088">
                <a:extLst>
                  <a:ext uri="{FF2B5EF4-FFF2-40B4-BE49-F238E27FC236}">
                    <a16:creationId xmlns:a16="http://schemas.microsoft.com/office/drawing/2014/main" id="{457CA5CD-15B5-40DF-B9A8-E91D04CADE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0" name="Freeform 1089">
                <a:extLst>
                  <a:ext uri="{FF2B5EF4-FFF2-40B4-BE49-F238E27FC236}">
                    <a16:creationId xmlns:a16="http://schemas.microsoft.com/office/drawing/2014/main" id="{46E72866-906B-4CDA-A12C-0FF99074F8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1" name="Freeform 1090">
                <a:extLst>
                  <a:ext uri="{FF2B5EF4-FFF2-40B4-BE49-F238E27FC236}">
                    <a16:creationId xmlns:a16="http://schemas.microsoft.com/office/drawing/2014/main" id="{36962B32-5C4F-4C60-BBEE-5DFA575453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2" name="Freeform 1091">
                <a:extLst>
                  <a:ext uri="{FF2B5EF4-FFF2-40B4-BE49-F238E27FC236}">
                    <a16:creationId xmlns:a16="http://schemas.microsoft.com/office/drawing/2014/main" id="{E4322909-AE32-4EFC-A03B-9CCD294695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3" name="Freeform 1092">
                <a:extLst>
                  <a:ext uri="{FF2B5EF4-FFF2-40B4-BE49-F238E27FC236}">
                    <a16:creationId xmlns:a16="http://schemas.microsoft.com/office/drawing/2014/main" id="{229D11DD-86E8-410C-A85A-1CE06E5607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4" name="Freeform 1093">
                <a:extLst>
                  <a:ext uri="{FF2B5EF4-FFF2-40B4-BE49-F238E27FC236}">
                    <a16:creationId xmlns:a16="http://schemas.microsoft.com/office/drawing/2014/main" id="{AC0475DB-D19D-4578-A608-E8AC42C6DA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38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5" name="Freeform 1094">
                <a:extLst>
                  <a:ext uri="{FF2B5EF4-FFF2-40B4-BE49-F238E27FC236}">
                    <a16:creationId xmlns:a16="http://schemas.microsoft.com/office/drawing/2014/main" id="{F4463D57-35BE-4561-91B5-1329FC5EE0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6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6" name="Freeform 1095">
                <a:extLst>
                  <a:ext uri="{FF2B5EF4-FFF2-40B4-BE49-F238E27FC236}">
                    <a16:creationId xmlns:a16="http://schemas.microsoft.com/office/drawing/2014/main" id="{18709252-3D36-4E32-8DFF-2446818DF5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350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7" name="Freeform 1096">
                <a:extLst>
                  <a:ext uri="{FF2B5EF4-FFF2-40B4-BE49-F238E27FC236}">
                    <a16:creationId xmlns:a16="http://schemas.microsoft.com/office/drawing/2014/main" id="{1D51DB23-CC34-470C-A296-D3A4948133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3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8" name="Freeform 1097">
                <a:extLst>
                  <a:ext uri="{FF2B5EF4-FFF2-40B4-BE49-F238E27FC236}">
                    <a16:creationId xmlns:a16="http://schemas.microsoft.com/office/drawing/2014/main" id="{CE9281A1-5F3E-46F6-ACA3-EDAD283A87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553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9" name="Freeform 1098">
                <a:extLst>
                  <a:ext uri="{FF2B5EF4-FFF2-40B4-BE49-F238E27FC236}">
                    <a16:creationId xmlns:a16="http://schemas.microsoft.com/office/drawing/2014/main" id="{2FEFA98D-0451-44CE-AD63-105978EACB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53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0" name="Freeform 1099">
                <a:extLst>
                  <a:ext uri="{FF2B5EF4-FFF2-40B4-BE49-F238E27FC236}">
                    <a16:creationId xmlns:a16="http://schemas.microsoft.com/office/drawing/2014/main" id="{46AD99F4-A054-4AD3-8B3E-E3E844ECE1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52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1" name="Freeform 1100">
                <a:extLst>
                  <a:ext uri="{FF2B5EF4-FFF2-40B4-BE49-F238E27FC236}">
                    <a16:creationId xmlns:a16="http://schemas.microsoft.com/office/drawing/2014/main" id="{D98BF2CA-6DF0-4871-94CA-C34F061DC9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2" name="Freeform 1101">
                <a:extLst>
                  <a:ext uri="{FF2B5EF4-FFF2-40B4-BE49-F238E27FC236}">
                    <a16:creationId xmlns:a16="http://schemas.microsoft.com/office/drawing/2014/main" id="{F58DEE9F-1914-48EB-9EA4-E59C05B831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3" name="Freeform 1102">
                <a:extLst>
                  <a:ext uri="{FF2B5EF4-FFF2-40B4-BE49-F238E27FC236}">
                    <a16:creationId xmlns:a16="http://schemas.microsoft.com/office/drawing/2014/main" id="{13FA411D-4B13-41E6-A07B-891EAB5799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4" name="Freeform 1103">
                <a:extLst>
                  <a:ext uri="{FF2B5EF4-FFF2-40B4-BE49-F238E27FC236}">
                    <a16:creationId xmlns:a16="http://schemas.microsoft.com/office/drawing/2014/main" id="{181660FD-42E5-4B9C-91D8-61FE63BDA5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5" name="Freeform 1104">
                <a:extLst>
                  <a:ext uri="{FF2B5EF4-FFF2-40B4-BE49-F238E27FC236}">
                    <a16:creationId xmlns:a16="http://schemas.microsoft.com/office/drawing/2014/main" id="{FB32F29B-1BE3-4686-8CA4-710B480958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6" name="Freeform 1105">
                <a:extLst>
                  <a:ext uri="{FF2B5EF4-FFF2-40B4-BE49-F238E27FC236}">
                    <a16:creationId xmlns:a16="http://schemas.microsoft.com/office/drawing/2014/main" id="{8390720F-EDA0-426D-B82A-AB2C789709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7" name="Freeform 1106">
                <a:extLst>
                  <a:ext uri="{FF2B5EF4-FFF2-40B4-BE49-F238E27FC236}">
                    <a16:creationId xmlns:a16="http://schemas.microsoft.com/office/drawing/2014/main" id="{126117C9-73F0-469B-BDD8-F70848649F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8" name="Freeform 1107">
                <a:extLst>
                  <a:ext uri="{FF2B5EF4-FFF2-40B4-BE49-F238E27FC236}">
                    <a16:creationId xmlns:a16="http://schemas.microsoft.com/office/drawing/2014/main" id="{A9A21456-A9A1-415D-903C-449472F74A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9" name="Freeform 1108">
                <a:extLst>
                  <a:ext uri="{FF2B5EF4-FFF2-40B4-BE49-F238E27FC236}">
                    <a16:creationId xmlns:a16="http://schemas.microsoft.com/office/drawing/2014/main" id="{EFE0A7D4-CD5B-4AE1-8076-C0ADC53368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38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0" name="Freeform 1109">
                <a:extLst>
                  <a:ext uri="{FF2B5EF4-FFF2-40B4-BE49-F238E27FC236}">
                    <a16:creationId xmlns:a16="http://schemas.microsoft.com/office/drawing/2014/main" id="{91927E3A-9447-4038-8C38-A9C5B13E61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6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1" name="Freeform 1110">
                <a:extLst>
                  <a:ext uri="{FF2B5EF4-FFF2-40B4-BE49-F238E27FC236}">
                    <a16:creationId xmlns:a16="http://schemas.microsoft.com/office/drawing/2014/main" id="{770FDDE4-6BE5-450F-801B-0CD4853506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350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2" name="Freeform 1111">
                <a:extLst>
                  <a:ext uri="{FF2B5EF4-FFF2-40B4-BE49-F238E27FC236}">
                    <a16:creationId xmlns:a16="http://schemas.microsoft.com/office/drawing/2014/main" id="{ACA7215A-78DD-4E9A-BD93-66DF624CF8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3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3" name="Freeform 1112">
                <a:extLst>
                  <a:ext uri="{FF2B5EF4-FFF2-40B4-BE49-F238E27FC236}">
                    <a16:creationId xmlns:a16="http://schemas.microsoft.com/office/drawing/2014/main" id="{716D3E91-54FE-4D99-9D88-FC223324EA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318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4" name="Freeform 1113">
                <a:extLst>
                  <a:ext uri="{FF2B5EF4-FFF2-40B4-BE49-F238E27FC236}">
                    <a16:creationId xmlns:a16="http://schemas.microsoft.com/office/drawing/2014/main" id="{81CF937C-E7A5-4A6A-96D2-4D72DA7232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383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5" name="Freeform 1114">
                <a:extLst>
                  <a:ext uri="{FF2B5EF4-FFF2-40B4-BE49-F238E27FC236}">
                    <a16:creationId xmlns:a16="http://schemas.microsoft.com/office/drawing/2014/main" id="{EE5C6832-4D29-4AFC-AAA1-42F85ADFD6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6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6" name="Freeform 1115">
                <a:extLst>
                  <a:ext uri="{FF2B5EF4-FFF2-40B4-BE49-F238E27FC236}">
                    <a16:creationId xmlns:a16="http://schemas.microsoft.com/office/drawing/2014/main" id="{F5FD2EE9-10E2-477B-BE53-37625A98F7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97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7" name="Freeform 1116">
                <a:extLst>
                  <a:ext uri="{FF2B5EF4-FFF2-40B4-BE49-F238E27FC236}">
                    <a16:creationId xmlns:a16="http://schemas.microsoft.com/office/drawing/2014/main" id="{4AC16DB4-DB41-4BD1-B069-AD4915D84E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38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8" name="Freeform 1117">
                <a:extLst>
                  <a:ext uri="{FF2B5EF4-FFF2-40B4-BE49-F238E27FC236}">
                    <a16:creationId xmlns:a16="http://schemas.microsoft.com/office/drawing/2014/main" id="{A20D5955-8294-40C9-B846-313834E92E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366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9" name="Freeform 1118">
                <a:extLst>
                  <a:ext uri="{FF2B5EF4-FFF2-40B4-BE49-F238E27FC236}">
                    <a16:creationId xmlns:a16="http://schemas.microsoft.com/office/drawing/2014/main" id="{41434A54-0512-43C7-A10B-D3C27C5E50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35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0" name="Freeform 1119">
                <a:extLst>
                  <a:ext uri="{FF2B5EF4-FFF2-40B4-BE49-F238E27FC236}">
                    <a16:creationId xmlns:a16="http://schemas.microsoft.com/office/drawing/2014/main" id="{D25248B5-E31C-4EC4-9D7B-8F3658F385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33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1" name="Freeform 1120">
                <a:extLst>
                  <a:ext uri="{FF2B5EF4-FFF2-40B4-BE49-F238E27FC236}">
                    <a16:creationId xmlns:a16="http://schemas.microsoft.com/office/drawing/2014/main" id="{1200ACAF-A49D-4B05-8144-31EEDF8289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31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2" name="Freeform 1121">
                <a:extLst>
                  <a:ext uri="{FF2B5EF4-FFF2-40B4-BE49-F238E27FC236}">
                    <a16:creationId xmlns:a16="http://schemas.microsoft.com/office/drawing/2014/main" id="{C12BE399-7C5B-43FC-AC92-8E3A932060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30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3" name="Freeform 1122">
                <a:extLst>
                  <a:ext uri="{FF2B5EF4-FFF2-40B4-BE49-F238E27FC236}">
                    <a16:creationId xmlns:a16="http://schemas.microsoft.com/office/drawing/2014/main" id="{75843E57-6C01-457D-8A00-2931342139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28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4" name="Freeform 1123">
                <a:extLst>
                  <a:ext uri="{FF2B5EF4-FFF2-40B4-BE49-F238E27FC236}">
                    <a16:creationId xmlns:a16="http://schemas.microsoft.com/office/drawing/2014/main" id="{34EB1CF3-0E54-447F-BC2C-33FA3EA57B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5" name="Freeform 1124">
                <a:extLst>
                  <a:ext uri="{FF2B5EF4-FFF2-40B4-BE49-F238E27FC236}">
                    <a16:creationId xmlns:a16="http://schemas.microsoft.com/office/drawing/2014/main" id="{40DC773A-1D4B-4256-BD73-1D16354E11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6" name="Freeform 1125">
                <a:extLst>
                  <a:ext uri="{FF2B5EF4-FFF2-40B4-BE49-F238E27FC236}">
                    <a16:creationId xmlns:a16="http://schemas.microsoft.com/office/drawing/2014/main" id="{239234F1-AFD2-4D45-ADCA-ADE6DCA082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7" name="Freeform 1126">
                <a:extLst>
                  <a:ext uri="{FF2B5EF4-FFF2-40B4-BE49-F238E27FC236}">
                    <a16:creationId xmlns:a16="http://schemas.microsoft.com/office/drawing/2014/main" id="{EE145D1B-E538-4262-AE35-30C4F8AA65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8" name="Freeform 1127">
                <a:extLst>
                  <a:ext uri="{FF2B5EF4-FFF2-40B4-BE49-F238E27FC236}">
                    <a16:creationId xmlns:a16="http://schemas.microsoft.com/office/drawing/2014/main" id="{470CBCF6-D190-4437-AA5E-65A9F57141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210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9" name="Freeform 1128">
                <a:extLst>
                  <a:ext uri="{FF2B5EF4-FFF2-40B4-BE49-F238E27FC236}">
                    <a16:creationId xmlns:a16="http://schemas.microsoft.com/office/drawing/2014/main" id="{DCE5AEE5-F99F-4E75-9D7A-D0E7937B56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9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0" name="Freeform 1129">
                <a:extLst>
                  <a:ext uri="{FF2B5EF4-FFF2-40B4-BE49-F238E27FC236}">
                    <a16:creationId xmlns:a16="http://schemas.microsoft.com/office/drawing/2014/main" id="{AD6CFD1A-17BD-4C29-A542-70817B3F00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179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1" name="Freeform 1130">
                <a:extLst>
                  <a:ext uri="{FF2B5EF4-FFF2-40B4-BE49-F238E27FC236}">
                    <a16:creationId xmlns:a16="http://schemas.microsoft.com/office/drawing/2014/main" id="{D9FC6BC3-2175-49DC-9B9B-912186F473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38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2" name="Freeform 1131">
                <a:extLst>
                  <a:ext uri="{FF2B5EF4-FFF2-40B4-BE49-F238E27FC236}">
                    <a16:creationId xmlns:a16="http://schemas.microsoft.com/office/drawing/2014/main" id="{FDF31B53-9BBB-4B3D-8855-B408C1E386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66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3" name="Freeform 1132">
                <a:extLst>
                  <a:ext uri="{FF2B5EF4-FFF2-40B4-BE49-F238E27FC236}">
                    <a16:creationId xmlns:a16="http://schemas.microsoft.com/office/drawing/2014/main" id="{ADD7D4B8-D4B4-4325-8B5D-82C8A31B04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35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4" name="Freeform 1133">
                <a:extLst>
                  <a:ext uri="{FF2B5EF4-FFF2-40B4-BE49-F238E27FC236}">
                    <a16:creationId xmlns:a16="http://schemas.microsoft.com/office/drawing/2014/main" id="{6529C3EA-E246-4BAE-9AA3-98519143B9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33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5" name="Freeform 1134">
                <a:extLst>
                  <a:ext uri="{FF2B5EF4-FFF2-40B4-BE49-F238E27FC236}">
                    <a16:creationId xmlns:a16="http://schemas.microsoft.com/office/drawing/2014/main" id="{26D762E0-7423-4042-841E-933981EFD6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31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6" name="Freeform 1135">
                <a:extLst>
                  <a:ext uri="{FF2B5EF4-FFF2-40B4-BE49-F238E27FC236}">
                    <a16:creationId xmlns:a16="http://schemas.microsoft.com/office/drawing/2014/main" id="{299C640A-B38A-4E39-8288-AA1FFF6CEF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30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7" name="Freeform 1136">
                <a:extLst>
                  <a:ext uri="{FF2B5EF4-FFF2-40B4-BE49-F238E27FC236}">
                    <a16:creationId xmlns:a16="http://schemas.microsoft.com/office/drawing/2014/main" id="{26913CBA-786D-4858-A829-F4C072D76A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28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8" name="Freeform 1137">
                <a:extLst>
                  <a:ext uri="{FF2B5EF4-FFF2-40B4-BE49-F238E27FC236}">
                    <a16:creationId xmlns:a16="http://schemas.microsoft.com/office/drawing/2014/main" id="{FA1D6FE6-1558-4E1C-AE33-97C5AAEDEA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9" name="Freeform 1138">
                <a:extLst>
                  <a:ext uri="{FF2B5EF4-FFF2-40B4-BE49-F238E27FC236}">
                    <a16:creationId xmlns:a16="http://schemas.microsoft.com/office/drawing/2014/main" id="{CA0AEB28-8DF6-439C-AF51-84B15CA57A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0" name="Freeform 1139">
                <a:extLst>
                  <a:ext uri="{FF2B5EF4-FFF2-40B4-BE49-F238E27FC236}">
                    <a16:creationId xmlns:a16="http://schemas.microsoft.com/office/drawing/2014/main" id="{F8B59588-FBC4-42FF-B42D-4FA811CF1C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1" name="Freeform 1140">
                <a:extLst>
                  <a:ext uri="{FF2B5EF4-FFF2-40B4-BE49-F238E27FC236}">
                    <a16:creationId xmlns:a16="http://schemas.microsoft.com/office/drawing/2014/main" id="{838C3C20-9046-4C49-9E18-CE128AEBE8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2" name="Freeform 1141">
                <a:extLst>
                  <a:ext uri="{FF2B5EF4-FFF2-40B4-BE49-F238E27FC236}">
                    <a16:creationId xmlns:a16="http://schemas.microsoft.com/office/drawing/2014/main" id="{A51C7D20-A1AA-415F-9162-BF2305BD48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3" name="Freeform 1142">
                <a:extLst>
                  <a:ext uri="{FF2B5EF4-FFF2-40B4-BE49-F238E27FC236}">
                    <a16:creationId xmlns:a16="http://schemas.microsoft.com/office/drawing/2014/main" id="{8DD424F6-E1B6-4386-ABCE-1BD1E879F5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4" name="Freeform 1143">
                <a:extLst>
                  <a:ext uri="{FF2B5EF4-FFF2-40B4-BE49-F238E27FC236}">
                    <a16:creationId xmlns:a16="http://schemas.microsoft.com/office/drawing/2014/main" id="{A32489E4-EF45-434E-9FB6-1E27AECFA4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179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5" name="Freeform 1144">
                <a:extLst>
                  <a:ext uri="{FF2B5EF4-FFF2-40B4-BE49-F238E27FC236}">
                    <a16:creationId xmlns:a16="http://schemas.microsoft.com/office/drawing/2014/main" id="{E82F8020-D19F-492C-88EF-10C04CFE65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63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6" name="Freeform 1145">
                <a:extLst>
                  <a:ext uri="{FF2B5EF4-FFF2-40B4-BE49-F238E27FC236}">
                    <a16:creationId xmlns:a16="http://schemas.microsoft.com/office/drawing/2014/main" id="{FCAA213F-F5AC-49D5-B741-5A23315BAB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66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7" name="Freeform 1146">
                <a:extLst>
                  <a:ext uri="{FF2B5EF4-FFF2-40B4-BE49-F238E27FC236}">
                    <a16:creationId xmlns:a16="http://schemas.microsoft.com/office/drawing/2014/main" id="{9039D1F1-3739-4840-9F0B-9489C687A8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35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8" name="Freeform 1147">
                <a:extLst>
                  <a:ext uri="{FF2B5EF4-FFF2-40B4-BE49-F238E27FC236}">
                    <a16:creationId xmlns:a16="http://schemas.microsoft.com/office/drawing/2014/main" id="{41C71CA0-2F36-468D-9103-B4D30A9A88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3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9" name="Freeform 1148">
                <a:extLst>
                  <a:ext uri="{FF2B5EF4-FFF2-40B4-BE49-F238E27FC236}">
                    <a16:creationId xmlns:a16="http://schemas.microsoft.com/office/drawing/2014/main" id="{DE953F79-C02B-4227-942A-8661E4B6EF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31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0" name="Freeform 1149">
                <a:extLst>
                  <a:ext uri="{FF2B5EF4-FFF2-40B4-BE49-F238E27FC236}">
                    <a16:creationId xmlns:a16="http://schemas.microsoft.com/office/drawing/2014/main" id="{305B1B9E-F940-4313-BF65-92AE51FF89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30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1" name="Freeform 1150">
                <a:extLst>
                  <a:ext uri="{FF2B5EF4-FFF2-40B4-BE49-F238E27FC236}">
                    <a16:creationId xmlns:a16="http://schemas.microsoft.com/office/drawing/2014/main" id="{6E127CBA-EA02-4E18-8622-38BB1AB77C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28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2" name="Freeform 1151">
                <a:extLst>
                  <a:ext uri="{FF2B5EF4-FFF2-40B4-BE49-F238E27FC236}">
                    <a16:creationId xmlns:a16="http://schemas.microsoft.com/office/drawing/2014/main" id="{3F4731D5-A6C0-4D80-94FD-1DC06E795B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3" name="Freeform 1152">
                <a:extLst>
                  <a:ext uri="{FF2B5EF4-FFF2-40B4-BE49-F238E27FC236}">
                    <a16:creationId xmlns:a16="http://schemas.microsoft.com/office/drawing/2014/main" id="{5D737284-F588-493D-BD75-F015A3936C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4" name="Freeform 1153">
                <a:extLst>
                  <a:ext uri="{FF2B5EF4-FFF2-40B4-BE49-F238E27FC236}">
                    <a16:creationId xmlns:a16="http://schemas.microsoft.com/office/drawing/2014/main" id="{C1D914A6-FF25-467F-B46B-3AB658F809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5" name="Freeform 1154">
                <a:extLst>
                  <a:ext uri="{FF2B5EF4-FFF2-40B4-BE49-F238E27FC236}">
                    <a16:creationId xmlns:a16="http://schemas.microsoft.com/office/drawing/2014/main" id="{3F86B1E1-EE27-4E1E-A831-DDA194FB97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6" name="Freeform 1155">
                <a:extLst>
                  <a:ext uri="{FF2B5EF4-FFF2-40B4-BE49-F238E27FC236}">
                    <a16:creationId xmlns:a16="http://schemas.microsoft.com/office/drawing/2014/main" id="{DC4CE94C-C316-452B-BF43-AB533BB615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7" name="Freeform 1156">
                <a:extLst>
                  <a:ext uri="{FF2B5EF4-FFF2-40B4-BE49-F238E27FC236}">
                    <a16:creationId xmlns:a16="http://schemas.microsoft.com/office/drawing/2014/main" id="{C44EA415-8CC5-4721-9F0D-42F54A0D8B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8" name="Freeform 1157">
                <a:extLst>
                  <a:ext uri="{FF2B5EF4-FFF2-40B4-BE49-F238E27FC236}">
                    <a16:creationId xmlns:a16="http://schemas.microsoft.com/office/drawing/2014/main" id="{3664CA20-0B06-412F-94D0-34670C5A27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9" name="Freeform 1158">
                <a:extLst>
                  <a:ext uri="{FF2B5EF4-FFF2-40B4-BE49-F238E27FC236}">
                    <a16:creationId xmlns:a16="http://schemas.microsoft.com/office/drawing/2014/main" id="{361FDE5F-CB15-4B63-9105-B0B0A8517F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0" name="Freeform 1159">
                <a:extLst>
                  <a:ext uri="{FF2B5EF4-FFF2-40B4-BE49-F238E27FC236}">
                    <a16:creationId xmlns:a16="http://schemas.microsoft.com/office/drawing/2014/main" id="{7BE79696-7FBD-4A59-B88D-A45D1E2448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14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1" name="Freeform 1160">
                <a:extLst>
                  <a:ext uri="{FF2B5EF4-FFF2-40B4-BE49-F238E27FC236}">
                    <a16:creationId xmlns:a16="http://schemas.microsoft.com/office/drawing/2014/main" id="{AF8D87F3-BC52-4D23-9243-A35428F983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35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2" name="Freeform 1161">
                <a:extLst>
                  <a:ext uri="{FF2B5EF4-FFF2-40B4-BE49-F238E27FC236}">
                    <a16:creationId xmlns:a16="http://schemas.microsoft.com/office/drawing/2014/main" id="{B460C0A5-E7A0-454B-AABF-2A9150B7F8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3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3" name="Freeform 1162">
                <a:extLst>
                  <a:ext uri="{FF2B5EF4-FFF2-40B4-BE49-F238E27FC236}">
                    <a16:creationId xmlns:a16="http://schemas.microsoft.com/office/drawing/2014/main" id="{8D532468-8EAA-4B1F-9513-A6F5AA9020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31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4" name="Freeform 1163">
                <a:extLst>
                  <a:ext uri="{FF2B5EF4-FFF2-40B4-BE49-F238E27FC236}">
                    <a16:creationId xmlns:a16="http://schemas.microsoft.com/office/drawing/2014/main" id="{30286781-F55C-40AC-9E56-67070B2EA6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0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5" name="Freeform 1164">
                <a:extLst>
                  <a:ext uri="{FF2B5EF4-FFF2-40B4-BE49-F238E27FC236}">
                    <a16:creationId xmlns:a16="http://schemas.microsoft.com/office/drawing/2014/main" id="{F4832A46-E1D8-49C3-8EFF-323225C185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6" name="Freeform 1165">
                <a:extLst>
                  <a:ext uri="{FF2B5EF4-FFF2-40B4-BE49-F238E27FC236}">
                    <a16:creationId xmlns:a16="http://schemas.microsoft.com/office/drawing/2014/main" id="{EA5FEE2E-1A70-4CA1-AECA-E5DC1C4685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7" name="Freeform 1166">
                <a:extLst>
                  <a:ext uri="{FF2B5EF4-FFF2-40B4-BE49-F238E27FC236}">
                    <a16:creationId xmlns:a16="http://schemas.microsoft.com/office/drawing/2014/main" id="{96AAD7D1-96A3-4685-AA03-0C07379AE1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8" name="Freeform 1167">
                <a:extLst>
                  <a:ext uri="{FF2B5EF4-FFF2-40B4-BE49-F238E27FC236}">
                    <a16:creationId xmlns:a16="http://schemas.microsoft.com/office/drawing/2014/main" id="{67292DD7-CFCC-4DAB-A7EA-89AC9AED27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9" name="Freeform 1168">
                <a:extLst>
                  <a:ext uri="{FF2B5EF4-FFF2-40B4-BE49-F238E27FC236}">
                    <a16:creationId xmlns:a16="http://schemas.microsoft.com/office/drawing/2014/main" id="{A4C5BFAD-EF48-48DF-A22B-557DB311E3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0" name="Freeform 1169">
                <a:extLst>
                  <a:ext uri="{FF2B5EF4-FFF2-40B4-BE49-F238E27FC236}">
                    <a16:creationId xmlns:a16="http://schemas.microsoft.com/office/drawing/2014/main" id="{50FFC0F6-BE5D-436F-87B3-F178F0AE05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1" name="Freeform 1170">
                <a:extLst>
                  <a:ext uri="{FF2B5EF4-FFF2-40B4-BE49-F238E27FC236}">
                    <a16:creationId xmlns:a16="http://schemas.microsoft.com/office/drawing/2014/main" id="{E0EC70E9-B50C-49AB-AAE7-D7FE089C04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2" name="Freeform 1171">
                <a:extLst>
                  <a:ext uri="{FF2B5EF4-FFF2-40B4-BE49-F238E27FC236}">
                    <a16:creationId xmlns:a16="http://schemas.microsoft.com/office/drawing/2014/main" id="{E6E65C11-7B23-48AD-A166-9E75E834DF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3" name="Freeform 1172">
                <a:extLst>
                  <a:ext uri="{FF2B5EF4-FFF2-40B4-BE49-F238E27FC236}">
                    <a16:creationId xmlns:a16="http://schemas.microsoft.com/office/drawing/2014/main" id="{8CF410FF-3717-4004-9738-21B8780665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4" name="Freeform 1173">
                <a:extLst>
                  <a:ext uri="{FF2B5EF4-FFF2-40B4-BE49-F238E27FC236}">
                    <a16:creationId xmlns:a16="http://schemas.microsoft.com/office/drawing/2014/main" id="{DADE924F-D387-4F33-90BD-F5B2B8ED9E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5" name="Freeform 1174">
                <a:extLst>
                  <a:ext uri="{FF2B5EF4-FFF2-40B4-BE49-F238E27FC236}">
                    <a16:creationId xmlns:a16="http://schemas.microsoft.com/office/drawing/2014/main" id="{DB5409E6-A76F-47E4-B27C-EF0B39C5F5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6" name="Freeform 1175">
                <a:extLst>
                  <a:ext uri="{FF2B5EF4-FFF2-40B4-BE49-F238E27FC236}">
                    <a16:creationId xmlns:a16="http://schemas.microsoft.com/office/drawing/2014/main" id="{4FD010F9-0830-4748-845D-92B5BFFA54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3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7" name="Freeform 1176">
                <a:extLst>
                  <a:ext uri="{FF2B5EF4-FFF2-40B4-BE49-F238E27FC236}">
                    <a16:creationId xmlns:a16="http://schemas.microsoft.com/office/drawing/2014/main" id="{F30E8C05-F3AB-41AA-8233-9DF320F877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31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8" name="Freeform 1177">
                <a:extLst>
                  <a:ext uri="{FF2B5EF4-FFF2-40B4-BE49-F238E27FC236}">
                    <a16:creationId xmlns:a16="http://schemas.microsoft.com/office/drawing/2014/main" id="{1CF1F8A2-BFC2-49F3-877E-D74E75DCDC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0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9" name="Freeform 1178">
                <a:extLst>
                  <a:ext uri="{FF2B5EF4-FFF2-40B4-BE49-F238E27FC236}">
                    <a16:creationId xmlns:a16="http://schemas.microsoft.com/office/drawing/2014/main" id="{0ECF1E06-C2CC-49E5-8AF2-BDB77640ED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0" name="Freeform 1179">
                <a:extLst>
                  <a:ext uri="{FF2B5EF4-FFF2-40B4-BE49-F238E27FC236}">
                    <a16:creationId xmlns:a16="http://schemas.microsoft.com/office/drawing/2014/main" id="{3953AC5A-EFA5-47C7-BFB1-E3F8BF360B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273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1" name="Freeform 1180">
                <a:extLst>
                  <a:ext uri="{FF2B5EF4-FFF2-40B4-BE49-F238E27FC236}">
                    <a16:creationId xmlns:a16="http://schemas.microsoft.com/office/drawing/2014/main" id="{9D6C8538-6FDC-4270-9695-099354A051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256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2" name="Freeform 1181">
                <a:extLst>
                  <a:ext uri="{FF2B5EF4-FFF2-40B4-BE49-F238E27FC236}">
                    <a16:creationId xmlns:a16="http://schemas.microsoft.com/office/drawing/2014/main" id="{40D6BD4F-C51D-4844-AB2A-E1364B9605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3" name="Freeform 1182">
                <a:extLst>
                  <a:ext uri="{FF2B5EF4-FFF2-40B4-BE49-F238E27FC236}">
                    <a16:creationId xmlns:a16="http://schemas.microsoft.com/office/drawing/2014/main" id="{79624DFF-B735-4931-87C0-DE8A0949F0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4" name="Freeform 1183">
                <a:extLst>
                  <a:ext uri="{FF2B5EF4-FFF2-40B4-BE49-F238E27FC236}">
                    <a16:creationId xmlns:a16="http://schemas.microsoft.com/office/drawing/2014/main" id="{E83FD218-3D5E-42B4-8934-5ABF873B59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5" name="Freeform 1184">
                <a:extLst>
                  <a:ext uri="{FF2B5EF4-FFF2-40B4-BE49-F238E27FC236}">
                    <a16:creationId xmlns:a16="http://schemas.microsoft.com/office/drawing/2014/main" id="{C1317CD9-6FA1-475F-9F89-EA64B8C5B9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6" name="Freeform 1185">
                <a:extLst>
                  <a:ext uri="{FF2B5EF4-FFF2-40B4-BE49-F238E27FC236}">
                    <a16:creationId xmlns:a16="http://schemas.microsoft.com/office/drawing/2014/main" id="{AAEDEF4A-A2E4-4581-9725-8C8FA77E69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7" name="Freeform 1186">
                <a:extLst>
                  <a:ext uri="{FF2B5EF4-FFF2-40B4-BE49-F238E27FC236}">
                    <a16:creationId xmlns:a16="http://schemas.microsoft.com/office/drawing/2014/main" id="{7A9FDB44-E45F-4096-9041-200344F327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8" name="Freeform 1187">
                <a:extLst>
                  <a:ext uri="{FF2B5EF4-FFF2-40B4-BE49-F238E27FC236}">
                    <a16:creationId xmlns:a16="http://schemas.microsoft.com/office/drawing/2014/main" id="{7522D4B0-6313-4BA1-B22D-3B20F30C33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9" name="Freeform 1188">
                <a:extLst>
                  <a:ext uri="{FF2B5EF4-FFF2-40B4-BE49-F238E27FC236}">
                    <a16:creationId xmlns:a16="http://schemas.microsoft.com/office/drawing/2014/main" id="{E53FCCA9-06C5-4F17-9D73-D6F4670B39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31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0" name="Freeform 1189">
                <a:extLst>
                  <a:ext uri="{FF2B5EF4-FFF2-40B4-BE49-F238E27FC236}">
                    <a16:creationId xmlns:a16="http://schemas.microsoft.com/office/drawing/2014/main" id="{FF5B95CE-1D09-4748-97B8-D91809F0F0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1" name="Freeform 1190">
                <a:extLst>
                  <a:ext uri="{FF2B5EF4-FFF2-40B4-BE49-F238E27FC236}">
                    <a16:creationId xmlns:a16="http://schemas.microsoft.com/office/drawing/2014/main" id="{2E874F98-F70D-4987-B843-3A76B136C3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117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2" name="Freeform 1191">
                <a:extLst>
                  <a:ext uri="{FF2B5EF4-FFF2-40B4-BE49-F238E27FC236}">
                    <a16:creationId xmlns:a16="http://schemas.microsoft.com/office/drawing/2014/main" id="{C2E20C87-244E-462B-9C38-90695BDFE7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0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3" name="Freeform 1192">
                <a:extLst>
                  <a:ext uri="{FF2B5EF4-FFF2-40B4-BE49-F238E27FC236}">
                    <a16:creationId xmlns:a16="http://schemas.microsoft.com/office/drawing/2014/main" id="{B99588E4-F7E7-4F02-B2FC-8FC0FE709F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4" name="Freeform 1193">
                <a:extLst>
                  <a:ext uri="{FF2B5EF4-FFF2-40B4-BE49-F238E27FC236}">
                    <a16:creationId xmlns:a16="http://schemas.microsoft.com/office/drawing/2014/main" id="{12A5EC6B-075E-4DFB-BF43-E37378C8F7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273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5" name="Freeform 1194">
                <a:extLst>
                  <a:ext uri="{FF2B5EF4-FFF2-40B4-BE49-F238E27FC236}">
                    <a16:creationId xmlns:a16="http://schemas.microsoft.com/office/drawing/2014/main" id="{CFF03E59-5A73-4BA9-AB12-D8B8255096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256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6" name="Freeform 1195">
                <a:extLst>
                  <a:ext uri="{FF2B5EF4-FFF2-40B4-BE49-F238E27FC236}">
                    <a16:creationId xmlns:a16="http://schemas.microsoft.com/office/drawing/2014/main" id="{D25195AD-6D2D-4471-8750-12C74E9CDF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24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7" name="Freeform 1196">
                <a:extLst>
                  <a:ext uri="{FF2B5EF4-FFF2-40B4-BE49-F238E27FC236}">
                    <a16:creationId xmlns:a16="http://schemas.microsoft.com/office/drawing/2014/main" id="{01B2A893-A078-4FCC-8FA6-EFC1FE7FED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225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8" name="Freeform 1197">
                <a:extLst>
                  <a:ext uri="{FF2B5EF4-FFF2-40B4-BE49-F238E27FC236}">
                    <a16:creationId xmlns:a16="http://schemas.microsoft.com/office/drawing/2014/main" id="{8E0395A3-E6B2-475F-85BF-DC39760C09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9" name="Freeform 1198">
                <a:extLst>
                  <a:ext uri="{FF2B5EF4-FFF2-40B4-BE49-F238E27FC236}">
                    <a16:creationId xmlns:a16="http://schemas.microsoft.com/office/drawing/2014/main" id="{24E19047-44F0-4C4C-98E3-E2AFBDB57C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0" name="Freeform 1199">
                <a:extLst>
                  <a:ext uri="{FF2B5EF4-FFF2-40B4-BE49-F238E27FC236}">
                    <a16:creationId xmlns:a16="http://schemas.microsoft.com/office/drawing/2014/main" id="{C5777ADA-9341-4E36-A59C-3D9251794C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1" name="Freeform 1200">
                <a:extLst>
                  <a:ext uri="{FF2B5EF4-FFF2-40B4-BE49-F238E27FC236}">
                    <a16:creationId xmlns:a16="http://schemas.microsoft.com/office/drawing/2014/main" id="{5D009DB9-828B-42E2-BA68-FB3996C23F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2" name="Freeform 1201">
                <a:extLst>
                  <a:ext uri="{FF2B5EF4-FFF2-40B4-BE49-F238E27FC236}">
                    <a16:creationId xmlns:a16="http://schemas.microsoft.com/office/drawing/2014/main" id="{490A8306-A09B-4E36-894F-BEB7B44883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3" name="Freeform 1202">
                <a:extLst>
                  <a:ext uri="{FF2B5EF4-FFF2-40B4-BE49-F238E27FC236}">
                    <a16:creationId xmlns:a16="http://schemas.microsoft.com/office/drawing/2014/main" id="{7D40D355-FC41-4679-ACD2-D195391E31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4" name="Freeform 1203">
                <a:extLst>
                  <a:ext uri="{FF2B5EF4-FFF2-40B4-BE49-F238E27FC236}">
                    <a16:creationId xmlns:a16="http://schemas.microsoft.com/office/drawing/2014/main" id="{A3646A3A-A37F-430D-A38E-CCA05C0A9D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0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5" name="Freeform 1204">
                <a:extLst>
                  <a:ext uri="{FF2B5EF4-FFF2-40B4-BE49-F238E27FC236}">
                    <a16:creationId xmlns:a16="http://schemas.microsoft.com/office/drawing/2014/main" id="{7B758079-A730-4985-BC7E-A362457E20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6" name="Freeform 1205">
                <a:extLst>
                  <a:ext uri="{FF2B5EF4-FFF2-40B4-BE49-F238E27FC236}">
                    <a16:creationId xmlns:a16="http://schemas.microsoft.com/office/drawing/2014/main" id="{D5E27614-CB4C-40EB-9A36-CC0B79D1BC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117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7" name="Freeform 1206">
                <a:extLst>
                  <a:ext uri="{FF2B5EF4-FFF2-40B4-BE49-F238E27FC236}">
                    <a16:creationId xmlns:a16="http://schemas.microsoft.com/office/drawing/2014/main" id="{9F8CB932-A1DC-44C8-AC18-D43C74787B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0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8" name="Freeform 1207">
                <a:extLst>
                  <a:ext uri="{FF2B5EF4-FFF2-40B4-BE49-F238E27FC236}">
                    <a16:creationId xmlns:a16="http://schemas.microsoft.com/office/drawing/2014/main" id="{E4D61A75-313C-461B-A354-2EF99853EE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273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9" name="Freeform 1208">
                <a:extLst>
                  <a:ext uri="{FF2B5EF4-FFF2-40B4-BE49-F238E27FC236}">
                    <a16:creationId xmlns:a16="http://schemas.microsoft.com/office/drawing/2014/main" id="{AC199E40-18E0-4CC6-8357-F2E8264CA3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256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0" name="Freeform 1209">
                <a:extLst>
                  <a:ext uri="{FF2B5EF4-FFF2-40B4-BE49-F238E27FC236}">
                    <a16:creationId xmlns:a16="http://schemas.microsoft.com/office/drawing/2014/main" id="{372F1475-9AEC-4261-86F0-CD9D51C806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24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14" name="Group 1411">
              <a:extLst>
                <a:ext uri="{FF2B5EF4-FFF2-40B4-BE49-F238E27FC236}">
                  <a16:creationId xmlns:a16="http://schemas.microsoft.com/office/drawing/2014/main" id="{8BE7C565-9C79-422F-9F79-3034323E6445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9794284" y="3242222"/>
              <a:ext cx="2389222" cy="1244519"/>
              <a:chOff x="5714" y="1649"/>
              <a:chExt cx="1125" cy="586"/>
            </a:xfrm>
          </p:grpSpPr>
          <p:sp>
            <p:nvSpPr>
              <p:cNvPr id="9971" name="Freeform 1211">
                <a:extLst>
                  <a:ext uri="{FF2B5EF4-FFF2-40B4-BE49-F238E27FC236}">
                    <a16:creationId xmlns:a16="http://schemas.microsoft.com/office/drawing/2014/main" id="{107DF13E-F98A-4533-A41D-34CB92A6D2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225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2" name="Freeform 1212">
                <a:extLst>
                  <a:ext uri="{FF2B5EF4-FFF2-40B4-BE49-F238E27FC236}">
                    <a16:creationId xmlns:a16="http://schemas.microsoft.com/office/drawing/2014/main" id="{70679B1B-228A-4A44-B0DC-693DA10118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210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3" name="Freeform 1213">
                <a:extLst>
                  <a:ext uri="{FF2B5EF4-FFF2-40B4-BE49-F238E27FC236}">
                    <a16:creationId xmlns:a16="http://schemas.microsoft.com/office/drawing/2014/main" id="{D194CC5C-483B-418B-8B7B-4D78F3A453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94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4" name="Freeform 1214">
                <a:extLst>
                  <a:ext uri="{FF2B5EF4-FFF2-40B4-BE49-F238E27FC236}">
                    <a16:creationId xmlns:a16="http://schemas.microsoft.com/office/drawing/2014/main" id="{B0D4C3EF-2612-479B-9343-D03302DDAA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5" name="Freeform 1215">
                <a:extLst>
                  <a:ext uri="{FF2B5EF4-FFF2-40B4-BE49-F238E27FC236}">
                    <a16:creationId xmlns:a16="http://schemas.microsoft.com/office/drawing/2014/main" id="{6D217342-5FF9-4228-B17F-A2A5460E67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6" name="Freeform 1216">
                <a:extLst>
                  <a:ext uri="{FF2B5EF4-FFF2-40B4-BE49-F238E27FC236}">
                    <a16:creationId xmlns:a16="http://schemas.microsoft.com/office/drawing/2014/main" id="{EBB71F82-F812-4E3A-A11C-092BA84380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7" name="Freeform 1217">
                <a:extLst>
                  <a:ext uri="{FF2B5EF4-FFF2-40B4-BE49-F238E27FC236}">
                    <a16:creationId xmlns:a16="http://schemas.microsoft.com/office/drawing/2014/main" id="{6B93DB31-C287-4222-B92D-E5A479B50F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8" name="Freeform 1218">
                <a:extLst>
                  <a:ext uri="{FF2B5EF4-FFF2-40B4-BE49-F238E27FC236}">
                    <a16:creationId xmlns:a16="http://schemas.microsoft.com/office/drawing/2014/main" id="{028D1ACF-00B2-436F-A794-38676BB964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117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9" name="Freeform 1219">
                <a:extLst>
                  <a:ext uri="{FF2B5EF4-FFF2-40B4-BE49-F238E27FC236}">
                    <a16:creationId xmlns:a16="http://schemas.microsoft.com/office/drawing/2014/main" id="{8441A74A-0913-47E3-9DE1-4CEAFFDA04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0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0" name="Freeform 1220">
                <a:extLst>
                  <a:ext uri="{FF2B5EF4-FFF2-40B4-BE49-F238E27FC236}">
                    <a16:creationId xmlns:a16="http://schemas.microsoft.com/office/drawing/2014/main" id="{F70B749F-AF4B-4A93-A195-F319D1092A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086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1" name="Freeform 1221">
                <a:extLst>
                  <a:ext uri="{FF2B5EF4-FFF2-40B4-BE49-F238E27FC236}">
                    <a16:creationId xmlns:a16="http://schemas.microsoft.com/office/drawing/2014/main" id="{5DE170D8-3BCB-462C-A671-2A77EBA0C6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163"/>
                <a:ext cx="16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2" name="Freeform 1222">
                <a:extLst>
                  <a:ext uri="{FF2B5EF4-FFF2-40B4-BE49-F238E27FC236}">
                    <a16:creationId xmlns:a16="http://schemas.microsoft.com/office/drawing/2014/main" id="{FFC5B31E-9B93-483B-96AF-63D05C001C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14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3" name="Freeform 1223">
                <a:extLst>
                  <a:ext uri="{FF2B5EF4-FFF2-40B4-BE49-F238E27FC236}">
                    <a16:creationId xmlns:a16="http://schemas.microsoft.com/office/drawing/2014/main" id="{16E70426-902C-47DA-883E-67B7C1036B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131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4" name="Freeform 1224">
                <a:extLst>
                  <a:ext uri="{FF2B5EF4-FFF2-40B4-BE49-F238E27FC236}">
                    <a16:creationId xmlns:a16="http://schemas.microsoft.com/office/drawing/2014/main" id="{64C7327B-4B82-4BBB-B5ED-8E0DAAE9D7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117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5" name="Freeform 1225">
                <a:extLst>
                  <a:ext uri="{FF2B5EF4-FFF2-40B4-BE49-F238E27FC236}">
                    <a16:creationId xmlns:a16="http://schemas.microsoft.com/office/drawing/2014/main" id="{5E7A1ACF-5373-4657-A87E-32D6CB90D9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6" name="Freeform 1226">
                <a:extLst>
                  <a:ext uri="{FF2B5EF4-FFF2-40B4-BE49-F238E27FC236}">
                    <a16:creationId xmlns:a16="http://schemas.microsoft.com/office/drawing/2014/main" id="{208DAF59-231D-4462-98C1-D4B6D32A75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7" name="Freeform 1227">
                <a:extLst>
                  <a:ext uri="{FF2B5EF4-FFF2-40B4-BE49-F238E27FC236}">
                    <a16:creationId xmlns:a16="http://schemas.microsoft.com/office/drawing/2014/main" id="{C6722A16-0D2B-4AEE-BA5E-FFB2364155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8" name="Freeform 1228">
                <a:extLst>
                  <a:ext uri="{FF2B5EF4-FFF2-40B4-BE49-F238E27FC236}">
                    <a16:creationId xmlns:a16="http://schemas.microsoft.com/office/drawing/2014/main" id="{EBA13C15-5F0A-43C4-8C7E-8FE5BDE7A6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9" name="Freeform 1229">
                <a:extLst>
                  <a:ext uri="{FF2B5EF4-FFF2-40B4-BE49-F238E27FC236}">
                    <a16:creationId xmlns:a16="http://schemas.microsoft.com/office/drawing/2014/main" id="{4DD42B41-C9AE-423C-9344-B969A35FFE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0" name="Freeform 1230">
                <a:extLst>
                  <a:ext uri="{FF2B5EF4-FFF2-40B4-BE49-F238E27FC236}">
                    <a16:creationId xmlns:a16="http://schemas.microsoft.com/office/drawing/2014/main" id="{24095885-EFE3-4D3F-8F40-DC0950561F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2023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1" name="Freeform 1231">
                <a:extLst>
                  <a:ext uri="{FF2B5EF4-FFF2-40B4-BE49-F238E27FC236}">
                    <a16:creationId xmlns:a16="http://schemas.microsoft.com/office/drawing/2014/main" id="{961E12BA-3C2F-448D-ADB6-0D0A0DC9EC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2007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2" name="Freeform 1232">
                <a:extLst>
                  <a:ext uri="{FF2B5EF4-FFF2-40B4-BE49-F238E27FC236}">
                    <a16:creationId xmlns:a16="http://schemas.microsoft.com/office/drawing/2014/main" id="{B102516C-A140-43C1-9DAC-6629E390CA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992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3" name="Freeform 1233">
                <a:extLst>
                  <a:ext uri="{FF2B5EF4-FFF2-40B4-BE49-F238E27FC236}">
                    <a16:creationId xmlns:a16="http://schemas.microsoft.com/office/drawing/2014/main" id="{FD85411B-4404-4CFC-BE53-CA71BCEC29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975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4" name="Freeform 1234">
                <a:extLst>
                  <a:ext uri="{FF2B5EF4-FFF2-40B4-BE49-F238E27FC236}">
                    <a16:creationId xmlns:a16="http://schemas.microsoft.com/office/drawing/2014/main" id="{A3FADFEA-FE1D-46B9-895A-CC716723AE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96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5" name="Freeform 1235">
                <a:extLst>
                  <a:ext uri="{FF2B5EF4-FFF2-40B4-BE49-F238E27FC236}">
                    <a16:creationId xmlns:a16="http://schemas.microsoft.com/office/drawing/2014/main" id="{E77264B6-3D62-4C4E-AD03-077E3AEA60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944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6" name="Freeform 1236">
                <a:extLst>
                  <a:ext uri="{FF2B5EF4-FFF2-40B4-BE49-F238E27FC236}">
                    <a16:creationId xmlns:a16="http://schemas.microsoft.com/office/drawing/2014/main" id="{4633EF0E-9926-4A63-8078-311AEB2F22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93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7" name="Freeform 1237">
                <a:extLst>
                  <a:ext uri="{FF2B5EF4-FFF2-40B4-BE49-F238E27FC236}">
                    <a16:creationId xmlns:a16="http://schemas.microsoft.com/office/drawing/2014/main" id="{3BA374A5-AA91-4EB9-A772-F7E6CF9B3D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91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8" name="Freeform 1238">
                <a:extLst>
                  <a:ext uri="{FF2B5EF4-FFF2-40B4-BE49-F238E27FC236}">
                    <a16:creationId xmlns:a16="http://schemas.microsoft.com/office/drawing/2014/main" id="{8D642AFF-183D-439E-AC77-33728B57A9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148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9" name="Freeform 1239">
                <a:extLst>
                  <a:ext uri="{FF2B5EF4-FFF2-40B4-BE49-F238E27FC236}">
                    <a16:creationId xmlns:a16="http://schemas.microsoft.com/office/drawing/2014/main" id="{32B6FFF3-49A7-4BE5-89D8-36DBFA66FD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131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0" name="Freeform 1240">
                <a:extLst>
                  <a:ext uri="{FF2B5EF4-FFF2-40B4-BE49-F238E27FC236}">
                    <a16:creationId xmlns:a16="http://schemas.microsoft.com/office/drawing/2014/main" id="{05699FC2-2CFB-47F3-8DBF-06F838D54B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117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1" name="Freeform 1241">
                <a:extLst>
                  <a:ext uri="{FF2B5EF4-FFF2-40B4-BE49-F238E27FC236}">
                    <a16:creationId xmlns:a16="http://schemas.microsoft.com/office/drawing/2014/main" id="{218EDAC9-6FDD-4901-9BEB-B0987CAA59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2" name="Freeform 1242">
                <a:extLst>
                  <a:ext uri="{FF2B5EF4-FFF2-40B4-BE49-F238E27FC236}">
                    <a16:creationId xmlns:a16="http://schemas.microsoft.com/office/drawing/2014/main" id="{E4502999-2938-4F40-B342-9886C5D627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3" name="Freeform 1243">
                <a:extLst>
                  <a:ext uri="{FF2B5EF4-FFF2-40B4-BE49-F238E27FC236}">
                    <a16:creationId xmlns:a16="http://schemas.microsoft.com/office/drawing/2014/main" id="{CE61C841-13C6-416B-A498-49BB3657C9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4" name="Freeform 1244">
                <a:extLst>
                  <a:ext uri="{FF2B5EF4-FFF2-40B4-BE49-F238E27FC236}">
                    <a16:creationId xmlns:a16="http://schemas.microsoft.com/office/drawing/2014/main" id="{0EDC80FD-6755-4B55-9C96-DA5ED10B1C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5" name="Freeform 1245">
                <a:extLst>
                  <a:ext uri="{FF2B5EF4-FFF2-40B4-BE49-F238E27FC236}">
                    <a16:creationId xmlns:a16="http://schemas.microsoft.com/office/drawing/2014/main" id="{A8DC0863-A08E-45E2-B9D6-376B50FE24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6" name="Freeform 1246">
                <a:extLst>
                  <a:ext uri="{FF2B5EF4-FFF2-40B4-BE49-F238E27FC236}">
                    <a16:creationId xmlns:a16="http://schemas.microsoft.com/office/drawing/2014/main" id="{5488F6E5-9F15-4611-9FC3-B15242E500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7" name="Freeform 1247">
                <a:extLst>
                  <a:ext uri="{FF2B5EF4-FFF2-40B4-BE49-F238E27FC236}">
                    <a16:creationId xmlns:a16="http://schemas.microsoft.com/office/drawing/2014/main" id="{C527C156-93C8-44CA-88D0-290C9A4B27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8" name="Freeform 1248">
                <a:extLst>
                  <a:ext uri="{FF2B5EF4-FFF2-40B4-BE49-F238E27FC236}">
                    <a16:creationId xmlns:a16="http://schemas.microsoft.com/office/drawing/2014/main" id="{B87A0365-E7F9-44D0-94CD-E090C39FF1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99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9" name="Freeform 1249">
                <a:extLst>
                  <a:ext uri="{FF2B5EF4-FFF2-40B4-BE49-F238E27FC236}">
                    <a16:creationId xmlns:a16="http://schemas.microsoft.com/office/drawing/2014/main" id="{BB35ED61-3C06-4C8D-83AE-F3A3052662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975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0" name="Freeform 1250">
                <a:extLst>
                  <a:ext uri="{FF2B5EF4-FFF2-40B4-BE49-F238E27FC236}">
                    <a16:creationId xmlns:a16="http://schemas.microsoft.com/office/drawing/2014/main" id="{C961E6B8-519D-49CE-A529-3BFE6825BD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96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1" name="Freeform 1251">
                <a:extLst>
                  <a:ext uri="{FF2B5EF4-FFF2-40B4-BE49-F238E27FC236}">
                    <a16:creationId xmlns:a16="http://schemas.microsoft.com/office/drawing/2014/main" id="{DA836733-6DB0-41E6-B5A2-34475F2B3C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944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2" name="Freeform 1252">
                <a:extLst>
                  <a:ext uri="{FF2B5EF4-FFF2-40B4-BE49-F238E27FC236}">
                    <a16:creationId xmlns:a16="http://schemas.microsoft.com/office/drawing/2014/main" id="{932E2B03-AC72-4D64-A384-9D16517443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93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3" name="Freeform 1253">
                <a:extLst>
                  <a:ext uri="{FF2B5EF4-FFF2-40B4-BE49-F238E27FC236}">
                    <a16:creationId xmlns:a16="http://schemas.microsoft.com/office/drawing/2014/main" id="{F14E4743-83F1-4BAF-8CBE-48A3FDA10E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91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4" name="Freeform 1254">
                <a:extLst>
                  <a:ext uri="{FF2B5EF4-FFF2-40B4-BE49-F238E27FC236}">
                    <a16:creationId xmlns:a16="http://schemas.microsoft.com/office/drawing/2014/main" id="{52B234E6-D6A8-4104-A2D0-07E5101AC5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9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5" name="Freeform 1255">
                <a:extLst>
                  <a:ext uri="{FF2B5EF4-FFF2-40B4-BE49-F238E27FC236}">
                    <a16:creationId xmlns:a16="http://schemas.microsoft.com/office/drawing/2014/main" id="{99CA2454-DFB9-48C1-AF50-8CA4204F82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31"/>
                <a:ext cx="16" cy="11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6" name="Freeform 1256">
                <a:extLst>
                  <a:ext uri="{FF2B5EF4-FFF2-40B4-BE49-F238E27FC236}">
                    <a16:creationId xmlns:a16="http://schemas.microsoft.com/office/drawing/2014/main" id="{E4F9CECD-1B05-4751-880B-267C9A7B37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117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7" name="Freeform 1257">
                <a:extLst>
                  <a:ext uri="{FF2B5EF4-FFF2-40B4-BE49-F238E27FC236}">
                    <a16:creationId xmlns:a16="http://schemas.microsoft.com/office/drawing/2014/main" id="{520E8CDA-5B26-4DB9-947C-B34D3C001B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8" name="Freeform 1258">
                <a:extLst>
                  <a:ext uri="{FF2B5EF4-FFF2-40B4-BE49-F238E27FC236}">
                    <a16:creationId xmlns:a16="http://schemas.microsoft.com/office/drawing/2014/main" id="{CAF80293-1C10-40B8-80A5-4E5DCAD710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9" name="Freeform 1259">
                <a:extLst>
                  <a:ext uri="{FF2B5EF4-FFF2-40B4-BE49-F238E27FC236}">
                    <a16:creationId xmlns:a16="http://schemas.microsoft.com/office/drawing/2014/main" id="{E76BB9C7-8221-4139-9FCE-E2B1CF0F16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0" name="Freeform 1260">
                <a:extLst>
                  <a:ext uri="{FF2B5EF4-FFF2-40B4-BE49-F238E27FC236}">
                    <a16:creationId xmlns:a16="http://schemas.microsoft.com/office/drawing/2014/main" id="{A5FCC4FE-F42F-4907-8C73-AE51F4FC6A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1" name="Freeform 1261">
                <a:extLst>
                  <a:ext uri="{FF2B5EF4-FFF2-40B4-BE49-F238E27FC236}">
                    <a16:creationId xmlns:a16="http://schemas.microsoft.com/office/drawing/2014/main" id="{5367E5F7-6CB3-4872-AA97-251352FA3F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2" name="Freeform 1262">
                <a:extLst>
                  <a:ext uri="{FF2B5EF4-FFF2-40B4-BE49-F238E27FC236}">
                    <a16:creationId xmlns:a16="http://schemas.microsoft.com/office/drawing/2014/main" id="{8F082307-DD88-4307-871A-209FAE0352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3" name="Freeform 1263">
                <a:extLst>
                  <a:ext uri="{FF2B5EF4-FFF2-40B4-BE49-F238E27FC236}">
                    <a16:creationId xmlns:a16="http://schemas.microsoft.com/office/drawing/2014/main" id="{D2FA5A1B-DBC9-486E-9D56-F61398A810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4" name="Freeform 1264">
                <a:extLst>
                  <a:ext uri="{FF2B5EF4-FFF2-40B4-BE49-F238E27FC236}">
                    <a16:creationId xmlns:a16="http://schemas.microsoft.com/office/drawing/2014/main" id="{B6BE3314-81CD-41F5-B159-74B1E85BAE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5" name="Freeform 1265">
                <a:extLst>
                  <a:ext uri="{FF2B5EF4-FFF2-40B4-BE49-F238E27FC236}">
                    <a16:creationId xmlns:a16="http://schemas.microsoft.com/office/drawing/2014/main" id="{7F3EE476-6836-4EF8-878A-E3E8D59DC8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6" name="Freeform 1266">
                <a:extLst>
                  <a:ext uri="{FF2B5EF4-FFF2-40B4-BE49-F238E27FC236}">
                    <a16:creationId xmlns:a16="http://schemas.microsoft.com/office/drawing/2014/main" id="{E1B4F2B5-A7C3-46AF-AD7F-E0F0CFF7BA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961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7" name="Freeform 1267">
                <a:extLst>
                  <a:ext uri="{FF2B5EF4-FFF2-40B4-BE49-F238E27FC236}">
                    <a16:creationId xmlns:a16="http://schemas.microsoft.com/office/drawing/2014/main" id="{041C9D7C-3F70-4ADB-A1D1-B3E3523E18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944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8" name="Freeform 1268">
                <a:extLst>
                  <a:ext uri="{FF2B5EF4-FFF2-40B4-BE49-F238E27FC236}">
                    <a16:creationId xmlns:a16="http://schemas.microsoft.com/office/drawing/2014/main" id="{FB7FB965-0C23-4BAF-BDAB-A81839DE52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93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9" name="Freeform 1269">
                <a:extLst>
                  <a:ext uri="{FF2B5EF4-FFF2-40B4-BE49-F238E27FC236}">
                    <a16:creationId xmlns:a16="http://schemas.microsoft.com/office/drawing/2014/main" id="{D403AFD8-D275-463D-9847-75E93E9322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91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0" name="Freeform 1270">
                <a:extLst>
                  <a:ext uri="{FF2B5EF4-FFF2-40B4-BE49-F238E27FC236}">
                    <a16:creationId xmlns:a16="http://schemas.microsoft.com/office/drawing/2014/main" id="{2328AEFE-5E38-4F8C-8A28-436A774DB1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9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1" name="Freeform 1271">
                <a:extLst>
                  <a:ext uri="{FF2B5EF4-FFF2-40B4-BE49-F238E27FC236}">
                    <a16:creationId xmlns:a16="http://schemas.microsoft.com/office/drawing/2014/main" id="{EB30158B-75F3-489A-8930-3367E9B433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88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2" name="Freeform 1272">
                <a:extLst>
                  <a:ext uri="{FF2B5EF4-FFF2-40B4-BE49-F238E27FC236}">
                    <a16:creationId xmlns:a16="http://schemas.microsoft.com/office/drawing/2014/main" id="{D61642B6-4E70-4E25-97B7-662AED879D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117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3 h 4"/>
                  <a:gd name="T6" fmla="*/ 1 w 8"/>
                  <a:gd name="T7" fmla="*/ 3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3" name="Freeform 1273">
                <a:extLst>
                  <a:ext uri="{FF2B5EF4-FFF2-40B4-BE49-F238E27FC236}">
                    <a16:creationId xmlns:a16="http://schemas.microsoft.com/office/drawing/2014/main" id="{0B0E29D7-E438-48F5-9E45-5D5B46809F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4" name="Freeform 1274">
                <a:extLst>
                  <a:ext uri="{FF2B5EF4-FFF2-40B4-BE49-F238E27FC236}">
                    <a16:creationId xmlns:a16="http://schemas.microsoft.com/office/drawing/2014/main" id="{5FC192E9-5781-4918-A6B3-055F3F0815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5" name="Freeform 1275">
                <a:extLst>
                  <a:ext uri="{FF2B5EF4-FFF2-40B4-BE49-F238E27FC236}">
                    <a16:creationId xmlns:a16="http://schemas.microsoft.com/office/drawing/2014/main" id="{8466EAE4-D242-48EF-8CB3-04F9D77CB1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6" name="Freeform 1276">
                <a:extLst>
                  <a:ext uri="{FF2B5EF4-FFF2-40B4-BE49-F238E27FC236}">
                    <a16:creationId xmlns:a16="http://schemas.microsoft.com/office/drawing/2014/main" id="{D57AB072-7F1A-470D-BA55-B809F49EE4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7" name="Freeform 1277">
                <a:extLst>
                  <a:ext uri="{FF2B5EF4-FFF2-40B4-BE49-F238E27FC236}">
                    <a16:creationId xmlns:a16="http://schemas.microsoft.com/office/drawing/2014/main" id="{4104960F-5D5A-4EEE-8093-53284FB334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8" name="Freeform 1278">
                <a:extLst>
                  <a:ext uri="{FF2B5EF4-FFF2-40B4-BE49-F238E27FC236}">
                    <a16:creationId xmlns:a16="http://schemas.microsoft.com/office/drawing/2014/main" id="{A72667DE-31C8-4F07-86C4-D5E00F6A52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9" name="Freeform 1279">
                <a:extLst>
                  <a:ext uri="{FF2B5EF4-FFF2-40B4-BE49-F238E27FC236}">
                    <a16:creationId xmlns:a16="http://schemas.microsoft.com/office/drawing/2014/main" id="{2B441879-C1C0-4A62-A7C5-5E2B4F252A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0" name="Freeform 1280">
                <a:extLst>
                  <a:ext uri="{FF2B5EF4-FFF2-40B4-BE49-F238E27FC236}">
                    <a16:creationId xmlns:a16="http://schemas.microsoft.com/office/drawing/2014/main" id="{B76BFD3D-596B-4EAB-A834-27C94EDEDE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1" name="Freeform 1281">
                <a:extLst>
                  <a:ext uri="{FF2B5EF4-FFF2-40B4-BE49-F238E27FC236}">
                    <a16:creationId xmlns:a16="http://schemas.microsoft.com/office/drawing/2014/main" id="{E7D1E4B2-689B-4557-98B5-669A868059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2" name="Freeform 1282">
                <a:extLst>
                  <a:ext uri="{FF2B5EF4-FFF2-40B4-BE49-F238E27FC236}">
                    <a16:creationId xmlns:a16="http://schemas.microsoft.com/office/drawing/2014/main" id="{C4CD6DC7-3633-4EDE-8FB2-AA851AD8EB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3" name="Freeform 1283">
                <a:extLst>
                  <a:ext uri="{FF2B5EF4-FFF2-40B4-BE49-F238E27FC236}">
                    <a16:creationId xmlns:a16="http://schemas.microsoft.com/office/drawing/2014/main" id="{322A1D85-BA20-4C91-9D7D-17CD255755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4" name="Freeform 1284">
                <a:extLst>
                  <a:ext uri="{FF2B5EF4-FFF2-40B4-BE49-F238E27FC236}">
                    <a16:creationId xmlns:a16="http://schemas.microsoft.com/office/drawing/2014/main" id="{ABB1D4AC-D6F9-40D1-B5D6-434A1EC6E8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930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5" name="Freeform 1285">
                <a:extLst>
                  <a:ext uri="{FF2B5EF4-FFF2-40B4-BE49-F238E27FC236}">
                    <a16:creationId xmlns:a16="http://schemas.microsoft.com/office/drawing/2014/main" id="{57C1AA2E-F517-49F6-B258-66C9B6CF55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91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6" name="Freeform 1286">
                <a:extLst>
                  <a:ext uri="{FF2B5EF4-FFF2-40B4-BE49-F238E27FC236}">
                    <a16:creationId xmlns:a16="http://schemas.microsoft.com/office/drawing/2014/main" id="{4243AC5F-1D58-4A59-A87A-2F75A0C9B8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9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7" name="Freeform 1287">
                <a:extLst>
                  <a:ext uri="{FF2B5EF4-FFF2-40B4-BE49-F238E27FC236}">
                    <a16:creationId xmlns:a16="http://schemas.microsoft.com/office/drawing/2014/main" id="{F33B69CA-72F3-40C1-949B-96D3740466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882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8" name="Freeform 1288">
                <a:extLst>
                  <a:ext uri="{FF2B5EF4-FFF2-40B4-BE49-F238E27FC236}">
                    <a16:creationId xmlns:a16="http://schemas.microsoft.com/office/drawing/2014/main" id="{9C98C535-505F-436A-BC4F-3FB2C7F502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67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9" name="Freeform 1289">
                <a:extLst>
                  <a:ext uri="{FF2B5EF4-FFF2-40B4-BE49-F238E27FC236}">
                    <a16:creationId xmlns:a16="http://schemas.microsoft.com/office/drawing/2014/main" id="{9D861659-572A-423A-8E85-B301E7DA7E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00"/>
                <a:ext cx="17" cy="11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0" name="Freeform 1290">
                <a:extLst>
                  <a:ext uri="{FF2B5EF4-FFF2-40B4-BE49-F238E27FC236}">
                    <a16:creationId xmlns:a16="http://schemas.microsoft.com/office/drawing/2014/main" id="{2F717662-0AB3-4A6B-9C39-FE09DCDE10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1" name="Freeform 1291">
                <a:extLst>
                  <a:ext uri="{FF2B5EF4-FFF2-40B4-BE49-F238E27FC236}">
                    <a16:creationId xmlns:a16="http://schemas.microsoft.com/office/drawing/2014/main" id="{79B1D28A-D37F-4EB9-AE4B-EFA228006F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2" name="Freeform 1292">
                <a:extLst>
                  <a:ext uri="{FF2B5EF4-FFF2-40B4-BE49-F238E27FC236}">
                    <a16:creationId xmlns:a16="http://schemas.microsoft.com/office/drawing/2014/main" id="{BBED1999-DE7A-489B-A637-40DB11DD0A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3" name="Freeform 1293">
                <a:extLst>
                  <a:ext uri="{FF2B5EF4-FFF2-40B4-BE49-F238E27FC236}">
                    <a16:creationId xmlns:a16="http://schemas.microsoft.com/office/drawing/2014/main" id="{7A30F8CE-5989-41A7-ADA8-2CC401A1E9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4" name="Freeform 1294">
                <a:extLst>
                  <a:ext uri="{FF2B5EF4-FFF2-40B4-BE49-F238E27FC236}">
                    <a16:creationId xmlns:a16="http://schemas.microsoft.com/office/drawing/2014/main" id="{2660866E-0749-44F2-8C82-7D6DC80355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5" name="Freeform 1295">
                <a:extLst>
                  <a:ext uri="{FF2B5EF4-FFF2-40B4-BE49-F238E27FC236}">
                    <a16:creationId xmlns:a16="http://schemas.microsoft.com/office/drawing/2014/main" id="{79E780A6-2831-4C8C-97A9-C00AC7C817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6" name="Freeform 1296">
                <a:extLst>
                  <a:ext uri="{FF2B5EF4-FFF2-40B4-BE49-F238E27FC236}">
                    <a16:creationId xmlns:a16="http://schemas.microsoft.com/office/drawing/2014/main" id="{56F2ED85-4B96-4E6B-9BDC-F5D5DDE889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7" name="Freeform 1297">
                <a:extLst>
                  <a:ext uri="{FF2B5EF4-FFF2-40B4-BE49-F238E27FC236}">
                    <a16:creationId xmlns:a16="http://schemas.microsoft.com/office/drawing/2014/main" id="{58907F4D-66A7-4B20-A582-463C2ABCCB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8" name="Freeform 1298">
                <a:extLst>
                  <a:ext uri="{FF2B5EF4-FFF2-40B4-BE49-F238E27FC236}">
                    <a16:creationId xmlns:a16="http://schemas.microsoft.com/office/drawing/2014/main" id="{D4FF96A6-5212-434A-8570-529C55A7F4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9" name="Freeform 1299">
                <a:extLst>
                  <a:ext uri="{FF2B5EF4-FFF2-40B4-BE49-F238E27FC236}">
                    <a16:creationId xmlns:a16="http://schemas.microsoft.com/office/drawing/2014/main" id="{F6B507F5-721C-4C99-A58E-9F44383F5C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0" name="Freeform 1300">
                <a:extLst>
                  <a:ext uri="{FF2B5EF4-FFF2-40B4-BE49-F238E27FC236}">
                    <a16:creationId xmlns:a16="http://schemas.microsoft.com/office/drawing/2014/main" id="{050A88C0-862A-4273-8A58-2EDB6F43E3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93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1" name="Freeform 1301">
                <a:extLst>
                  <a:ext uri="{FF2B5EF4-FFF2-40B4-BE49-F238E27FC236}">
                    <a16:creationId xmlns:a16="http://schemas.microsoft.com/office/drawing/2014/main" id="{856D7E71-2BAF-44E4-A7CD-B897A016CE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91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2" name="Freeform 1302">
                <a:extLst>
                  <a:ext uri="{FF2B5EF4-FFF2-40B4-BE49-F238E27FC236}">
                    <a16:creationId xmlns:a16="http://schemas.microsoft.com/office/drawing/2014/main" id="{8DDA7C1F-3B71-4CDB-8089-35BB72E88F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9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3" name="Freeform 1303">
                <a:extLst>
                  <a:ext uri="{FF2B5EF4-FFF2-40B4-BE49-F238E27FC236}">
                    <a16:creationId xmlns:a16="http://schemas.microsoft.com/office/drawing/2014/main" id="{5FC01036-90AC-4568-9AB0-D99FA161F7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882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4" name="Freeform 1304">
                <a:extLst>
                  <a:ext uri="{FF2B5EF4-FFF2-40B4-BE49-F238E27FC236}">
                    <a16:creationId xmlns:a16="http://schemas.microsoft.com/office/drawing/2014/main" id="{037F48C2-29ED-4533-B55E-B03981A548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67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5" name="Freeform 1305">
                <a:extLst>
                  <a:ext uri="{FF2B5EF4-FFF2-40B4-BE49-F238E27FC236}">
                    <a16:creationId xmlns:a16="http://schemas.microsoft.com/office/drawing/2014/main" id="{6A5DB236-57D4-474F-AE43-310F60B643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85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6" name="Freeform 1306">
                <a:extLst>
                  <a:ext uri="{FF2B5EF4-FFF2-40B4-BE49-F238E27FC236}">
                    <a16:creationId xmlns:a16="http://schemas.microsoft.com/office/drawing/2014/main" id="{79D65A60-D6B7-414B-9CC7-33D085EAA5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086"/>
                <a:ext cx="17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3 h 4"/>
                  <a:gd name="T6" fmla="*/ 1 w 8"/>
                  <a:gd name="T7" fmla="*/ 3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7" name="Freeform 1307">
                <a:extLst>
                  <a:ext uri="{FF2B5EF4-FFF2-40B4-BE49-F238E27FC236}">
                    <a16:creationId xmlns:a16="http://schemas.microsoft.com/office/drawing/2014/main" id="{00533D38-A406-4C6E-B202-9D6AA3A2CC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069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8" name="Freeform 1308">
                <a:extLst>
                  <a:ext uri="{FF2B5EF4-FFF2-40B4-BE49-F238E27FC236}">
                    <a16:creationId xmlns:a16="http://schemas.microsoft.com/office/drawing/2014/main" id="{AA09187E-F4EA-4922-8B65-B0C8A8F3CC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9" name="Freeform 1309">
                <a:extLst>
                  <a:ext uri="{FF2B5EF4-FFF2-40B4-BE49-F238E27FC236}">
                    <a16:creationId xmlns:a16="http://schemas.microsoft.com/office/drawing/2014/main" id="{943CD980-50DC-472B-87B9-4EBD96798D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0" name="Freeform 1310">
                <a:extLst>
                  <a:ext uri="{FF2B5EF4-FFF2-40B4-BE49-F238E27FC236}">
                    <a16:creationId xmlns:a16="http://schemas.microsoft.com/office/drawing/2014/main" id="{0CE0964C-0045-4E6C-B994-607D0E189A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1" name="Freeform 1311">
                <a:extLst>
                  <a:ext uri="{FF2B5EF4-FFF2-40B4-BE49-F238E27FC236}">
                    <a16:creationId xmlns:a16="http://schemas.microsoft.com/office/drawing/2014/main" id="{E1B141C5-ED43-4721-B8F7-F12A21CAA9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2" name="Freeform 1312">
                <a:extLst>
                  <a:ext uri="{FF2B5EF4-FFF2-40B4-BE49-F238E27FC236}">
                    <a16:creationId xmlns:a16="http://schemas.microsoft.com/office/drawing/2014/main" id="{D387185C-A4A6-46FA-B807-5B1C5D134A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3" name="Freeform 1313">
                <a:extLst>
                  <a:ext uri="{FF2B5EF4-FFF2-40B4-BE49-F238E27FC236}">
                    <a16:creationId xmlns:a16="http://schemas.microsoft.com/office/drawing/2014/main" id="{DE0884A9-8835-4EE5-9F9A-C8DC1402ED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4" name="Freeform 1314">
                <a:extLst>
                  <a:ext uri="{FF2B5EF4-FFF2-40B4-BE49-F238E27FC236}">
                    <a16:creationId xmlns:a16="http://schemas.microsoft.com/office/drawing/2014/main" id="{E7E3319D-075B-4278-9748-1CB592570A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5" name="Freeform 1315">
                <a:extLst>
                  <a:ext uri="{FF2B5EF4-FFF2-40B4-BE49-F238E27FC236}">
                    <a16:creationId xmlns:a16="http://schemas.microsoft.com/office/drawing/2014/main" id="{EE9FE24B-1CDB-43F8-A531-47C4D84FDC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6" name="Freeform 1316">
                <a:extLst>
                  <a:ext uri="{FF2B5EF4-FFF2-40B4-BE49-F238E27FC236}">
                    <a16:creationId xmlns:a16="http://schemas.microsoft.com/office/drawing/2014/main" id="{E9BFF17F-F5CF-470E-84BA-DCD059BDC1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93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7" name="Freeform 1317">
                <a:extLst>
                  <a:ext uri="{FF2B5EF4-FFF2-40B4-BE49-F238E27FC236}">
                    <a16:creationId xmlns:a16="http://schemas.microsoft.com/office/drawing/2014/main" id="{D42190B4-A6B8-4D79-B27E-2020B21DB8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91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8" name="Freeform 1318">
                <a:extLst>
                  <a:ext uri="{FF2B5EF4-FFF2-40B4-BE49-F238E27FC236}">
                    <a16:creationId xmlns:a16="http://schemas.microsoft.com/office/drawing/2014/main" id="{E37D35BB-56FF-427F-88BE-FD23F15FE6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9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9" name="Freeform 1319">
                <a:extLst>
                  <a:ext uri="{FF2B5EF4-FFF2-40B4-BE49-F238E27FC236}">
                    <a16:creationId xmlns:a16="http://schemas.microsoft.com/office/drawing/2014/main" id="{A5830AFB-5F3F-4A94-8AB3-9EEFE4CEC5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0" name="Freeform 1320">
                <a:extLst>
                  <a:ext uri="{FF2B5EF4-FFF2-40B4-BE49-F238E27FC236}">
                    <a16:creationId xmlns:a16="http://schemas.microsoft.com/office/drawing/2014/main" id="{51B0D604-5AA5-427E-9235-003C1140F6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67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1" name="Freeform 1321">
                <a:extLst>
                  <a:ext uri="{FF2B5EF4-FFF2-40B4-BE49-F238E27FC236}">
                    <a16:creationId xmlns:a16="http://schemas.microsoft.com/office/drawing/2014/main" id="{6628D212-6548-46D9-BE1A-84B8E60776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85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2" name="Freeform 1322">
                <a:extLst>
                  <a:ext uri="{FF2B5EF4-FFF2-40B4-BE49-F238E27FC236}">
                    <a16:creationId xmlns:a16="http://schemas.microsoft.com/office/drawing/2014/main" id="{582173E9-4AD8-4E90-8D5A-1EBE1A6CE4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3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3" name="Freeform 1323">
                <a:extLst>
                  <a:ext uri="{FF2B5EF4-FFF2-40B4-BE49-F238E27FC236}">
                    <a16:creationId xmlns:a16="http://schemas.microsoft.com/office/drawing/2014/main" id="{2F9935D9-1127-4171-9272-E8BDB94275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069"/>
                <a:ext cx="17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4" name="Freeform 1324">
                <a:extLst>
                  <a:ext uri="{FF2B5EF4-FFF2-40B4-BE49-F238E27FC236}">
                    <a16:creationId xmlns:a16="http://schemas.microsoft.com/office/drawing/2014/main" id="{69DFD7FB-522C-4F1B-921E-3DC9365275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054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5" name="Freeform 1325">
                <a:extLst>
                  <a:ext uri="{FF2B5EF4-FFF2-40B4-BE49-F238E27FC236}">
                    <a16:creationId xmlns:a16="http://schemas.microsoft.com/office/drawing/2014/main" id="{CF91A172-40D0-4269-992D-7BA9B52007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038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6" name="Freeform 1326">
                <a:extLst>
                  <a:ext uri="{FF2B5EF4-FFF2-40B4-BE49-F238E27FC236}">
                    <a16:creationId xmlns:a16="http://schemas.microsoft.com/office/drawing/2014/main" id="{FA99887E-7CA3-4CC6-A768-AC22A5F2F8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7" name="Freeform 1327">
                <a:extLst>
                  <a:ext uri="{FF2B5EF4-FFF2-40B4-BE49-F238E27FC236}">
                    <a16:creationId xmlns:a16="http://schemas.microsoft.com/office/drawing/2014/main" id="{FA5AE635-AF78-4FDF-A4CC-72F3B6AD5B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8" name="Freeform 1328">
                <a:extLst>
                  <a:ext uri="{FF2B5EF4-FFF2-40B4-BE49-F238E27FC236}">
                    <a16:creationId xmlns:a16="http://schemas.microsoft.com/office/drawing/2014/main" id="{905F1795-6176-4C52-B65B-7DB3415C1E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9" name="Freeform 1329">
                <a:extLst>
                  <a:ext uri="{FF2B5EF4-FFF2-40B4-BE49-F238E27FC236}">
                    <a16:creationId xmlns:a16="http://schemas.microsoft.com/office/drawing/2014/main" id="{749D1C5A-6A70-4C9F-93A9-5565417778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0" name="Freeform 1330">
                <a:extLst>
                  <a:ext uri="{FF2B5EF4-FFF2-40B4-BE49-F238E27FC236}">
                    <a16:creationId xmlns:a16="http://schemas.microsoft.com/office/drawing/2014/main" id="{39A71CA1-D5E0-49E1-B6A2-E0B2277612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1" name="Freeform 1331">
                <a:extLst>
                  <a:ext uri="{FF2B5EF4-FFF2-40B4-BE49-F238E27FC236}">
                    <a16:creationId xmlns:a16="http://schemas.microsoft.com/office/drawing/2014/main" id="{57736DCD-52B8-42A2-A9F4-B7204EA665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2" name="Freeform 1332">
                <a:extLst>
                  <a:ext uri="{FF2B5EF4-FFF2-40B4-BE49-F238E27FC236}">
                    <a16:creationId xmlns:a16="http://schemas.microsoft.com/office/drawing/2014/main" id="{357DB3C7-64B6-4B8E-9F9F-3F81D370E2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93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3" name="Freeform 1333">
                <a:extLst>
                  <a:ext uri="{FF2B5EF4-FFF2-40B4-BE49-F238E27FC236}">
                    <a16:creationId xmlns:a16="http://schemas.microsoft.com/office/drawing/2014/main" id="{65DC3F5E-E590-4646-BA3B-ACC49793B6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91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4" name="Freeform 1334">
                <a:extLst>
                  <a:ext uri="{FF2B5EF4-FFF2-40B4-BE49-F238E27FC236}">
                    <a16:creationId xmlns:a16="http://schemas.microsoft.com/office/drawing/2014/main" id="{014ED1B2-7AC6-484E-AA73-FA18BD258D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9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5" name="Freeform 1335">
                <a:extLst>
                  <a:ext uri="{FF2B5EF4-FFF2-40B4-BE49-F238E27FC236}">
                    <a16:creationId xmlns:a16="http://schemas.microsoft.com/office/drawing/2014/main" id="{FC955F7A-CD93-4B88-840E-191722951C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6" name="Freeform 1336">
                <a:extLst>
                  <a:ext uri="{FF2B5EF4-FFF2-40B4-BE49-F238E27FC236}">
                    <a16:creationId xmlns:a16="http://schemas.microsoft.com/office/drawing/2014/main" id="{6BF49A1D-4D68-4842-A0D0-BA9C725DED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67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7" name="Freeform 1337">
                <a:extLst>
                  <a:ext uri="{FF2B5EF4-FFF2-40B4-BE49-F238E27FC236}">
                    <a16:creationId xmlns:a16="http://schemas.microsoft.com/office/drawing/2014/main" id="{5D8AD71C-06B7-4E5E-8740-E1EAB24070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8" name="Freeform 1338">
                <a:extLst>
                  <a:ext uri="{FF2B5EF4-FFF2-40B4-BE49-F238E27FC236}">
                    <a16:creationId xmlns:a16="http://schemas.microsoft.com/office/drawing/2014/main" id="{445D3CBD-D760-4E9D-ACAB-17D1F3E5C4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3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9" name="Freeform 1339">
                <a:extLst>
                  <a:ext uri="{FF2B5EF4-FFF2-40B4-BE49-F238E27FC236}">
                    <a16:creationId xmlns:a16="http://schemas.microsoft.com/office/drawing/2014/main" id="{1502409A-0BE1-4F35-86BA-2F0A993895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82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0" name="Freeform 1340">
                <a:extLst>
                  <a:ext uri="{FF2B5EF4-FFF2-40B4-BE49-F238E27FC236}">
                    <a16:creationId xmlns:a16="http://schemas.microsoft.com/office/drawing/2014/main" id="{48978909-D83D-42FD-BE26-F9335DE796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99"/>
                <a:ext cx="17" cy="8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1" name="Freeform 1341">
                <a:extLst>
                  <a:ext uri="{FF2B5EF4-FFF2-40B4-BE49-F238E27FC236}">
                    <a16:creationId xmlns:a16="http://schemas.microsoft.com/office/drawing/2014/main" id="{B5318622-C744-42A6-9A38-7E9A423D09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88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2" name="Freeform 1342">
                <a:extLst>
                  <a:ext uri="{FF2B5EF4-FFF2-40B4-BE49-F238E27FC236}">
                    <a16:creationId xmlns:a16="http://schemas.microsoft.com/office/drawing/2014/main" id="{CEE01A99-C086-48EC-AE8F-9278BB61C8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867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3" name="Freeform 1343">
                <a:extLst>
                  <a:ext uri="{FF2B5EF4-FFF2-40B4-BE49-F238E27FC236}">
                    <a16:creationId xmlns:a16="http://schemas.microsoft.com/office/drawing/2014/main" id="{8409354F-7818-4F0F-AD4F-D42C7B2E6B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85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4" name="Freeform 1344">
                <a:extLst>
                  <a:ext uri="{FF2B5EF4-FFF2-40B4-BE49-F238E27FC236}">
                    <a16:creationId xmlns:a16="http://schemas.microsoft.com/office/drawing/2014/main" id="{DF683465-C228-4866-88A9-8BA9AD6CE8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83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5" name="Freeform 1345">
                <a:extLst>
                  <a:ext uri="{FF2B5EF4-FFF2-40B4-BE49-F238E27FC236}">
                    <a16:creationId xmlns:a16="http://schemas.microsoft.com/office/drawing/2014/main" id="{0490B7C1-B43A-42DC-BA1A-3A753ADBE5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6" name="Freeform 1346">
                <a:extLst>
                  <a:ext uri="{FF2B5EF4-FFF2-40B4-BE49-F238E27FC236}">
                    <a16:creationId xmlns:a16="http://schemas.microsoft.com/office/drawing/2014/main" id="{5EB478F4-8E13-4A68-9D4E-0BD5EB2B58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80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7" name="Freeform 1347">
                <a:extLst>
                  <a:ext uri="{FF2B5EF4-FFF2-40B4-BE49-F238E27FC236}">
                    <a16:creationId xmlns:a16="http://schemas.microsoft.com/office/drawing/2014/main" id="{F73A9102-4447-4A64-87DE-0EFA6A6442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8" name="Freeform 1348">
                <a:extLst>
                  <a:ext uri="{FF2B5EF4-FFF2-40B4-BE49-F238E27FC236}">
                    <a16:creationId xmlns:a16="http://schemas.microsoft.com/office/drawing/2014/main" id="{EAE97315-DB4F-412D-BD61-BB472B0008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9" name="Freeform 1349">
                <a:extLst>
                  <a:ext uri="{FF2B5EF4-FFF2-40B4-BE49-F238E27FC236}">
                    <a16:creationId xmlns:a16="http://schemas.microsoft.com/office/drawing/2014/main" id="{203CC4BE-F9ED-40D3-B5D2-4140DFCB31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882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0" name="Freeform 1350">
                <a:extLst>
                  <a:ext uri="{FF2B5EF4-FFF2-40B4-BE49-F238E27FC236}">
                    <a16:creationId xmlns:a16="http://schemas.microsoft.com/office/drawing/2014/main" id="{729F8FD3-8AA2-4988-ADDE-65844353D7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67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1" name="Freeform 1351">
                <a:extLst>
                  <a:ext uri="{FF2B5EF4-FFF2-40B4-BE49-F238E27FC236}">
                    <a16:creationId xmlns:a16="http://schemas.microsoft.com/office/drawing/2014/main" id="{B51D2807-B7AF-431B-B72E-C2B4543345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85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2" name="Freeform 1352">
                <a:extLst>
                  <a:ext uri="{FF2B5EF4-FFF2-40B4-BE49-F238E27FC236}">
                    <a16:creationId xmlns:a16="http://schemas.microsoft.com/office/drawing/2014/main" id="{0E142261-12AB-44DA-95CA-0BF473767F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83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3" name="Freeform 1353">
                <a:extLst>
                  <a:ext uri="{FF2B5EF4-FFF2-40B4-BE49-F238E27FC236}">
                    <a16:creationId xmlns:a16="http://schemas.microsoft.com/office/drawing/2014/main" id="{7D9E52B1-F904-4439-9AB1-0A173644FD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4" name="Freeform 1354">
                <a:extLst>
                  <a:ext uri="{FF2B5EF4-FFF2-40B4-BE49-F238E27FC236}">
                    <a16:creationId xmlns:a16="http://schemas.microsoft.com/office/drawing/2014/main" id="{FAE15C1E-0AB9-41AB-896F-986ABBD241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80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5" name="Freeform 1355">
                <a:extLst>
                  <a:ext uri="{FF2B5EF4-FFF2-40B4-BE49-F238E27FC236}">
                    <a16:creationId xmlns:a16="http://schemas.microsoft.com/office/drawing/2014/main" id="{1B5B5B53-C49F-4BB1-B361-830A749948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6" name="Freeform 1356">
                <a:extLst>
                  <a:ext uri="{FF2B5EF4-FFF2-40B4-BE49-F238E27FC236}">
                    <a16:creationId xmlns:a16="http://schemas.microsoft.com/office/drawing/2014/main" id="{8CE6D74B-F08B-48BE-B083-6B68208F02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7" name="Freeform 1357">
                <a:extLst>
                  <a:ext uri="{FF2B5EF4-FFF2-40B4-BE49-F238E27FC236}">
                    <a16:creationId xmlns:a16="http://schemas.microsoft.com/office/drawing/2014/main" id="{DD1FD8C1-8437-4CBB-8BCB-1957CE6E9A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8" name="Freeform 1358">
                <a:extLst>
                  <a:ext uri="{FF2B5EF4-FFF2-40B4-BE49-F238E27FC236}">
                    <a16:creationId xmlns:a16="http://schemas.microsoft.com/office/drawing/2014/main" id="{73B0D4AC-0F3B-464F-BB62-0799A5959D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9" name="Freeform 1359">
                <a:extLst>
                  <a:ext uri="{FF2B5EF4-FFF2-40B4-BE49-F238E27FC236}">
                    <a16:creationId xmlns:a16="http://schemas.microsoft.com/office/drawing/2014/main" id="{B9695ECF-0463-4E11-9F20-580BBC82FA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67"/>
                <a:ext cx="17" cy="9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0" name="Freeform 1360">
                <a:extLst>
                  <a:ext uri="{FF2B5EF4-FFF2-40B4-BE49-F238E27FC236}">
                    <a16:creationId xmlns:a16="http://schemas.microsoft.com/office/drawing/2014/main" id="{87595EFB-52BE-41A5-8796-002D554B5A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85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1" name="Freeform 1361">
                <a:extLst>
                  <a:ext uri="{FF2B5EF4-FFF2-40B4-BE49-F238E27FC236}">
                    <a16:creationId xmlns:a16="http://schemas.microsoft.com/office/drawing/2014/main" id="{5461024B-4490-401C-BACC-B48D3F13C4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3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2" name="Freeform 1362">
                <a:extLst>
                  <a:ext uri="{FF2B5EF4-FFF2-40B4-BE49-F238E27FC236}">
                    <a16:creationId xmlns:a16="http://schemas.microsoft.com/office/drawing/2014/main" id="{4120A43F-D24C-4DD1-A3A6-F50DA8955C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3" name="Freeform 1363">
                <a:extLst>
                  <a:ext uri="{FF2B5EF4-FFF2-40B4-BE49-F238E27FC236}">
                    <a16:creationId xmlns:a16="http://schemas.microsoft.com/office/drawing/2014/main" id="{93F4EB45-31FC-4197-880C-7019AFC62B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80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4" name="Freeform 1364">
                <a:extLst>
                  <a:ext uri="{FF2B5EF4-FFF2-40B4-BE49-F238E27FC236}">
                    <a16:creationId xmlns:a16="http://schemas.microsoft.com/office/drawing/2014/main" id="{86BF2899-0560-450A-8177-8E7D7B6AAF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5" name="Freeform 1365">
                <a:extLst>
                  <a:ext uri="{FF2B5EF4-FFF2-40B4-BE49-F238E27FC236}">
                    <a16:creationId xmlns:a16="http://schemas.microsoft.com/office/drawing/2014/main" id="{120E801E-E8E8-4A19-924E-7CC452EA49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6" name="Freeform 1366">
                <a:extLst>
                  <a:ext uri="{FF2B5EF4-FFF2-40B4-BE49-F238E27FC236}">
                    <a16:creationId xmlns:a16="http://schemas.microsoft.com/office/drawing/2014/main" id="{974DC480-D2E5-4B08-BC14-DFA1202C69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7" name="Freeform 1367">
                <a:extLst>
                  <a:ext uri="{FF2B5EF4-FFF2-40B4-BE49-F238E27FC236}">
                    <a16:creationId xmlns:a16="http://schemas.microsoft.com/office/drawing/2014/main" id="{3199EE88-829F-4EB0-A6AF-8E5F6AB765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8" name="Freeform 1368">
                <a:extLst>
                  <a:ext uri="{FF2B5EF4-FFF2-40B4-BE49-F238E27FC236}">
                    <a16:creationId xmlns:a16="http://schemas.microsoft.com/office/drawing/2014/main" id="{3F17B8F3-1B40-4E71-A7E2-58532D9ACA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9" name="Freeform 1369">
                <a:extLst>
                  <a:ext uri="{FF2B5EF4-FFF2-40B4-BE49-F238E27FC236}">
                    <a16:creationId xmlns:a16="http://schemas.microsoft.com/office/drawing/2014/main" id="{3F7BF183-3E5F-4D37-9D8C-13C72663FE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0" name="Freeform 1370">
                <a:extLst>
                  <a:ext uri="{FF2B5EF4-FFF2-40B4-BE49-F238E27FC236}">
                    <a16:creationId xmlns:a16="http://schemas.microsoft.com/office/drawing/2014/main" id="{7A3BA046-406A-49D4-890F-7D9A069C2A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851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1" name="Freeform 1371">
                <a:extLst>
                  <a:ext uri="{FF2B5EF4-FFF2-40B4-BE49-F238E27FC236}">
                    <a16:creationId xmlns:a16="http://schemas.microsoft.com/office/drawing/2014/main" id="{749A4EE9-6D7F-4DF8-A249-F958931524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36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2" name="Freeform 1372">
                <a:extLst>
                  <a:ext uri="{FF2B5EF4-FFF2-40B4-BE49-F238E27FC236}">
                    <a16:creationId xmlns:a16="http://schemas.microsoft.com/office/drawing/2014/main" id="{40BADAE9-989C-4571-94B8-F266E0D392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3" name="Freeform 1373">
                <a:extLst>
                  <a:ext uri="{FF2B5EF4-FFF2-40B4-BE49-F238E27FC236}">
                    <a16:creationId xmlns:a16="http://schemas.microsoft.com/office/drawing/2014/main" id="{E57F17A5-89A9-4E2B-A4AA-D8EC182630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0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4" name="Freeform 1374">
                <a:extLst>
                  <a:ext uri="{FF2B5EF4-FFF2-40B4-BE49-F238E27FC236}">
                    <a16:creationId xmlns:a16="http://schemas.microsoft.com/office/drawing/2014/main" id="{25A5CDB5-B6E6-4ADD-98A9-BAE418994F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5" name="Freeform 1375">
                <a:extLst>
                  <a:ext uri="{FF2B5EF4-FFF2-40B4-BE49-F238E27FC236}">
                    <a16:creationId xmlns:a16="http://schemas.microsoft.com/office/drawing/2014/main" id="{5ADE7ADB-C21E-4180-ACC1-001F2E668D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6" name="Freeform 1376">
                <a:extLst>
                  <a:ext uri="{FF2B5EF4-FFF2-40B4-BE49-F238E27FC236}">
                    <a16:creationId xmlns:a16="http://schemas.microsoft.com/office/drawing/2014/main" id="{33D70CBA-9675-4465-A6B6-9ACD7F1D70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7" name="Freeform 1377">
                <a:extLst>
                  <a:ext uri="{FF2B5EF4-FFF2-40B4-BE49-F238E27FC236}">
                    <a16:creationId xmlns:a16="http://schemas.microsoft.com/office/drawing/2014/main" id="{A37BB618-B27F-4133-941E-981716447C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8" name="Freeform 1378">
                <a:extLst>
                  <a:ext uri="{FF2B5EF4-FFF2-40B4-BE49-F238E27FC236}">
                    <a16:creationId xmlns:a16="http://schemas.microsoft.com/office/drawing/2014/main" id="{2C827575-2C53-427F-BB8F-AE52AF59D3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9" name="Freeform 1379">
                <a:extLst>
                  <a:ext uri="{FF2B5EF4-FFF2-40B4-BE49-F238E27FC236}">
                    <a16:creationId xmlns:a16="http://schemas.microsoft.com/office/drawing/2014/main" id="{2B8E4DCE-DD79-43D4-B8DC-B0A2BE1319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0" name="Freeform 1380">
                <a:extLst>
                  <a:ext uri="{FF2B5EF4-FFF2-40B4-BE49-F238E27FC236}">
                    <a16:creationId xmlns:a16="http://schemas.microsoft.com/office/drawing/2014/main" id="{FAACFE10-8AE8-4BE4-8B61-638B4CAA0D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69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1" name="Freeform 1381">
                <a:extLst>
                  <a:ext uri="{FF2B5EF4-FFF2-40B4-BE49-F238E27FC236}">
                    <a16:creationId xmlns:a16="http://schemas.microsoft.com/office/drawing/2014/main" id="{817BC763-FFB2-44DC-B1B8-D43F1AD988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68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2" name="Freeform 1382">
                <a:extLst>
                  <a:ext uri="{FF2B5EF4-FFF2-40B4-BE49-F238E27FC236}">
                    <a16:creationId xmlns:a16="http://schemas.microsoft.com/office/drawing/2014/main" id="{1C6481BD-5206-46BB-A7AF-DB9838B650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36"/>
                <a:ext cx="17" cy="9"/>
              </a:xfrm>
              <a:custGeom>
                <a:avLst/>
                <a:gdLst>
                  <a:gd name="T0" fmla="*/ 2 w 8"/>
                  <a:gd name="T1" fmla="*/ 0 h 4"/>
                  <a:gd name="T2" fmla="*/ 6 w 8"/>
                  <a:gd name="T3" fmla="*/ 0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3" name="Freeform 1383">
                <a:extLst>
                  <a:ext uri="{FF2B5EF4-FFF2-40B4-BE49-F238E27FC236}">
                    <a16:creationId xmlns:a16="http://schemas.microsoft.com/office/drawing/2014/main" id="{4B42191A-585A-41A1-88E8-B8D2486426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4" name="Freeform 1384">
                <a:extLst>
                  <a:ext uri="{FF2B5EF4-FFF2-40B4-BE49-F238E27FC236}">
                    <a16:creationId xmlns:a16="http://schemas.microsoft.com/office/drawing/2014/main" id="{7BE0C3DB-961B-49C2-9BB6-52DBF3307A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0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5" name="Freeform 1385">
                <a:extLst>
                  <a:ext uri="{FF2B5EF4-FFF2-40B4-BE49-F238E27FC236}">
                    <a16:creationId xmlns:a16="http://schemas.microsoft.com/office/drawing/2014/main" id="{14C194E3-C957-4B07-8004-BB95D75A14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6" name="Freeform 1386">
                <a:extLst>
                  <a:ext uri="{FF2B5EF4-FFF2-40B4-BE49-F238E27FC236}">
                    <a16:creationId xmlns:a16="http://schemas.microsoft.com/office/drawing/2014/main" id="{10CC7A59-DC72-48C8-A307-367C0F3AE8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7" name="Freeform 1387">
                <a:extLst>
                  <a:ext uri="{FF2B5EF4-FFF2-40B4-BE49-F238E27FC236}">
                    <a16:creationId xmlns:a16="http://schemas.microsoft.com/office/drawing/2014/main" id="{C8203B04-895B-41D1-9B95-67D2DBAC0B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8" name="Freeform 1388">
                <a:extLst>
                  <a:ext uri="{FF2B5EF4-FFF2-40B4-BE49-F238E27FC236}">
                    <a16:creationId xmlns:a16="http://schemas.microsoft.com/office/drawing/2014/main" id="{4B62640E-C426-40D1-A9CD-367EF7939D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9" name="Freeform 1389">
                <a:extLst>
                  <a:ext uri="{FF2B5EF4-FFF2-40B4-BE49-F238E27FC236}">
                    <a16:creationId xmlns:a16="http://schemas.microsoft.com/office/drawing/2014/main" id="{52D584B9-8B1B-4C57-8BD5-D580C3A5E2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0" name="Freeform 1390">
                <a:extLst>
                  <a:ext uri="{FF2B5EF4-FFF2-40B4-BE49-F238E27FC236}">
                    <a16:creationId xmlns:a16="http://schemas.microsoft.com/office/drawing/2014/main" id="{CD2D32DB-E269-490A-8D74-2ED4A6DFC1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1" name="Freeform 1391">
                <a:extLst>
                  <a:ext uri="{FF2B5EF4-FFF2-40B4-BE49-F238E27FC236}">
                    <a16:creationId xmlns:a16="http://schemas.microsoft.com/office/drawing/2014/main" id="{9D03EF63-F188-4886-AE5B-98B2C3E418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69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2" name="Freeform 1392">
                <a:extLst>
                  <a:ext uri="{FF2B5EF4-FFF2-40B4-BE49-F238E27FC236}">
                    <a16:creationId xmlns:a16="http://schemas.microsoft.com/office/drawing/2014/main" id="{4088D66B-2C25-4C55-9FE3-2BE93C5A43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68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3" name="Freeform 1393">
                <a:extLst>
                  <a:ext uri="{FF2B5EF4-FFF2-40B4-BE49-F238E27FC236}">
                    <a16:creationId xmlns:a16="http://schemas.microsoft.com/office/drawing/2014/main" id="{365EDE2B-A646-421E-AF6D-1AD6B2AA4D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66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4" name="Freeform 1394">
                <a:extLst>
                  <a:ext uri="{FF2B5EF4-FFF2-40B4-BE49-F238E27FC236}">
                    <a16:creationId xmlns:a16="http://schemas.microsoft.com/office/drawing/2014/main" id="{98162454-87EE-44A7-8D86-62BAE0BF9B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820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5" name="Freeform 1395">
                <a:extLst>
                  <a:ext uri="{FF2B5EF4-FFF2-40B4-BE49-F238E27FC236}">
                    <a16:creationId xmlns:a16="http://schemas.microsoft.com/office/drawing/2014/main" id="{777C37B3-7C7F-4F99-BFCC-D9436D612D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0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6" name="Freeform 1396">
                <a:extLst>
                  <a:ext uri="{FF2B5EF4-FFF2-40B4-BE49-F238E27FC236}">
                    <a16:creationId xmlns:a16="http://schemas.microsoft.com/office/drawing/2014/main" id="{62AED995-F61F-41F8-BFE5-C53151B6B7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7" name="Freeform 1397">
                <a:extLst>
                  <a:ext uri="{FF2B5EF4-FFF2-40B4-BE49-F238E27FC236}">
                    <a16:creationId xmlns:a16="http://schemas.microsoft.com/office/drawing/2014/main" id="{67AFBBC5-A8CD-4F89-B224-DA5B522AAC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8" name="Freeform 1398">
                <a:extLst>
                  <a:ext uri="{FF2B5EF4-FFF2-40B4-BE49-F238E27FC236}">
                    <a16:creationId xmlns:a16="http://schemas.microsoft.com/office/drawing/2014/main" id="{36E47CCA-FC52-4A20-8072-9D732A8378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9" name="Freeform 1399">
                <a:extLst>
                  <a:ext uri="{FF2B5EF4-FFF2-40B4-BE49-F238E27FC236}">
                    <a16:creationId xmlns:a16="http://schemas.microsoft.com/office/drawing/2014/main" id="{53528711-3538-4FA4-918D-DE6B67E100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0" name="Freeform 1400">
                <a:extLst>
                  <a:ext uri="{FF2B5EF4-FFF2-40B4-BE49-F238E27FC236}">
                    <a16:creationId xmlns:a16="http://schemas.microsoft.com/office/drawing/2014/main" id="{D2E16F8C-501A-49D3-9F95-1077888629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1" name="Freeform 1401">
                <a:extLst>
                  <a:ext uri="{FF2B5EF4-FFF2-40B4-BE49-F238E27FC236}">
                    <a16:creationId xmlns:a16="http://schemas.microsoft.com/office/drawing/2014/main" id="{BD9BF5F7-A0E5-4352-8748-19F639BC47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2" name="Freeform 1402">
                <a:extLst>
                  <a:ext uri="{FF2B5EF4-FFF2-40B4-BE49-F238E27FC236}">
                    <a16:creationId xmlns:a16="http://schemas.microsoft.com/office/drawing/2014/main" id="{F5A6766D-4D9D-4B73-A6FA-3AB5293966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69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3" name="Freeform 1403">
                <a:extLst>
                  <a:ext uri="{FF2B5EF4-FFF2-40B4-BE49-F238E27FC236}">
                    <a16:creationId xmlns:a16="http://schemas.microsoft.com/office/drawing/2014/main" id="{54DB727F-AD59-4B13-94A6-00565722D3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68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4" name="Freeform 1404">
                <a:extLst>
                  <a:ext uri="{FF2B5EF4-FFF2-40B4-BE49-F238E27FC236}">
                    <a16:creationId xmlns:a16="http://schemas.microsoft.com/office/drawing/2014/main" id="{A8BFD850-290E-43DC-BB4E-B4CED42D77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66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5" name="Freeform 1405">
                <a:extLst>
                  <a:ext uri="{FF2B5EF4-FFF2-40B4-BE49-F238E27FC236}">
                    <a16:creationId xmlns:a16="http://schemas.microsoft.com/office/drawing/2014/main" id="{E15993D1-DBA8-4F44-856F-2D2E88EA86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649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6" name="Freeform 1406">
                <a:extLst>
                  <a:ext uri="{FF2B5EF4-FFF2-40B4-BE49-F238E27FC236}">
                    <a16:creationId xmlns:a16="http://schemas.microsoft.com/office/drawing/2014/main" id="{9377E1FC-B78E-4194-8642-D7A1FF7F21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05"/>
                <a:ext cx="17" cy="8"/>
              </a:xfrm>
              <a:custGeom>
                <a:avLst/>
                <a:gdLst>
                  <a:gd name="T0" fmla="*/ 2 w 8"/>
                  <a:gd name="T1" fmla="*/ 0 h 4"/>
                  <a:gd name="T2" fmla="*/ 6 w 8"/>
                  <a:gd name="T3" fmla="*/ 0 h 4"/>
                  <a:gd name="T4" fmla="*/ 6 w 8"/>
                  <a:gd name="T5" fmla="*/ 3 h 4"/>
                  <a:gd name="T6" fmla="*/ 2 w 8"/>
                  <a:gd name="T7" fmla="*/ 3 h 4"/>
                  <a:gd name="T8" fmla="*/ 2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7" name="Freeform 1407">
                <a:extLst>
                  <a:ext uri="{FF2B5EF4-FFF2-40B4-BE49-F238E27FC236}">
                    <a16:creationId xmlns:a16="http://schemas.microsoft.com/office/drawing/2014/main" id="{929727B4-31F0-49B9-8D5D-856DB7DDD1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8" name="Freeform 1408">
                <a:extLst>
                  <a:ext uri="{FF2B5EF4-FFF2-40B4-BE49-F238E27FC236}">
                    <a16:creationId xmlns:a16="http://schemas.microsoft.com/office/drawing/2014/main" id="{10D9CCC5-CF2B-4A6D-9D23-07E4D46D5D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9" name="Freeform 1409">
                <a:extLst>
                  <a:ext uri="{FF2B5EF4-FFF2-40B4-BE49-F238E27FC236}">
                    <a16:creationId xmlns:a16="http://schemas.microsoft.com/office/drawing/2014/main" id="{EEA2B3AE-3E31-4BA7-A201-CB653DB483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0" name="Freeform 1410">
                <a:extLst>
                  <a:ext uri="{FF2B5EF4-FFF2-40B4-BE49-F238E27FC236}">
                    <a16:creationId xmlns:a16="http://schemas.microsoft.com/office/drawing/2014/main" id="{A0BB7C46-1538-42E9-B879-EA9EBA0442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5" name="Freeform 1412">
              <a:extLst>
                <a:ext uri="{FF2B5EF4-FFF2-40B4-BE49-F238E27FC236}">
                  <a16:creationId xmlns:a16="http://schemas.microsoft.com/office/drawing/2014/main" id="{ED33AFE0-E085-4334-AA7E-E65B422216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1329" y="340575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1413">
              <a:extLst>
                <a:ext uri="{FF2B5EF4-FFF2-40B4-BE49-F238E27FC236}">
                  <a16:creationId xmlns:a16="http://schemas.microsoft.com/office/drawing/2014/main" id="{CB3341D9-B3D5-4964-99AE-E66C7D6B1D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88671" y="3376019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1414">
              <a:extLst>
                <a:ext uri="{FF2B5EF4-FFF2-40B4-BE49-F238E27FC236}">
                  <a16:creationId xmlns:a16="http://schemas.microsoft.com/office/drawing/2014/main" id="{39FF7D33-59E1-4B93-A4AC-0963B9B5D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6012" y="333991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1415">
              <a:extLst>
                <a:ext uri="{FF2B5EF4-FFF2-40B4-BE49-F238E27FC236}">
                  <a16:creationId xmlns:a16="http://schemas.microsoft.com/office/drawing/2014/main" id="{118AC988-EB1B-498D-B155-26879BA495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03354" y="3308059"/>
              <a:ext cx="36104" cy="19114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1416">
              <a:extLst>
                <a:ext uri="{FF2B5EF4-FFF2-40B4-BE49-F238E27FC236}">
                  <a16:creationId xmlns:a16="http://schemas.microsoft.com/office/drawing/2014/main" id="{FB25FA80-72A0-43E4-8EBD-71DF5E985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60695" y="3274079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1417">
              <a:extLst>
                <a:ext uri="{FF2B5EF4-FFF2-40B4-BE49-F238E27FC236}">
                  <a16:creationId xmlns:a16="http://schemas.microsoft.com/office/drawing/2014/main" id="{D9C15CBC-6B21-4EB0-82FB-54893F6C7E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18037" y="324222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418">
              <a:extLst>
                <a:ext uri="{FF2B5EF4-FFF2-40B4-BE49-F238E27FC236}">
                  <a16:creationId xmlns:a16="http://schemas.microsoft.com/office/drawing/2014/main" id="{EAAACD39-F580-48B7-ADB2-4A1C7D3C3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75377" y="3208242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1419">
              <a:extLst>
                <a:ext uri="{FF2B5EF4-FFF2-40B4-BE49-F238E27FC236}">
                  <a16:creationId xmlns:a16="http://schemas.microsoft.com/office/drawing/2014/main" id="{3D12F6F2-DE06-421B-A354-AC5A027C24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4004" y="1776832"/>
              <a:ext cx="6148265" cy="3699577"/>
            </a:xfrm>
            <a:custGeom>
              <a:avLst/>
              <a:gdLst>
                <a:gd name="T0" fmla="*/ 1355 w 1392"/>
                <a:gd name="T1" fmla="*/ 235 h 838"/>
                <a:gd name="T2" fmla="*/ 1355 w 1392"/>
                <a:gd name="T3" fmla="*/ 235 h 838"/>
                <a:gd name="T4" fmla="*/ 1354 w 1392"/>
                <a:gd name="T5" fmla="*/ 234 h 838"/>
                <a:gd name="T6" fmla="*/ 971 w 1392"/>
                <a:gd name="T7" fmla="*/ 12 h 838"/>
                <a:gd name="T8" fmla="*/ 895 w 1392"/>
                <a:gd name="T9" fmla="*/ 14 h 838"/>
                <a:gd name="T10" fmla="*/ 34 w 1392"/>
                <a:gd name="T11" fmla="*/ 510 h 838"/>
                <a:gd name="T12" fmla="*/ 30 w 1392"/>
                <a:gd name="T13" fmla="*/ 513 h 838"/>
                <a:gd name="T14" fmla="*/ 38 w 1392"/>
                <a:gd name="T15" fmla="*/ 604 h 838"/>
                <a:gd name="T16" fmla="*/ 39 w 1392"/>
                <a:gd name="T17" fmla="*/ 604 h 838"/>
                <a:gd name="T18" fmla="*/ 40 w 1392"/>
                <a:gd name="T19" fmla="*/ 605 h 838"/>
                <a:gd name="T20" fmla="*/ 422 w 1392"/>
                <a:gd name="T21" fmla="*/ 827 h 838"/>
                <a:gd name="T22" fmla="*/ 497 w 1392"/>
                <a:gd name="T23" fmla="*/ 824 h 838"/>
                <a:gd name="T24" fmla="*/ 1355 w 1392"/>
                <a:gd name="T25" fmla="*/ 330 h 838"/>
                <a:gd name="T26" fmla="*/ 1359 w 1392"/>
                <a:gd name="T27" fmla="*/ 327 h 838"/>
                <a:gd name="T28" fmla="*/ 1355 w 1392"/>
                <a:gd name="T29" fmla="*/ 23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2" h="838">
                  <a:moveTo>
                    <a:pt x="1355" y="235"/>
                  </a:moveTo>
                  <a:cubicBezTo>
                    <a:pt x="1355" y="235"/>
                    <a:pt x="1355" y="235"/>
                    <a:pt x="1355" y="235"/>
                  </a:cubicBezTo>
                  <a:cubicBezTo>
                    <a:pt x="1354" y="235"/>
                    <a:pt x="1354" y="234"/>
                    <a:pt x="1354" y="234"/>
                  </a:cubicBezTo>
                  <a:cubicBezTo>
                    <a:pt x="971" y="12"/>
                    <a:pt x="971" y="12"/>
                    <a:pt x="971" y="12"/>
                  </a:cubicBezTo>
                  <a:cubicBezTo>
                    <a:pt x="947" y="0"/>
                    <a:pt x="918" y="1"/>
                    <a:pt x="895" y="14"/>
                  </a:cubicBezTo>
                  <a:cubicBezTo>
                    <a:pt x="34" y="510"/>
                    <a:pt x="34" y="510"/>
                    <a:pt x="34" y="510"/>
                  </a:cubicBezTo>
                  <a:cubicBezTo>
                    <a:pt x="32" y="511"/>
                    <a:pt x="31" y="512"/>
                    <a:pt x="30" y="513"/>
                  </a:cubicBezTo>
                  <a:cubicBezTo>
                    <a:pt x="0" y="536"/>
                    <a:pt x="4" y="584"/>
                    <a:pt x="38" y="604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4"/>
                    <a:pt x="39" y="605"/>
                    <a:pt x="40" y="605"/>
                  </a:cubicBezTo>
                  <a:cubicBezTo>
                    <a:pt x="422" y="827"/>
                    <a:pt x="422" y="827"/>
                    <a:pt x="422" y="827"/>
                  </a:cubicBezTo>
                  <a:cubicBezTo>
                    <a:pt x="446" y="838"/>
                    <a:pt x="474" y="838"/>
                    <a:pt x="497" y="824"/>
                  </a:cubicBezTo>
                  <a:cubicBezTo>
                    <a:pt x="1355" y="330"/>
                    <a:pt x="1355" y="330"/>
                    <a:pt x="1355" y="330"/>
                  </a:cubicBezTo>
                  <a:cubicBezTo>
                    <a:pt x="1356" y="329"/>
                    <a:pt x="1358" y="328"/>
                    <a:pt x="1359" y="327"/>
                  </a:cubicBezTo>
                  <a:cubicBezTo>
                    <a:pt x="1392" y="305"/>
                    <a:pt x="1390" y="255"/>
                    <a:pt x="1355" y="23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420">
              <a:extLst>
                <a:ext uri="{FF2B5EF4-FFF2-40B4-BE49-F238E27FC236}">
                  <a16:creationId xmlns:a16="http://schemas.microsoft.com/office/drawing/2014/main" id="{77A2398A-F9E5-44F4-8D75-04217DB31F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45860" y="1768337"/>
              <a:ext cx="6084552" cy="3703825"/>
            </a:xfrm>
            <a:custGeom>
              <a:avLst/>
              <a:gdLst>
                <a:gd name="T0" fmla="*/ 1349 w 1378"/>
                <a:gd name="T1" fmla="*/ 235 h 839"/>
                <a:gd name="T2" fmla="*/ 1348 w 1378"/>
                <a:gd name="T3" fmla="*/ 237 h 839"/>
                <a:gd name="T4" fmla="*/ 1348 w 1378"/>
                <a:gd name="T5" fmla="*/ 237 h 839"/>
                <a:gd name="T6" fmla="*/ 1349 w 1378"/>
                <a:gd name="T7" fmla="*/ 235 h 839"/>
                <a:gd name="T8" fmla="*/ 1349 w 1378"/>
                <a:gd name="T9" fmla="*/ 235 h 839"/>
                <a:gd name="T10" fmla="*/ 1348 w 1378"/>
                <a:gd name="T11" fmla="*/ 234 h 839"/>
                <a:gd name="T12" fmla="*/ 965 w 1378"/>
                <a:gd name="T13" fmla="*/ 12 h 839"/>
                <a:gd name="T14" fmla="*/ 887 w 1378"/>
                <a:gd name="T15" fmla="*/ 14 h 839"/>
                <a:gd name="T16" fmla="*/ 26 w 1378"/>
                <a:gd name="T17" fmla="*/ 510 h 839"/>
                <a:gd name="T18" fmla="*/ 22 w 1378"/>
                <a:gd name="T19" fmla="*/ 514 h 839"/>
                <a:gd name="T20" fmla="*/ 1 w 1378"/>
                <a:gd name="T21" fmla="*/ 561 h 839"/>
                <a:gd name="T22" fmla="*/ 30 w 1378"/>
                <a:gd name="T23" fmla="*/ 608 h 839"/>
                <a:gd name="T24" fmla="*/ 31 w 1378"/>
                <a:gd name="T25" fmla="*/ 608 h 839"/>
                <a:gd name="T26" fmla="*/ 32 w 1378"/>
                <a:gd name="T27" fmla="*/ 609 h 839"/>
                <a:gd name="T28" fmla="*/ 414 w 1378"/>
                <a:gd name="T29" fmla="*/ 830 h 839"/>
                <a:gd name="T30" fmla="*/ 451 w 1378"/>
                <a:gd name="T31" fmla="*/ 839 h 839"/>
                <a:gd name="T32" fmla="*/ 491 w 1378"/>
                <a:gd name="T33" fmla="*/ 828 h 839"/>
                <a:gd name="T34" fmla="*/ 1349 w 1378"/>
                <a:gd name="T35" fmla="*/ 333 h 839"/>
                <a:gd name="T36" fmla="*/ 1353 w 1378"/>
                <a:gd name="T37" fmla="*/ 330 h 839"/>
                <a:gd name="T38" fmla="*/ 1377 w 1378"/>
                <a:gd name="T39" fmla="*/ 283 h 839"/>
                <a:gd name="T40" fmla="*/ 1349 w 1378"/>
                <a:gd name="T41" fmla="*/ 235 h 839"/>
                <a:gd name="T42" fmla="*/ 24 w 1378"/>
                <a:gd name="T43" fmla="*/ 517 h 839"/>
                <a:gd name="T44" fmla="*/ 28 w 1378"/>
                <a:gd name="T45" fmla="*/ 514 h 839"/>
                <a:gd name="T46" fmla="*/ 889 w 1378"/>
                <a:gd name="T47" fmla="*/ 18 h 839"/>
                <a:gd name="T48" fmla="*/ 928 w 1378"/>
                <a:gd name="T49" fmla="*/ 7 h 839"/>
                <a:gd name="T50" fmla="*/ 949 w 1378"/>
                <a:gd name="T51" fmla="*/ 10 h 839"/>
                <a:gd name="T52" fmla="*/ 909 w 1378"/>
                <a:gd name="T53" fmla="*/ 17 h 839"/>
                <a:gd name="T54" fmla="*/ 484 w 1378"/>
                <a:gd name="T55" fmla="*/ 725 h 839"/>
                <a:gd name="T56" fmla="*/ 486 w 1378"/>
                <a:gd name="T57" fmla="*/ 796 h 839"/>
                <a:gd name="T58" fmla="*/ 454 w 1378"/>
                <a:gd name="T59" fmla="*/ 824 h 839"/>
                <a:gd name="T60" fmla="*/ 415 w 1378"/>
                <a:gd name="T61" fmla="*/ 815 h 839"/>
                <a:gd name="T62" fmla="*/ 32 w 1378"/>
                <a:gd name="T63" fmla="*/ 594 h 839"/>
                <a:gd name="T64" fmla="*/ 31 w 1378"/>
                <a:gd name="T65" fmla="*/ 593 h 839"/>
                <a:gd name="T66" fmla="*/ 30 w 1378"/>
                <a:gd name="T67" fmla="*/ 593 h 839"/>
                <a:gd name="T68" fmla="*/ 5 w 1378"/>
                <a:gd name="T69" fmla="*/ 561 h 839"/>
                <a:gd name="T70" fmla="*/ 5 w 1378"/>
                <a:gd name="T71" fmla="*/ 560 h 839"/>
                <a:gd name="T72" fmla="*/ 24 w 1378"/>
                <a:gd name="T73" fmla="*/ 517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78" h="839">
                  <a:moveTo>
                    <a:pt x="1349" y="235"/>
                  </a:moveTo>
                  <a:cubicBezTo>
                    <a:pt x="1348" y="237"/>
                    <a:pt x="1348" y="237"/>
                    <a:pt x="1348" y="237"/>
                  </a:cubicBezTo>
                  <a:cubicBezTo>
                    <a:pt x="1348" y="237"/>
                    <a:pt x="1348" y="237"/>
                    <a:pt x="1348" y="237"/>
                  </a:cubicBezTo>
                  <a:cubicBezTo>
                    <a:pt x="1349" y="235"/>
                    <a:pt x="1349" y="235"/>
                    <a:pt x="1349" y="235"/>
                  </a:cubicBezTo>
                  <a:cubicBezTo>
                    <a:pt x="1349" y="235"/>
                    <a:pt x="1349" y="235"/>
                    <a:pt x="1349" y="235"/>
                  </a:cubicBezTo>
                  <a:cubicBezTo>
                    <a:pt x="1348" y="235"/>
                    <a:pt x="1348" y="235"/>
                    <a:pt x="1348" y="234"/>
                  </a:cubicBezTo>
                  <a:cubicBezTo>
                    <a:pt x="965" y="12"/>
                    <a:pt x="965" y="12"/>
                    <a:pt x="965" y="12"/>
                  </a:cubicBezTo>
                  <a:cubicBezTo>
                    <a:pt x="940" y="0"/>
                    <a:pt x="911" y="0"/>
                    <a:pt x="887" y="14"/>
                  </a:cubicBezTo>
                  <a:cubicBezTo>
                    <a:pt x="26" y="510"/>
                    <a:pt x="26" y="510"/>
                    <a:pt x="26" y="510"/>
                  </a:cubicBezTo>
                  <a:cubicBezTo>
                    <a:pt x="24" y="511"/>
                    <a:pt x="23" y="513"/>
                    <a:pt x="22" y="514"/>
                  </a:cubicBezTo>
                  <a:cubicBezTo>
                    <a:pt x="8" y="525"/>
                    <a:pt x="0" y="542"/>
                    <a:pt x="1" y="561"/>
                  </a:cubicBezTo>
                  <a:cubicBezTo>
                    <a:pt x="3" y="580"/>
                    <a:pt x="13" y="598"/>
                    <a:pt x="30" y="608"/>
                  </a:cubicBezTo>
                  <a:cubicBezTo>
                    <a:pt x="31" y="608"/>
                    <a:pt x="31" y="608"/>
                    <a:pt x="31" y="608"/>
                  </a:cubicBezTo>
                  <a:cubicBezTo>
                    <a:pt x="31" y="608"/>
                    <a:pt x="31" y="608"/>
                    <a:pt x="32" y="609"/>
                  </a:cubicBezTo>
                  <a:cubicBezTo>
                    <a:pt x="414" y="830"/>
                    <a:pt x="414" y="830"/>
                    <a:pt x="414" y="830"/>
                  </a:cubicBezTo>
                  <a:cubicBezTo>
                    <a:pt x="426" y="836"/>
                    <a:pt x="438" y="839"/>
                    <a:pt x="451" y="839"/>
                  </a:cubicBezTo>
                  <a:cubicBezTo>
                    <a:pt x="465" y="839"/>
                    <a:pt x="479" y="835"/>
                    <a:pt x="491" y="828"/>
                  </a:cubicBezTo>
                  <a:cubicBezTo>
                    <a:pt x="1349" y="333"/>
                    <a:pt x="1349" y="333"/>
                    <a:pt x="1349" y="333"/>
                  </a:cubicBezTo>
                  <a:cubicBezTo>
                    <a:pt x="1350" y="332"/>
                    <a:pt x="1352" y="331"/>
                    <a:pt x="1353" y="330"/>
                  </a:cubicBezTo>
                  <a:cubicBezTo>
                    <a:pt x="1369" y="320"/>
                    <a:pt x="1378" y="302"/>
                    <a:pt x="1377" y="283"/>
                  </a:cubicBezTo>
                  <a:cubicBezTo>
                    <a:pt x="1377" y="263"/>
                    <a:pt x="1366" y="245"/>
                    <a:pt x="1349" y="235"/>
                  </a:cubicBezTo>
                  <a:close/>
                  <a:moveTo>
                    <a:pt x="24" y="517"/>
                  </a:moveTo>
                  <a:cubicBezTo>
                    <a:pt x="25" y="516"/>
                    <a:pt x="27" y="515"/>
                    <a:pt x="28" y="514"/>
                  </a:cubicBezTo>
                  <a:cubicBezTo>
                    <a:pt x="889" y="18"/>
                    <a:pt x="889" y="18"/>
                    <a:pt x="889" y="18"/>
                  </a:cubicBezTo>
                  <a:cubicBezTo>
                    <a:pt x="901" y="11"/>
                    <a:pt x="914" y="7"/>
                    <a:pt x="928" y="7"/>
                  </a:cubicBezTo>
                  <a:cubicBezTo>
                    <a:pt x="935" y="7"/>
                    <a:pt x="942" y="8"/>
                    <a:pt x="949" y="10"/>
                  </a:cubicBezTo>
                  <a:cubicBezTo>
                    <a:pt x="933" y="8"/>
                    <a:pt x="917" y="10"/>
                    <a:pt x="909" y="17"/>
                  </a:cubicBezTo>
                  <a:cubicBezTo>
                    <a:pt x="484" y="725"/>
                    <a:pt x="484" y="725"/>
                    <a:pt x="484" y="725"/>
                  </a:cubicBezTo>
                  <a:cubicBezTo>
                    <a:pt x="484" y="725"/>
                    <a:pt x="495" y="773"/>
                    <a:pt x="486" y="796"/>
                  </a:cubicBezTo>
                  <a:cubicBezTo>
                    <a:pt x="477" y="820"/>
                    <a:pt x="454" y="824"/>
                    <a:pt x="454" y="824"/>
                  </a:cubicBezTo>
                  <a:cubicBezTo>
                    <a:pt x="440" y="824"/>
                    <a:pt x="427" y="822"/>
                    <a:pt x="415" y="815"/>
                  </a:cubicBezTo>
                  <a:cubicBezTo>
                    <a:pt x="32" y="594"/>
                    <a:pt x="32" y="594"/>
                    <a:pt x="32" y="594"/>
                  </a:cubicBezTo>
                  <a:cubicBezTo>
                    <a:pt x="32" y="593"/>
                    <a:pt x="31" y="593"/>
                    <a:pt x="31" y="593"/>
                  </a:cubicBezTo>
                  <a:cubicBezTo>
                    <a:pt x="30" y="593"/>
                    <a:pt x="30" y="593"/>
                    <a:pt x="30" y="593"/>
                  </a:cubicBezTo>
                  <a:cubicBezTo>
                    <a:pt x="18" y="585"/>
                    <a:pt x="9" y="574"/>
                    <a:pt x="5" y="561"/>
                  </a:cubicBezTo>
                  <a:cubicBezTo>
                    <a:pt x="5" y="561"/>
                    <a:pt x="5" y="561"/>
                    <a:pt x="5" y="560"/>
                  </a:cubicBezTo>
                  <a:cubicBezTo>
                    <a:pt x="4" y="543"/>
                    <a:pt x="11" y="527"/>
                    <a:pt x="24" y="517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1421">
              <a:extLst>
                <a:ext uri="{FF2B5EF4-FFF2-40B4-BE49-F238E27FC236}">
                  <a16:creationId xmlns:a16="http://schemas.microsoft.com/office/drawing/2014/main" id="{B91949D5-C782-4F54-A286-113C74D6A9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7097" y="1808689"/>
              <a:ext cx="6027210" cy="3525430"/>
            </a:xfrm>
            <a:custGeom>
              <a:avLst/>
              <a:gdLst>
                <a:gd name="T0" fmla="*/ 21 w 1365"/>
                <a:gd name="T1" fmla="*/ 510 h 799"/>
                <a:gd name="T2" fmla="*/ 882 w 1365"/>
                <a:gd name="T3" fmla="*/ 14 h 799"/>
                <a:gd name="T4" fmla="*/ 958 w 1365"/>
                <a:gd name="T5" fmla="*/ 12 h 799"/>
                <a:gd name="T6" fmla="*/ 1341 w 1365"/>
                <a:gd name="T7" fmla="*/ 234 h 799"/>
                <a:gd name="T8" fmla="*/ 1343 w 1365"/>
                <a:gd name="T9" fmla="*/ 290 h 799"/>
                <a:gd name="T10" fmla="*/ 485 w 1365"/>
                <a:gd name="T11" fmla="*/ 784 h 799"/>
                <a:gd name="T12" fmla="*/ 410 w 1365"/>
                <a:gd name="T13" fmla="*/ 787 h 799"/>
                <a:gd name="T14" fmla="*/ 28 w 1365"/>
                <a:gd name="T15" fmla="*/ 565 h 799"/>
                <a:gd name="T16" fmla="*/ 21 w 1365"/>
                <a:gd name="T17" fmla="*/ 510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65" h="799">
                  <a:moveTo>
                    <a:pt x="21" y="510"/>
                  </a:moveTo>
                  <a:cubicBezTo>
                    <a:pt x="882" y="14"/>
                    <a:pt x="882" y="14"/>
                    <a:pt x="882" y="14"/>
                  </a:cubicBezTo>
                  <a:cubicBezTo>
                    <a:pt x="905" y="1"/>
                    <a:pt x="934" y="0"/>
                    <a:pt x="958" y="12"/>
                  </a:cubicBezTo>
                  <a:cubicBezTo>
                    <a:pt x="1341" y="234"/>
                    <a:pt x="1341" y="234"/>
                    <a:pt x="1341" y="234"/>
                  </a:cubicBezTo>
                  <a:cubicBezTo>
                    <a:pt x="1361" y="248"/>
                    <a:pt x="1365" y="277"/>
                    <a:pt x="1343" y="290"/>
                  </a:cubicBezTo>
                  <a:cubicBezTo>
                    <a:pt x="485" y="784"/>
                    <a:pt x="485" y="784"/>
                    <a:pt x="485" y="784"/>
                  </a:cubicBezTo>
                  <a:cubicBezTo>
                    <a:pt x="462" y="798"/>
                    <a:pt x="434" y="799"/>
                    <a:pt x="410" y="787"/>
                  </a:cubicBezTo>
                  <a:cubicBezTo>
                    <a:pt x="28" y="565"/>
                    <a:pt x="28" y="565"/>
                    <a:pt x="28" y="565"/>
                  </a:cubicBezTo>
                  <a:cubicBezTo>
                    <a:pt x="0" y="549"/>
                    <a:pt x="2" y="523"/>
                    <a:pt x="21" y="51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1422">
              <a:extLst>
                <a:ext uri="{FF2B5EF4-FFF2-40B4-BE49-F238E27FC236}">
                  <a16:creationId xmlns:a16="http://schemas.microsoft.com/office/drawing/2014/main" id="{D501CFA3-ACB0-4F2F-9DEB-BB20FB7357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4707" y="1768337"/>
              <a:ext cx="5978365" cy="3527554"/>
            </a:xfrm>
            <a:custGeom>
              <a:avLst/>
              <a:gdLst>
                <a:gd name="T0" fmla="*/ 440 w 1354"/>
                <a:gd name="T1" fmla="*/ 798 h 799"/>
                <a:gd name="T2" fmla="*/ 404 w 1354"/>
                <a:gd name="T3" fmla="*/ 790 h 799"/>
                <a:gd name="T4" fmla="*/ 22 w 1354"/>
                <a:gd name="T5" fmla="*/ 568 h 799"/>
                <a:gd name="T6" fmla="*/ 0 w 1354"/>
                <a:gd name="T7" fmla="*/ 538 h 799"/>
                <a:gd name="T8" fmla="*/ 15 w 1354"/>
                <a:gd name="T9" fmla="*/ 511 h 799"/>
                <a:gd name="T10" fmla="*/ 15 w 1354"/>
                <a:gd name="T11" fmla="*/ 511 h 799"/>
                <a:gd name="T12" fmla="*/ 876 w 1354"/>
                <a:gd name="T13" fmla="*/ 15 h 799"/>
                <a:gd name="T14" fmla="*/ 953 w 1354"/>
                <a:gd name="T15" fmla="*/ 13 h 799"/>
                <a:gd name="T16" fmla="*/ 1336 w 1354"/>
                <a:gd name="T17" fmla="*/ 235 h 799"/>
                <a:gd name="T18" fmla="*/ 1353 w 1354"/>
                <a:gd name="T19" fmla="*/ 268 h 799"/>
                <a:gd name="T20" fmla="*/ 1338 w 1354"/>
                <a:gd name="T21" fmla="*/ 293 h 799"/>
                <a:gd name="T22" fmla="*/ 480 w 1354"/>
                <a:gd name="T23" fmla="*/ 787 h 799"/>
                <a:gd name="T24" fmla="*/ 440 w 1354"/>
                <a:gd name="T25" fmla="*/ 798 h 799"/>
                <a:gd name="T26" fmla="*/ 17 w 1354"/>
                <a:gd name="T27" fmla="*/ 513 h 799"/>
                <a:gd name="T28" fmla="*/ 3 w 1354"/>
                <a:gd name="T29" fmla="*/ 537 h 799"/>
                <a:gd name="T30" fmla="*/ 23 w 1354"/>
                <a:gd name="T31" fmla="*/ 566 h 799"/>
                <a:gd name="T32" fmla="*/ 406 w 1354"/>
                <a:gd name="T33" fmla="*/ 788 h 799"/>
                <a:gd name="T34" fmla="*/ 479 w 1354"/>
                <a:gd name="T35" fmla="*/ 785 h 799"/>
                <a:gd name="T36" fmla="*/ 1337 w 1354"/>
                <a:gd name="T37" fmla="*/ 291 h 799"/>
                <a:gd name="T38" fmla="*/ 1351 w 1354"/>
                <a:gd name="T39" fmla="*/ 268 h 799"/>
                <a:gd name="T40" fmla="*/ 1335 w 1354"/>
                <a:gd name="T41" fmla="*/ 237 h 799"/>
                <a:gd name="T42" fmla="*/ 952 w 1354"/>
                <a:gd name="T43" fmla="*/ 15 h 799"/>
                <a:gd name="T44" fmla="*/ 877 w 1354"/>
                <a:gd name="T45" fmla="*/ 17 h 799"/>
                <a:gd name="T46" fmla="*/ 17 w 1354"/>
                <a:gd name="T47" fmla="*/ 513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4" h="799">
                  <a:moveTo>
                    <a:pt x="440" y="798"/>
                  </a:moveTo>
                  <a:cubicBezTo>
                    <a:pt x="428" y="798"/>
                    <a:pt x="416" y="796"/>
                    <a:pt x="404" y="790"/>
                  </a:cubicBezTo>
                  <a:cubicBezTo>
                    <a:pt x="22" y="568"/>
                    <a:pt x="22" y="568"/>
                    <a:pt x="22" y="568"/>
                  </a:cubicBezTo>
                  <a:cubicBezTo>
                    <a:pt x="8" y="560"/>
                    <a:pt x="1" y="549"/>
                    <a:pt x="0" y="538"/>
                  </a:cubicBezTo>
                  <a:cubicBezTo>
                    <a:pt x="0" y="527"/>
                    <a:pt x="5" y="518"/>
                    <a:pt x="15" y="511"/>
                  </a:cubicBezTo>
                  <a:cubicBezTo>
                    <a:pt x="15" y="511"/>
                    <a:pt x="15" y="511"/>
                    <a:pt x="15" y="511"/>
                  </a:cubicBezTo>
                  <a:cubicBezTo>
                    <a:pt x="876" y="15"/>
                    <a:pt x="876" y="15"/>
                    <a:pt x="876" y="15"/>
                  </a:cubicBezTo>
                  <a:cubicBezTo>
                    <a:pt x="900" y="1"/>
                    <a:pt x="929" y="0"/>
                    <a:pt x="953" y="13"/>
                  </a:cubicBezTo>
                  <a:cubicBezTo>
                    <a:pt x="1336" y="235"/>
                    <a:pt x="1336" y="235"/>
                    <a:pt x="1336" y="235"/>
                  </a:cubicBezTo>
                  <a:cubicBezTo>
                    <a:pt x="1347" y="243"/>
                    <a:pt x="1354" y="256"/>
                    <a:pt x="1353" y="268"/>
                  </a:cubicBezTo>
                  <a:cubicBezTo>
                    <a:pt x="1353" y="279"/>
                    <a:pt x="1347" y="287"/>
                    <a:pt x="1338" y="293"/>
                  </a:cubicBezTo>
                  <a:cubicBezTo>
                    <a:pt x="480" y="787"/>
                    <a:pt x="480" y="787"/>
                    <a:pt x="480" y="787"/>
                  </a:cubicBezTo>
                  <a:cubicBezTo>
                    <a:pt x="468" y="795"/>
                    <a:pt x="454" y="798"/>
                    <a:pt x="440" y="798"/>
                  </a:cubicBezTo>
                  <a:close/>
                  <a:moveTo>
                    <a:pt x="17" y="513"/>
                  </a:moveTo>
                  <a:cubicBezTo>
                    <a:pt x="7" y="519"/>
                    <a:pt x="2" y="528"/>
                    <a:pt x="3" y="537"/>
                  </a:cubicBezTo>
                  <a:cubicBezTo>
                    <a:pt x="3" y="548"/>
                    <a:pt x="10" y="558"/>
                    <a:pt x="23" y="566"/>
                  </a:cubicBezTo>
                  <a:cubicBezTo>
                    <a:pt x="406" y="788"/>
                    <a:pt x="406" y="788"/>
                    <a:pt x="406" y="788"/>
                  </a:cubicBezTo>
                  <a:cubicBezTo>
                    <a:pt x="429" y="799"/>
                    <a:pt x="456" y="799"/>
                    <a:pt x="479" y="785"/>
                  </a:cubicBezTo>
                  <a:cubicBezTo>
                    <a:pt x="1337" y="291"/>
                    <a:pt x="1337" y="291"/>
                    <a:pt x="1337" y="291"/>
                  </a:cubicBezTo>
                  <a:cubicBezTo>
                    <a:pt x="1345" y="286"/>
                    <a:pt x="1350" y="278"/>
                    <a:pt x="1351" y="268"/>
                  </a:cubicBezTo>
                  <a:cubicBezTo>
                    <a:pt x="1351" y="257"/>
                    <a:pt x="1345" y="245"/>
                    <a:pt x="1335" y="237"/>
                  </a:cubicBezTo>
                  <a:cubicBezTo>
                    <a:pt x="952" y="15"/>
                    <a:pt x="952" y="15"/>
                    <a:pt x="952" y="15"/>
                  </a:cubicBezTo>
                  <a:cubicBezTo>
                    <a:pt x="928" y="3"/>
                    <a:pt x="900" y="4"/>
                    <a:pt x="877" y="17"/>
                  </a:cubicBezTo>
                  <a:lnTo>
                    <a:pt x="17" y="513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1423">
              <a:extLst>
                <a:ext uri="{FF2B5EF4-FFF2-40B4-BE49-F238E27FC236}">
                  <a16:creationId xmlns:a16="http://schemas.microsoft.com/office/drawing/2014/main" id="{C698C573-3BE5-4718-9658-54D2C83BC2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28319" y="1866030"/>
              <a:ext cx="5617327" cy="3274827"/>
            </a:xfrm>
            <a:custGeom>
              <a:avLst/>
              <a:gdLst>
                <a:gd name="T0" fmla="*/ 1256 w 1272"/>
                <a:gd name="T1" fmla="*/ 222 h 742"/>
                <a:gd name="T2" fmla="*/ 885 w 1272"/>
                <a:gd name="T3" fmla="*/ 9 h 742"/>
                <a:gd name="T4" fmla="*/ 832 w 1272"/>
                <a:gd name="T5" fmla="*/ 11 h 742"/>
                <a:gd name="T6" fmla="*/ 15 w 1272"/>
                <a:gd name="T7" fmla="*/ 482 h 742"/>
                <a:gd name="T8" fmla="*/ 19 w 1272"/>
                <a:gd name="T9" fmla="*/ 520 h 742"/>
                <a:gd name="T10" fmla="*/ 390 w 1272"/>
                <a:gd name="T11" fmla="*/ 734 h 742"/>
                <a:gd name="T12" fmla="*/ 442 w 1272"/>
                <a:gd name="T13" fmla="*/ 732 h 742"/>
                <a:gd name="T14" fmla="*/ 1257 w 1272"/>
                <a:gd name="T15" fmla="*/ 261 h 742"/>
                <a:gd name="T16" fmla="*/ 1256 w 1272"/>
                <a:gd name="T17" fmla="*/ 22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2" h="742">
                  <a:moveTo>
                    <a:pt x="1256" y="222"/>
                  </a:moveTo>
                  <a:cubicBezTo>
                    <a:pt x="885" y="9"/>
                    <a:pt x="885" y="9"/>
                    <a:pt x="885" y="9"/>
                  </a:cubicBezTo>
                  <a:cubicBezTo>
                    <a:pt x="868" y="0"/>
                    <a:pt x="848" y="1"/>
                    <a:pt x="832" y="11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1" y="491"/>
                    <a:pt x="0" y="509"/>
                    <a:pt x="19" y="520"/>
                  </a:cubicBezTo>
                  <a:cubicBezTo>
                    <a:pt x="390" y="734"/>
                    <a:pt x="390" y="734"/>
                    <a:pt x="390" y="734"/>
                  </a:cubicBezTo>
                  <a:cubicBezTo>
                    <a:pt x="406" y="742"/>
                    <a:pt x="426" y="741"/>
                    <a:pt x="442" y="732"/>
                  </a:cubicBezTo>
                  <a:cubicBezTo>
                    <a:pt x="1257" y="261"/>
                    <a:pt x="1257" y="261"/>
                    <a:pt x="1257" y="261"/>
                  </a:cubicBezTo>
                  <a:cubicBezTo>
                    <a:pt x="1272" y="253"/>
                    <a:pt x="1272" y="230"/>
                    <a:pt x="1256" y="22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1424">
              <a:extLst>
                <a:ext uri="{FF2B5EF4-FFF2-40B4-BE49-F238E27FC236}">
                  <a16:creationId xmlns:a16="http://schemas.microsoft.com/office/drawing/2014/main" id="{0801C1EA-8CD5-48C3-8C71-66E774E48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5341" y="3537424"/>
              <a:ext cx="114683" cy="133797"/>
            </a:xfrm>
            <a:custGeom>
              <a:avLst/>
              <a:gdLst>
                <a:gd name="T0" fmla="*/ 19 w 26"/>
                <a:gd name="T1" fmla="*/ 20 h 30"/>
                <a:gd name="T2" fmla="*/ 6 w 26"/>
                <a:gd name="T3" fmla="*/ 27 h 30"/>
                <a:gd name="T4" fmla="*/ 0 w 26"/>
                <a:gd name="T5" fmla="*/ 22 h 30"/>
                <a:gd name="T6" fmla="*/ 0 w 26"/>
                <a:gd name="T7" fmla="*/ 22 h 30"/>
                <a:gd name="T8" fmla="*/ 6 w 26"/>
                <a:gd name="T9" fmla="*/ 9 h 30"/>
                <a:gd name="T10" fmla="*/ 19 w 26"/>
                <a:gd name="T11" fmla="*/ 2 h 30"/>
                <a:gd name="T12" fmla="*/ 26 w 26"/>
                <a:gd name="T13" fmla="*/ 7 h 30"/>
                <a:gd name="T14" fmla="*/ 26 w 26"/>
                <a:gd name="T15" fmla="*/ 7 h 30"/>
                <a:gd name="T16" fmla="*/ 19 w 26"/>
                <a:gd name="T17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0">
                  <a:moveTo>
                    <a:pt x="19" y="20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3" y="30"/>
                    <a:pt x="0" y="27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7"/>
                    <a:pt x="3" y="12"/>
                    <a:pt x="6" y="9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3" y="0"/>
                    <a:pt x="26" y="2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2"/>
                    <a:pt x="23" y="18"/>
                    <a:pt x="19" y="2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1425">
              <a:extLst>
                <a:ext uri="{FF2B5EF4-FFF2-40B4-BE49-F238E27FC236}">
                  <a16:creationId xmlns:a16="http://schemas.microsoft.com/office/drawing/2014/main" id="{AE7D8452-2A77-45AC-BF6E-07FE85A347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5341" y="3541672"/>
              <a:ext cx="97693" cy="106188"/>
            </a:xfrm>
            <a:custGeom>
              <a:avLst/>
              <a:gdLst>
                <a:gd name="T0" fmla="*/ 6 w 22"/>
                <a:gd name="T1" fmla="*/ 8 h 24"/>
                <a:gd name="T2" fmla="*/ 0 w 22"/>
                <a:gd name="T3" fmla="*/ 21 h 24"/>
                <a:gd name="T4" fmla="*/ 0 w 22"/>
                <a:gd name="T5" fmla="*/ 24 h 24"/>
                <a:gd name="T6" fmla="*/ 2 w 22"/>
                <a:gd name="T7" fmla="*/ 24 h 24"/>
                <a:gd name="T8" fmla="*/ 15 w 22"/>
                <a:gd name="T9" fmla="*/ 16 h 24"/>
                <a:gd name="T10" fmla="*/ 22 w 22"/>
                <a:gd name="T11" fmla="*/ 3 h 24"/>
                <a:gd name="T12" fmla="*/ 21 w 22"/>
                <a:gd name="T13" fmla="*/ 0 h 24"/>
                <a:gd name="T14" fmla="*/ 19 w 22"/>
                <a:gd name="T15" fmla="*/ 1 h 24"/>
                <a:gd name="T16" fmla="*/ 6 w 22"/>
                <a:gd name="T1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4">
                  <a:moveTo>
                    <a:pt x="6" y="8"/>
                  </a:moveTo>
                  <a:cubicBezTo>
                    <a:pt x="3" y="11"/>
                    <a:pt x="0" y="16"/>
                    <a:pt x="0" y="21"/>
                  </a:cubicBezTo>
                  <a:cubicBezTo>
                    <a:pt x="0" y="23"/>
                    <a:pt x="0" y="24"/>
                    <a:pt x="0" y="24"/>
                  </a:cubicBezTo>
                  <a:cubicBezTo>
                    <a:pt x="1" y="24"/>
                    <a:pt x="1" y="24"/>
                    <a:pt x="2" y="24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9" y="14"/>
                    <a:pt x="22" y="8"/>
                    <a:pt x="22" y="3"/>
                  </a:cubicBezTo>
                  <a:cubicBezTo>
                    <a:pt x="22" y="2"/>
                    <a:pt x="21" y="1"/>
                    <a:pt x="21" y="0"/>
                  </a:cubicBezTo>
                  <a:cubicBezTo>
                    <a:pt x="21" y="1"/>
                    <a:pt x="20" y="1"/>
                    <a:pt x="19" y="1"/>
                  </a:cubicBezTo>
                  <a:lnTo>
                    <a:pt x="6" y="8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1426">
              <a:extLst>
                <a:ext uri="{FF2B5EF4-FFF2-40B4-BE49-F238E27FC236}">
                  <a16:creationId xmlns:a16="http://schemas.microsoft.com/office/drawing/2014/main" id="{92E0DCE5-7261-401A-9118-4F950009F3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81094" y="3537424"/>
              <a:ext cx="106188" cy="121055"/>
            </a:xfrm>
            <a:custGeom>
              <a:avLst/>
              <a:gdLst>
                <a:gd name="T0" fmla="*/ 1 w 24"/>
                <a:gd name="T1" fmla="*/ 27 h 27"/>
                <a:gd name="T2" fmla="*/ 0 w 24"/>
                <a:gd name="T3" fmla="*/ 26 h 27"/>
                <a:gd name="T4" fmla="*/ 0 w 24"/>
                <a:gd name="T5" fmla="*/ 22 h 27"/>
                <a:gd name="T6" fmla="*/ 7 w 24"/>
                <a:gd name="T7" fmla="*/ 9 h 27"/>
                <a:gd name="T8" fmla="*/ 7 w 24"/>
                <a:gd name="T9" fmla="*/ 9 h 27"/>
                <a:gd name="T10" fmla="*/ 20 w 24"/>
                <a:gd name="T11" fmla="*/ 1 h 27"/>
                <a:gd name="T12" fmla="*/ 22 w 24"/>
                <a:gd name="T13" fmla="*/ 0 h 27"/>
                <a:gd name="T14" fmla="*/ 23 w 24"/>
                <a:gd name="T15" fmla="*/ 0 h 27"/>
                <a:gd name="T16" fmla="*/ 23 w 24"/>
                <a:gd name="T17" fmla="*/ 1 h 27"/>
                <a:gd name="T18" fmla="*/ 24 w 24"/>
                <a:gd name="T19" fmla="*/ 4 h 27"/>
                <a:gd name="T20" fmla="*/ 16 w 24"/>
                <a:gd name="T21" fmla="*/ 18 h 27"/>
                <a:gd name="T22" fmla="*/ 3 w 24"/>
                <a:gd name="T23" fmla="*/ 26 h 27"/>
                <a:gd name="T24" fmla="*/ 2 w 24"/>
                <a:gd name="T25" fmla="*/ 26 h 27"/>
                <a:gd name="T26" fmla="*/ 1 w 24"/>
                <a:gd name="T27" fmla="*/ 27 h 27"/>
                <a:gd name="T28" fmla="*/ 8 w 24"/>
                <a:gd name="T29" fmla="*/ 10 h 27"/>
                <a:gd name="T30" fmla="*/ 2 w 24"/>
                <a:gd name="T31" fmla="*/ 22 h 27"/>
                <a:gd name="T32" fmla="*/ 2 w 24"/>
                <a:gd name="T33" fmla="*/ 24 h 27"/>
                <a:gd name="T34" fmla="*/ 2 w 24"/>
                <a:gd name="T35" fmla="*/ 24 h 27"/>
                <a:gd name="T36" fmla="*/ 15 w 24"/>
                <a:gd name="T37" fmla="*/ 17 h 27"/>
                <a:gd name="T38" fmla="*/ 22 w 24"/>
                <a:gd name="T39" fmla="*/ 4 h 27"/>
                <a:gd name="T40" fmla="*/ 21 w 24"/>
                <a:gd name="T41" fmla="*/ 3 h 27"/>
                <a:gd name="T42" fmla="*/ 21 w 24"/>
                <a:gd name="T43" fmla="*/ 3 h 27"/>
                <a:gd name="T44" fmla="*/ 8 w 24"/>
                <a:gd name="T4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27">
                  <a:moveTo>
                    <a:pt x="1" y="27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4"/>
                    <a:pt x="0" y="22"/>
                  </a:cubicBezTo>
                  <a:cubicBezTo>
                    <a:pt x="0" y="17"/>
                    <a:pt x="3" y="11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1"/>
                    <a:pt x="21" y="1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2"/>
                    <a:pt x="24" y="3"/>
                    <a:pt x="24" y="4"/>
                  </a:cubicBezTo>
                  <a:cubicBezTo>
                    <a:pt x="24" y="10"/>
                    <a:pt x="20" y="16"/>
                    <a:pt x="16" y="18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2" y="26"/>
                    <a:pt x="2" y="26"/>
                  </a:cubicBezTo>
                  <a:lnTo>
                    <a:pt x="1" y="27"/>
                  </a:lnTo>
                  <a:close/>
                  <a:moveTo>
                    <a:pt x="8" y="10"/>
                  </a:moveTo>
                  <a:cubicBezTo>
                    <a:pt x="5" y="12"/>
                    <a:pt x="2" y="18"/>
                    <a:pt x="2" y="22"/>
                  </a:cubicBezTo>
                  <a:cubicBezTo>
                    <a:pt x="2" y="23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9" y="15"/>
                    <a:pt x="22" y="9"/>
                    <a:pt x="22" y="4"/>
                  </a:cubicBezTo>
                  <a:cubicBezTo>
                    <a:pt x="22" y="4"/>
                    <a:pt x="22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lnTo>
                    <a:pt x="8" y="10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1427">
              <a:extLst>
                <a:ext uri="{FF2B5EF4-FFF2-40B4-BE49-F238E27FC236}">
                  <a16:creationId xmlns:a16="http://schemas.microsoft.com/office/drawing/2014/main" id="{45B6EE2A-FD2A-4A20-905E-DFE6C8273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66044" y="3560785"/>
              <a:ext cx="61589" cy="97693"/>
            </a:xfrm>
            <a:custGeom>
              <a:avLst/>
              <a:gdLst>
                <a:gd name="T0" fmla="*/ 7 w 14"/>
                <a:gd name="T1" fmla="*/ 20 h 22"/>
                <a:gd name="T2" fmla="*/ 7 w 14"/>
                <a:gd name="T3" fmla="*/ 20 h 22"/>
                <a:gd name="T4" fmla="*/ 0 w 14"/>
                <a:gd name="T5" fmla="*/ 15 h 22"/>
                <a:gd name="T6" fmla="*/ 0 w 14"/>
                <a:gd name="T7" fmla="*/ 15 h 22"/>
                <a:gd name="T8" fmla="*/ 7 w 14"/>
                <a:gd name="T9" fmla="*/ 2 h 22"/>
                <a:gd name="T10" fmla="*/ 7 w 14"/>
                <a:gd name="T11" fmla="*/ 2 h 22"/>
                <a:gd name="T12" fmla="*/ 14 w 14"/>
                <a:gd name="T13" fmla="*/ 7 h 22"/>
                <a:gd name="T14" fmla="*/ 14 w 14"/>
                <a:gd name="T15" fmla="*/ 7 h 22"/>
                <a:gd name="T16" fmla="*/ 7 w 14"/>
                <a:gd name="T17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2">
                  <a:moveTo>
                    <a:pt x="7" y="20"/>
                  </a:moveTo>
                  <a:cubicBezTo>
                    <a:pt x="7" y="20"/>
                    <a:pt x="7" y="20"/>
                    <a:pt x="7" y="20"/>
                  </a:cubicBezTo>
                  <a:cubicBezTo>
                    <a:pt x="3" y="22"/>
                    <a:pt x="0" y="20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0"/>
                    <a:pt x="3" y="4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1" y="0"/>
                    <a:pt x="14" y="2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2"/>
                    <a:pt x="11" y="18"/>
                    <a:pt x="7" y="2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1428">
              <a:extLst>
                <a:ext uri="{FF2B5EF4-FFF2-40B4-BE49-F238E27FC236}">
                  <a16:creationId xmlns:a16="http://schemas.microsoft.com/office/drawing/2014/main" id="{91372ED8-0991-4C62-ACA0-4212DB19EB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259673" y="3556537"/>
              <a:ext cx="72208" cy="101940"/>
            </a:xfrm>
            <a:custGeom>
              <a:avLst/>
              <a:gdLst>
                <a:gd name="T0" fmla="*/ 6 w 16"/>
                <a:gd name="T1" fmla="*/ 23 h 23"/>
                <a:gd name="T2" fmla="*/ 3 w 16"/>
                <a:gd name="T3" fmla="*/ 22 h 23"/>
                <a:gd name="T4" fmla="*/ 0 w 16"/>
                <a:gd name="T5" fmla="*/ 16 h 23"/>
                <a:gd name="T6" fmla="*/ 8 w 16"/>
                <a:gd name="T7" fmla="*/ 2 h 23"/>
                <a:gd name="T8" fmla="*/ 13 w 16"/>
                <a:gd name="T9" fmla="*/ 1 h 23"/>
                <a:gd name="T10" fmla="*/ 16 w 16"/>
                <a:gd name="T11" fmla="*/ 8 h 23"/>
                <a:gd name="T12" fmla="*/ 9 w 16"/>
                <a:gd name="T13" fmla="*/ 22 h 23"/>
                <a:gd name="T14" fmla="*/ 9 w 16"/>
                <a:gd name="T15" fmla="*/ 22 h 23"/>
                <a:gd name="T16" fmla="*/ 6 w 16"/>
                <a:gd name="T17" fmla="*/ 23 h 23"/>
                <a:gd name="T18" fmla="*/ 11 w 16"/>
                <a:gd name="T19" fmla="*/ 3 h 23"/>
                <a:gd name="T20" fmla="*/ 9 w 16"/>
                <a:gd name="T21" fmla="*/ 4 h 23"/>
                <a:gd name="T22" fmla="*/ 3 w 16"/>
                <a:gd name="T23" fmla="*/ 16 h 23"/>
                <a:gd name="T24" fmla="*/ 4 w 16"/>
                <a:gd name="T25" fmla="*/ 20 h 23"/>
                <a:gd name="T26" fmla="*/ 8 w 16"/>
                <a:gd name="T27" fmla="*/ 20 h 23"/>
                <a:gd name="T28" fmla="*/ 8 w 16"/>
                <a:gd name="T29" fmla="*/ 20 h 23"/>
                <a:gd name="T30" fmla="*/ 14 w 16"/>
                <a:gd name="T31" fmla="*/ 8 h 23"/>
                <a:gd name="T32" fmla="*/ 12 w 16"/>
                <a:gd name="T33" fmla="*/ 3 h 23"/>
                <a:gd name="T34" fmla="*/ 11 w 16"/>
                <a:gd name="T3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3">
                  <a:moveTo>
                    <a:pt x="6" y="23"/>
                  </a:moveTo>
                  <a:cubicBezTo>
                    <a:pt x="5" y="23"/>
                    <a:pt x="4" y="23"/>
                    <a:pt x="3" y="22"/>
                  </a:cubicBezTo>
                  <a:cubicBezTo>
                    <a:pt x="1" y="21"/>
                    <a:pt x="0" y="19"/>
                    <a:pt x="0" y="16"/>
                  </a:cubicBezTo>
                  <a:cubicBezTo>
                    <a:pt x="0" y="10"/>
                    <a:pt x="3" y="4"/>
                    <a:pt x="8" y="2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5" y="2"/>
                    <a:pt x="16" y="5"/>
                    <a:pt x="16" y="8"/>
                  </a:cubicBezTo>
                  <a:cubicBezTo>
                    <a:pt x="16" y="13"/>
                    <a:pt x="13" y="19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7" y="23"/>
                    <a:pt x="6" y="23"/>
                  </a:cubicBezTo>
                  <a:close/>
                  <a:moveTo>
                    <a:pt x="11" y="3"/>
                  </a:moveTo>
                  <a:cubicBezTo>
                    <a:pt x="10" y="3"/>
                    <a:pt x="9" y="3"/>
                    <a:pt x="9" y="4"/>
                  </a:cubicBezTo>
                  <a:cubicBezTo>
                    <a:pt x="5" y="6"/>
                    <a:pt x="3" y="11"/>
                    <a:pt x="3" y="16"/>
                  </a:cubicBezTo>
                  <a:cubicBezTo>
                    <a:pt x="3" y="18"/>
                    <a:pt x="3" y="19"/>
                    <a:pt x="4" y="20"/>
                  </a:cubicBezTo>
                  <a:cubicBezTo>
                    <a:pt x="5" y="21"/>
                    <a:pt x="7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1" y="18"/>
                    <a:pt x="14" y="12"/>
                    <a:pt x="14" y="8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2" y="3"/>
                    <a:pt x="11" y="3"/>
                    <a:pt x="11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2" name="Freeform 1429">
              <a:extLst>
                <a:ext uri="{FF2B5EF4-FFF2-40B4-BE49-F238E27FC236}">
                  <a16:creationId xmlns:a16="http://schemas.microsoft.com/office/drawing/2014/main" id="{034852FF-4753-441F-BDE2-9227D0562A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42683" y="3541672"/>
              <a:ext cx="74332" cy="106188"/>
            </a:xfrm>
            <a:custGeom>
              <a:avLst/>
              <a:gdLst>
                <a:gd name="T0" fmla="*/ 6 w 17"/>
                <a:gd name="T1" fmla="*/ 19 h 24"/>
                <a:gd name="T2" fmla="*/ 12 w 17"/>
                <a:gd name="T3" fmla="*/ 6 h 24"/>
                <a:gd name="T4" fmla="*/ 17 w 17"/>
                <a:gd name="T5" fmla="*/ 5 h 24"/>
                <a:gd name="T6" fmla="*/ 17 w 17"/>
                <a:gd name="T7" fmla="*/ 5 h 24"/>
                <a:gd name="T8" fmla="*/ 12 w 17"/>
                <a:gd name="T9" fmla="*/ 2 h 24"/>
                <a:gd name="T10" fmla="*/ 11 w 17"/>
                <a:gd name="T11" fmla="*/ 1 h 24"/>
                <a:gd name="T12" fmla="*/ 11 w 17"/>
                <a:gd name="T13" fmla="*/ 1 h 24"/>
                <a:gd name="T14" fmla="*/ 11 w 17"/>
                <a:gd name="T15" fmla="*/ 1 h 24"/>
                <a:gd name="T16" fmla="*/ 7 w 17"/>
                <a:gd name="T17" fmla="*/ 2 h 24"/>
                <a:gd name="T18" fmla="*/ 0 w 17"/>
                <a:gd name="T19" fmla="*/ 14 h 24"/>
                <a:gd name="T20" fmla="*/ 2 w 17"/>
                <a:gd name="T21" fmla="*/ 20 h 24"/>
                <a:gd name="T22" fmla="*/ 1 w 17"/>
                <a:gd name="T23" fmla="*/ 19 h 24"/>
                <a:gd name="T24" fmla="*/ 2 w 17"/>
                <a:gd name="T25" fmla="*/ 20 h 24"/>
                <a:gd name="T26" fmla="*/ 2 w 17"/>
                <a:gd name="T27" fmla="*/ 20 h 24"/>
                <a:gd name="T28" fmla="*/ 7 w 17"/>
                <a:gd name="T29" fmla="*/ 24 h 24"/>
                <a:gd name="T30" fmla="*/ 6 w 17"/>
                <a:gd name="T31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" h="24">
                  <a:moveTo>
                    <a:pt x="6" y="19"/>
                  </a:moveTo>
                  <a:cubicBezTo>
                    <a:pt x="6" y="14"/>
                    <a:pt x="9" y="8"/>
                    <a:pt x="12" y="6"/>
                  </a:cubicBezTo>
                  <a:cubicBezTo>
                    <a:pt x="14" y="5"/>
                    <a:pt x="15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9" y="0"/>
                    <a:pt x="8" y="1"/>
                    <a:pt x="7" y="2"/>
                  </a:cubicBezTo>
                  <a:cubicBezTo>
                    <a:pt x="3" y="4"/>
                    <a:pt x="0" y="9"/>
                    <a:pt x="0" y="14"/>
                  </a:cubicBezTo>
                  <a:cubicBezTo>
                    <a:pt x="0" y="17"/>
                    <a:pt x="1" y="19"/>
                    <a:pt x="2" y="2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6" y="23"/>
                    <a:pt x="6" y="21"/>
                    <a:pt x="6" y="1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3" name="Freeform 1430">
              <a:extLst>
                <a:ext uri="{FF2B5EF4-FFF2-40B4-BE49-F238E27FC236}">
                  <a16:creationId xmlns:a16="http://schemas.microsoft.com/office/drawing/2014/main" id="{DBA4B540-DDFC-4008-8DF8-C5AB215FAC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238436" y="3537424"/>
              <a:ext cx="84950" cy="114683"/>
            </a:xfrm>
            <a:custGeom>
              <a:avLst/>
              <a:gdLst>
                <a:gd name="T0" fmla="*/ 8 w 19"/>
                <a:gd name="T1" fmla="*/ 26 h 26"/>
                <a:gd name="T2" fmla="*/ 2 w 19"/>
                <a:gd name="T3" fmla="*/ 22 h 26"/>
                <a:gd name="T4" fmla="*/ 2 w 19"/>
                <a:gd name="T5" fmla="*/ 22 h 26"/>
                <a:gd name="T6" fmla="*/ 2 w 19"/>
                <a:gd name="T7" fmla="*/ 21 h 26"/>
                <a:gd name="T8" fmla="*/ 0 w 19"/>
                <a:gd name="T9" fmla="*/ 15 h 26"/>
                <a:gd name="T10" fmla="*/ 7 w 19"/>
                <a:gd name="T11" fmla="*/ 1 h 26"/>
                <a:gd name="T12" fmla="*/ 12 w 19"/>
                <a:gd name="T13" fmla="*/ 1 h 26"/>
                <a:gd name="T14" fmla="*/ 13 w 19"/>
                <a:gd name="T15" fmla="*/ 1 h 26"/>
                <a:gd name="T16" fmla="*/ 14 w 19"/>
                <a:gd name="T17" fmla="*/ 2 h 26"/>
                <a:gd name="T18" fmla="*/ 19 w 19"/>
                <a:gd name="T19" fmla="*/ 6 h 26"/>
                <a:gd name="T20" fmla="*/ 18 w 19"/>
                <a:gd name="T21" fmla="*/ 8 h 26"/>
                <a:gd name="T22" fmla="*/ 17 w 19"/>
                <a:gd name="T23" fmla="*/ 7 h 26"/>
                <a:gd name="T24" fmla="*/ 14 w 19"/>
                <a:gd name="T25" fmla="*/ 8 h 26"/>
                <a:gd name="T26" fmla="*/ 8 w 19"/>
                <a:gd name="T27" fmla="*/ 20 h 26"/>
                <a:gd name="T28" fmla="*/ 9 w 19"/>
                <a:gd name="T29" fmla="*/ 24 h 26"/>
                <a:gd name="T30" fmla="*/ 8 w 19"/>
                <a:gd name="T31" fmla="*/ 26 h 26"/>
                <a:gd name="T32" fmla="*/ 3 w 19"/>
                <a:gd name="T33" fmla="*/ 20 h 26"/>
                <a:gd name="T34" fmla="*/ 4 w 19"/>
                <a:gd name="T35" fmla="*/ 20 h 26"/>
                <a:gd name="T36" fmla="*/ 6 w 19"/>
                <a:gd name="T37" fmla="*/ 21 h 26"/>
                <a:gd name="T38" fmla="*/ 5 w 19"/>
                <a:gd name="T39" fmla="*/ 20 h 26"/>
                <a:gd name="T40" fmla="*/ 13 w 19"/>
                <a:gd name="T41" fmla="*/ 6 h 26"/>
                <a:gd name="T42" fmla="*/ 14 w 19"/>
                <a:gd name="T43" fmla="*/ 5 h 26"/>
                <a:gd name="T44" fmla="*/ 12 w 19"/>
                <a:gd name="T45" fmla="*/ 4 h 26"/>
                <a:gd name="T46" fmla="*/ 12 w 19"/>
                <a:gd name="T47" fmla="*/ 4 h 26"/>
                <a:gd name="T48" fmla="*/ 11 w 19"/>
                <a:gd name="T49" fmla="*/ 3 h 26"/>
                <a:gd name="T50" fmla="*/ 8 w 19"/>
                <a:gd name="T51" fmla="*/ 4 h 26"/>
                <a:gd name="T52" fmla="*/ 2 w 19"/>
                <a:gd name="T53" fmla="*/ 15 h 26"/>
                <a:gd name="T54" fmla="*/ 3 w 19"/>
                <a:gd name="T55" fmla="*/ 19 h 26"/>
                <a:gd name="T56" fmla="*/ 3 w 19"/>
                <a:gd name="T5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" h="26">
                  <a:moveTo>
                    <a:pt x="8" y="26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0"/>
                    <a:pt x="0" y="18"/>
                    <a:pt x="0" y="15"/>
                  </a:cubicBezTo>
                  <a:cubicBezTo>
                    <a:pt x="0" y="10"/>
                    <a:pt x="3" y="4"/>
                    <a:pt x="7" y="1"/>
                  </a:cubicBezTo>
                  <a:cubicBezTo>
                    <a:pt x="8" y="1"/>
                    <a:pt x="10" y="0"/>
                    <a:pt x="12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5" y="7"/>
                    <a:pt x="14" y="8"/>
                  </a:cubicBezTo>
                  <a:cubicBezTo>
                    <a:pt x="11" y="10"/>
                    <a:pt x="8" y="15"/>
                    <a:pt x="8" y="20"/>
                  </a:cubicBezTo>
                  <a:cubicBezTo>
                    <a:pt x="8" y="22"/>
                    <a:pt x="8" y="23"/>
                    <a:pt x="9" y="24"/>
                  </a:cubicBezTo>
                  <a:lnTo>
                    <a:pt x="8" y="26"/>
                  </a:lnTo>
                  <a:close/>
                  <a:moveTo>
                    <a:pt x="3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5" y="20"/>
                    <a:pt x="5" y="20"/>
                  </a:cubicBezTo>
                  <a:cubicBezTo>
                    <a:pt x="5" y="14"/>
                    <a:pt x="9" y="8"/>
                    <a:pt x="13" y="6"/>
                  </a:cubicBezTo>
                  <a:cubicBezTo>
                    <a:pt x="13" y="5"/>
                    <a:pt x="14" y="5"/>
                    <a:pt x="14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0" y="3"/>
                    <a:pt x="8" y="4"/>
                  </a:cubicBezTo>
                  <a:cubicBezTo>
                    <a:pt x="5" y="5"/>
                    <a:pt x="2" y="11"/>
                    <a:pt x="2" y="15"/>
                  </a:cubicBezTo>
                  <a:cubicBezTo>
                    <a:pt x="2" y="17"/>
                    <a:pt x="2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4" name="Freeform 1431">
              <a:extLst>
                <a:ext uri="{FF2B5EF4-FFF2-40B4-BE49-F238E27FC236}">
                  <a16:creationId xmlns:a16="http://schemas.microsoft.com/office/drawing/2014/main" id="{6007F655-D126-45A3-8EE2-CAEFFFD993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11928" y="3785902"/>
              <a:ext cx="250603" cy="208128"/>
            </a:xfrm>
            <a:custGeom>
              <a:avLst/>
              <a:gdLst>
                <a:gd name="T0" fmla="*/ 7 w 57"/>
                <a:gd name="T1" fmla="*/ 42 h 47"/>
                <a:gd name="T2" fmla="*/ 14 w 57"/>
                <a:gd name="T3" fmla="*/ 29 h 47"/>
                <a:gd name="T4" fmla="*/ 53 w 57"/>
                <a:gd name="T5" fmla="*/ 6 h 47"/>
                <a:gd name="T6" fmla="*/ 57 w 57"/>
                <a:gd name="T7" fmla="*/ 6 h 47"/>
                <a:gd name="T8" fmla="*/ 51 w 57"/>
                <a:gd name="T9" fmla="*/ 2 h 47"/>
                <a:gd name="T10" fmla="*/ 50 w 57"/>
                <a:gd name="T11" fmla="*/ 1 h 47"/>
                <a:gd name="T12" fmla="*/ 45 w 57"/>
                <a:gd name="T13" fmla="*/ 1 h 47"/>
                <a:gd name="T14" fmla="*/ 7 w 57"/>
                <a:gd name="T15" fmla="*/ 24 h 47"/>
                <a:gd name="T16" fmla="*/ 0 w 57"/>
                <a:gd name="T17" fmla="*/ 36 h 47"/>
                <a:gd name="T18" fmla="*/ 1 w 57"/>
                <a:gd name="T19" fmla="*/ 41 h 47"/>
                <a:gd name="T20" fmla="*/ 2 w 57"/>
                <a:gd name="T21" fmla="*/ 42 h 47"/>
                <a:gd name="T22" fmla="*/ 2 w 57"/>
                <a:gd name="T23" fmla="*/ 42 h 47"/>
                <a:gd name="T24" fmla="*/ 2 w 57"/>
                <a:gd name="T25" fmla="*/ 42 h 47"/>
                <a:gd name="T26" fmla="*/ 9 w 57"/>
                <a:gd name="T27" fmla="*/ 47 h 47"/>
                <a:gd name="T28" fmla="*/ 7 w 57"/>
                <a:gd name="T29" fmla="*/ 4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7">
                  <a:moveTo>
                    <a:pt x="7" y="42"/>
                  </a:moveTo>
                  <a:cubicBezTo>
                    <a:pt x="7" y="37"/>
                    <a:pt x="10" y="31"/>
                    <a:pt x="14" y="29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4" y="5"/>
                    <a:pt x="56" y="5"/>
                    <a:pt x="57" y="6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49" y="0"/>
                    <a:pt x="47" y="0"/>
                    <a:pt x="45" y="1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3" y="26"/>
                    <a:pt x="0" y="32"/>
                    <a:pt x="0" y="36"/>
                  </a:cubicBezTo>
                  <a:cubicBezTo>
                    <a:pt x="0" y="39"/>
                    <a:pt x="0" y="40"/>
                    <a:pt x="1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8" y="46"/>
                    <a:pt x="7" y="44"/>
                    <a:pt x="7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5" name="Freeform 1432">
              <a:extLst>
                <a:ext uri="{FF2B5EF4-FFF2-40B4-BE49-F238E27FC236}">
                  <a16:creationId xmlns:a16="http://schemas.microsoft.com/office/drawing/2014/main" id="{50EBFD73-FBC5-404B-9366-8C8661DCD48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607680" y="3781655"/>
              <a:ext cx="259098" cy="216623"/>
            </a:xfrm>
            <a:custGeom>
              <a:avLst/>
              <a:gdLst>
                <a:gd name="T0" fmla="*/ 9 w 59"/>
                <a:gd name="T1" fmla="*/ 49 h 49"/>
                <a:gd name="T2" fmla="*/ 2 w 59"/>
                <a:gd name="T3" fmla="*/ 43 h 49"/>
                <a:gd name="T4" fmla="*/ 0 w 59"/>
                <a:gd name="T5" fmla="*/ 37 h 49"/>
                <a:gd name="T6" fmla="*/ 7 w 59"/>
                <a:gd name="T7" fmla="*/ 24 h 49"/>
                <a:gd name="T8" fmla="*/ 46 w 59"/>
                <a:gd name="T9" fmla="*/ 1 h 49"/>
                <a:gd name="T10" fmla="*/ 52 w 59"/>
                <a:gd name="T11" fmla="*/ 1 h 49"/>
                <a:gd name="T12" fmla="*/ 59 w 59"/>
                <a:gd name="T13" fmla="*/ 6 h 49"/>
                <a:gd name="T14" fmla="*/ 59 w 59"/>
                <a:gd name="T15" fmla="*/ 6 h 49"/>
                <a:gd name="T16" fmla="*/ 59 w 59"/>
                <a:gd name="T17" fmla="*/ 6 h 49"/>
                <a:gd name="T18" fmla="*/ 58 w 59"/>
                <a:gd name="T19" fmla="*/ 8 h 49"/>
                <a:gd name="T20" fmla="*/ 58 w 59"/>
                <a:gd name="T21" fmla="*/ 8 h 49"/>
                <a:gd name="T22" fmla="*/ 58 w 59"/>
                <a:gd name="T23" fmla="*/ 8 h 49"/>
                <a:gd name="T24" fmla="*/ 54 w 59"/>
                <a:gd name="T25" fmla="*/ 8 h 49"/>
                <a:gd name="T26" fmla="*/ 16 w 59"/>
                <a:gd name="T27" fmla="*/ 31 h 49"/>
                <a:gd name="T28" fmla="*/ 9 w 59"/>
                <a:gd name="T29" fmla="*/ 43 h 49"/>
                <a:gd name="T30" fmla="*/ 11 w 59"/>
                <a:gd name="T31" fmla="*/ 47 h 49"/>
                <a:gd name="T32" fmla="*/ 9 w 59"/>
                <a:gd name="T33" fmla="*/ 49 h 49"/>
                <a:gd name="T34" fmla="*/ 49 w 59"/>
                <a:gd name="T35" fmla="*/ 3 h 49"/>
                <a:gd name="T36" fmla="*/ 47 w 59"/>
                <a:gd name="T37" fmla="*/ 3 h 49"/>
                <a:gd name="T38" fmla="*/ 8 w 59"/>
                <a:gd name="T39" fmla="*/ 26 h 49"/>
                <a:gd name="T40" fmla="*/ 2 w 59"/>
                <a:gd name="T41" fmla="*/ 37 h 49"/>
                <a:gd name="T42" fmla="*/ 3 w 59"/>
                <a:gd name="T43" fmla="*/ 41 h 49"/>
                <a:gd name="T44" fmla="*/ 3 w 59"/>
                <a:gd name="T45" fmla="*/ 42 h 49"/>
                <a:gd name="T46" fmla="*/ 7 w 59"/>
                <a:gd name="T47" fmla="*/ 44 h 49"/>
                <a:gd name="T48" fmla="*/ 7 w 59"/>
                <a:gd name="T49" fmla="*/ 43 h 49"/>
                <a:gd name="T50" fmla="*/ 14 w 59"/>
                <a:gd name="T51" fmla="*/ 29 h 49"/>
                <a:gd name="T52" fmla="*/ 53 w 59"/>
                <a:gd name="T53" fmla="*/ 6 h 49"/>
                <a:gd name="T54" fmla="*/ 54 w 59"/>
                <a:gd name="T55" fmla="*/ 6 h 49"/>
                <a:gd name="T56" fmla="*/ 51 w 59"/>
                <a:gd name="T57" fmla="*/ 3 h 49"/>
                <a:gd name="T58" fmla="*/ 49 w 59"/>
                <a:gd name="T59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" h="49">
                  <a:moveTo>
                    <a:pt x="9" y="49"/>
                  </a:moveTo>
                  <a:cubicBezTo>
                    <a:pt x="2" y="43"/>
                    <a:pt x="2" y="43"/>
                    <a:pt x="2" y="43"/>
                  </a:cubicBezTo>
                  <a:cubicBezTo>
                    <a:pt x="0" y="42"/>
                    <a:pt x="0" y="40"/>
                    <a:pt x="0" y="37"/>
                  </a:cubicBezTo>
                  <a:cubicBezTo>
                    <a:pt x="0" y="32"/>
                    <a:pt x="3" y="26"/>
                    <a:pt x="7" y="24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9" y="0"/>
                    <a:pt x="51" y="0"/>
                    <a:pt x="52" y="1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6" y="7"/>
                    <a:pt x="55" y="8"/>
                    <a:pt x="54" y="8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2" y="33"/>
                    <a:pt x="9" y="38"/>
                    <a:pt x="9" y="43"/>
                  </a:cubicBezTo>
                  <a:cubicBezTo>
                    <a:pt x="9" y="45"/>
                    <a:pt x="10" y="46"/>
                    <a:pt x="11" y="47"/>
                  </a:cubicBezTo>
                  <a:lnTo>
                    <a:pt x="9" y="49"/>
                  </a:lnTo>
                  <a:close/>
                  <a:moveTo>
                    <a:pt x="49" y="3"/>
                  </a:moveTo>
                  <a:cubicBezTo>
                    <a:pt x="48" y="3"/>
                    <a:pt x="48" y="3"/>
                    <a:pt x="47" y="3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5" y="28"/>
                    <a:pt x="2" y="33"/>
                    <a:pt x="2" y="37"/>
                  </a:cubicBezTo>
                  <a:cubicBezTo>
                    <a:pt x="2" y="40"/>
                    <a:pt x="2" y="41"/>
                    <a:pt x="3" y="4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4"/>
                    <a:pt x="7" y="43"/>
                    <a:pt x="7" y="43"/>
                  </a:cubicBezTo>
                  <a:cubicBezTo>
                    <a:pt x="7" y="37"/>
                    <a:pt x="10" y="31"/>
                    <a:pt x="14" y="29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4" y="6"/>
                    <a:pt x="54" y="6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0" y="3"/>
                    <a:pt x="50" y="3"/>
                    <a:pt x="49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6" name="Freeform 1433">
              <a:extLst>
                <a:ext uri="{FF2B5EF4-FFF2-40B4-BE49-F238E27FC236}">
                  <a16:creationId xmlns:a16="http://schemas.microsoft.com/office/drawing/2014/main" id="{8A62A90C-BFFA-4670-A356-3D8563487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1661" y="3802892"/>
              <a:ext cx="229365" cy="199633"/>
            </a:xfrm>
            <a:custGeom>
              <a:avLst/>
              <a:gdLst>
                <a:gd name="T0" fmla="*/ 46 w 52"/>
                <a:gd name="T1" fmla="*/ 20 h 45"/>
                <a:gd name="T2" fmla="*/ 7 w 52"/>
                <a:gd name="T3" fmla="*/ 43 h 45"/>
                <a:gd name="T4" fmla="*/ 0 w 52"/>
                <a:gd name="T5" fmla="*/ 38 h 45"/>
                <a:gd name="T6" fmla="*/ 0 w 52"/>
                <a:gd name="T7" fmla="*/ 38 h 45"/>
                <a:gd name="T8" fmla="*/ 7 w 52"/>
                <a:gd name="T9" fmla="*/ 25 h 45"/>
                <a:gd name="T10" fmla="*/ 46 w 52"/>
                <a:gd name="T11" fmla="*/ 2 h 45"/>
                <a:gd name="T12" fmla="*/ 52 w 52"/>
                <a:gd name="T13" fmla="*/ 7 h 45"/>
                <a:gd name="T14" fmla="*/ 52 w 52"/>
                <a:gd name="T15" fmla="*/ 7 h 45"/>
                <a:gd name="T16" fmla="*/ 46 w 52"/>
                <a:gd name="T17" fmla="*/ 2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45">
                  <a:moveTo>
                    <a:pt x="46" y="20"/>
                  </a:moveTo>
                  <a:cubicBezTo>
                    <a:pt x="7" y="43"/>
                    <a:pt x="7" y="43"/>
                    <a:pt x="7" y="43"/>
                  </a:cubicBezTo>
                  <a:cubicBezTo>
                    <a:pt x="3" y="45"/>
                    <a:pt x="0" y="43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3"/>
                    <a:pt x="3" y="27"/>
                    <a:pt x="7" y="25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9" y="0"/>
                    <a:pt x="52" y="3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12"/>
                    <a:pt x="49" y="18"/>
                    <a:pt x="46" y="2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7" name="Freeform 1434">
              <a:extLst>
                <a:ext uri="{FF2B5EF4-FFF2-40B4-BE49-F238E27FC236}">
                  <a16:creationId xmlns:a16="http://schemas.microsoft.com/office/drawing/2014/main" id="{9F7E1988-A6ED-4FC1-83AF-DD3A056838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637413" y="3802892"/>
              <a:ext cx="244232" cy="199633"/>
            </a:xfrm>
            <a:custGeom>
              <a:avLst/>
              <a:gdLst>
                <a:gd name="T0" fmla="*/ 5 w 55"/>
                <a:gd name="T1" fmla="*/ 45 h 45"/>
                <a:gd name="T2" fmla="*/ 3 w 55"/>
                <a:gd name="T3" fmla="*/ 44 h 45"/>
                <a:gd name="T4" fmla="*/ 0 w 55"/>
                <a:gd name="T5" fmla="*/ 38 h 45"/>
                <a:gd name="T6" fmla="*/ 7 w 55"/>
                <a:gd name="T7" fmla="*/ 24 h 45"/>
                <a:gd name="T8" fmla="*/ 46 w 55"/>
                <a:gd name="T9" fmla="*/ 1 h 45"/>
                <a:gd name="T10" fmla="*/ 52 w 55"/>
                <a:gd name="T11" fmla="*/ 1 h 45"/>
                <a:gd name="T12" fmla="*/ 55 w 55"/>
                <a:gd name="T13" fmla="*/ 7 h 45"/>
                <a:gd name="T14" fmla="*/ 47 w 55"/>
                <a:gd name="T15" fmla="*/ 21 h 45"/>
                <a:gd name="T16" fmla="*/ 9 w 55"/>
                <a:gd name="T17" fmla="*/ 44 h 45"/>
                <a:gd name="T18" fmla="*/ 5 w 55"/>
                <a:gd name="T19" fmla="*/ 45 h 45"/>
                <a:gd name="T20" fmla="*/ 49 w 55"/>
                <a:gd name="T21" fmla="*/ 3 h 45"/>
                <a:gd name="T22" fmla="*/ 47 w 55"/>
                <a:gd name="T23" fmla="*/ 3 h 45"/>
                <a:gd name="T24" fmla="*/ 9 w 55"/>
                <a:gd name="T25" fmla="*/ 26 h 45"/>
                <a:gd name="T26" fmla="*/ 2 w 55"/>
                <a:gd name="T27" fmla="*/ 38 h 45"/>
                <a:gd name="T28" fmla="*/ 4 w 55"/>
                <a:gd name="T29" fmla="*/ 42 h 45"/>
                <a:gd name="T30" fmla="*/ 7 w 55"/>
                <a:gd name="T31" fmla="*/ 42 h 45"/>
                <a:gd name="T32" fmla="*/ 46 w 55"/>
                <a:gd name="T33" fmla="*/ 19 h 45"/>
                <a:gd name="T34" fmla="*/ 52 w 55"/>
                <a:gd name="T35" fmla="*/ 7 h 45"/>
                <a:gd name="T36" fmla="*/ 50 w 55"/>
                <a:gd name="T37" fmla="*/ 3 h 45"/>
                <a:gd name="T38" fmla="*/ 49 w 55"/>
                <a:gd name="T39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5" h="45">
                  <a:moveTo>
                    <a:pt x="5" y="45"/>
                  </a:moveTo>
                  <a:cubicBezTo>
                    <a:pt x="4" y="45"/>
                    <a:pt x="4" y="45"/>
                    <a:pt x="3" y="44"/>
                  </a:cubicBezTo>
                  <a:cubicBezTo>
                    <a:pt x="1" y="43"/>
                    <a:pt x="0" y="41"/>
                    <a:pt x="0" y="38"/>
                  </a:cubicBezTo>
                  <a:cubicBezTo>
                    <a:pt x="0" y="32"/>
                    <a:pt x="3" y="26"/>
                    <a:pt x="7" y="24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0"/>
                    <a:pt x="50" y="0"/>
                    <a:pt x="52" y="1"/>
                  </a:cubicBezTo>
                  <a:cubicBezTo>
                    <a:pt x="54" y="2"/>
                    <a:pt x="55" y="4"/>
                    <a:pt x="55" y="7"/>
                  </a:cubicBezTo>
                  <a:cubicBezTo>
                    <a:pt x="55" y="13"/>
                    <a:pt x="51" y="19"/>
                    <a:pt x="47" y="21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7" y="44"/>
                    <a:pt x="6" y="45"/>
                    <a:pt x="5" y="45"/>
                  </a:cubicBezTo>
                  <a:close/>
                  <a:moveTo>
                    <a:pt x="49" y="3"/>
                  </a:moveTo>
                  <a:cubicBezTo>
                    <a:pt x="49" y="3"/>
                    <a:pt x="48" y="3"/>
                    <a:pt x="47" y="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5" y="28"/>
                    <a:pt x="2" y="33"/>
                    <a:pt x="2" y="38"/>
                  </a:cubicBezTo>
                  <a:cubicBezTo>
                    <a:pt x="2" y="40"/>
                    <a:pt x="3" y="41"/>
                    <a:pt x="4" y="42"/>
                  </a:cubicBezTo>
                  <a:cubicBezTo>
                    <a:pt x="5" y="43"/>
                    <a:pt x="6" y="42"/>
                    <a:pt x="7" y="42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9" y="17"/>
                    <a:pt x="52" y="12"/>
                    <a:pt x="52" y="7"/>
                  </a:cubicBezTo>
                  <a:cubicBezTo>
                    <a:pt x="52" y="5"/>
                    <a:pt x="52" y="4"/>
                    <a:pt x="50" y="3"/>
                  </a:cubicBezTo>
                  <a:cubicBezTo>
                    <a:pt x="50" y="3"/>
                    <a:pt x="50" y="3"/>
                    <a:pt x="49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8" name="Freeform 1435">
              <a:extLst>
                <a:ext uri="{FF2B5EF4-FFF2-40B4-BE49-F238E27FC236}">
                  <a16:creationId xmlns:a16="http://schemas.microsoft.com/office/drawing/2014/main" id="{36E1A410-82BA-42AA-81F7-B44393A64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0140" y="3622374"/>
              <a:ext cx="250603" cy="208128"/>
            </a:xfrm>
            <a:custGeom>
              <a:avLst/>
              <a:gdLst>
                <a:gd name="T0" fmla="*/ 7 w 57"/>
                <a:gd name="T1" fmla="*/ 42 h 47"/>
                <a:gd name="T2" fmla="*/ 14 w 57"/>
                <a:gd name="T3" fmla="*/ 29 h 47"/>
                <a:gd name="T4" fmla="*/ 52 w 57"/>
                <a:gd name="T5" fmla="*/ 7 h 47"/>
                <a:gd name="T6" fmla="*/ 57 w 57"/>
                <a:gd name="T7" fmla="*/ 7 h 47"/>
                <a:gd name="T8" fmla="*/ 51 w 57"/>
                <a:gd name="T9" fmla="*/ 2 h 47"/>
                <a:gd name="T10" fmla="*/ 50 w 57"/>
                <a:gd name="T11" fmla="*/ 2 h 47"/>
                <a:gd name="T12" fmla="*/ 45 w 57"/>
                <a:gd name="T13" fmla="*/ 2 h 47"/>
                <a:gd name="T14" fmla="*/ 6 w 57"/>
                <a:gd name="T15" fmla="*/ 24 h 47"/>
                <a:gd name="T16" fmla="*/ 0 w 57"/>
                <a:gd name="T17" fmla="*/ 37 h 47"/>
                <a:gd name="T18" fmla="*/ 1 w 57"/>
                <a:gd name="T19" fmla="*/ 42 h 47"/>
                <a:gd name="T20" fmla="*/ 1 w 57"/>
                <a:gd name="T21" fmla="*/ 42 h 47"/>
                <a:gd name="T22" fmla="*/ 2 w 57"/>
                <a:gd name="T23" fmla="*/ 42 h 47"/>
                <a:gd name="T24" fmla="*/ 2 w 57"/>
                <a:gd name="T25" fmla="*/ 42 h 47"/>
                <a:gd name="T26" fmla="*/ 9 w 57"/>
                <a:gd name="T27" fmla="*/ 47 h 47"/>
                <a:gd name="T28" fmla="*/ 7 w 57"/>
                <a:gd name="T29" fmla="*/ 4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7">
                  <a:moveTo>
                    <a:pt x="7" y="42"/>
                  </a:moveTo>
                  <a:cubicBezTo>
                    <a:pt x="7" y="37"/>
                    <a:pt x="10" y="31"/>
                    <a:pt x="14" y="29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4" y="6"/>
                    <a:pt x="56" y="6"/>
                    <a:pt x="57" y="7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1"/>
                    <a:pt x="47" y="0"/>
                    <a:pt x="45" y="2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3" y="26"/>
                    <a:pt x="0" y="32"/>
                    <a:pt x="0" y="37"/>
                  </a:cubicBezTo>
                  <a:cubicBezTo>
                    <a:pt x="0" y="39"/>
                    <a:pt x="0" y="41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8" y="46"/>
                    <a:pt x="7" y="45"/>
                    <a:pt x="7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9" name="Freeform 1436">
              <a:extLst>
                <a:ext uri="{FF2B5EF4-FFF2-40B4-BE49-F238E27FC236}">
                  <a16:creationId xmlns:a16="http://schemas.microsoft.com/office/drawing/2014/main" id="{2D136570-2523-4D21-8AF0-D6AC996EDA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1645" y="3618127"/>
              <a:ext cx="263345" cy="216623"/>
            </a:xfrm>
            <a:custGeom>
              <a:avLst/>
              <a:gdLst>
                <a:gd name="T0" fmla="*/ 10 w 60"/>
                <a:gd name="T1" fmla="*/ 49 h 49"/>
                <a:gd name="T2" fmla="*/ 2 w 60"/>
                <a:gd name="T3" fmla="*/ 44 h 49"/>
                <a:gd name="T4" fmla="*/ 0 w 60"/>
                <a:gd name="T5" fmla="*/ 38 h 49"/>
                <a:gd name="T6" fmla="*/ 8 w 60"/>
                <a:gd name="T7" fmla="*/ 24 h 49"/>
                <a:gd name="T8" fmla="*/ 46 w 60"/>
                <a:gd name="T9" fmla="*/ 2 h 49"/>
                <a:gd name="T10" fmla="*/ 53 w 60"/>
                <a:gd name="T11" fmla="*/ 2 h 49"/>
                <a:gd name="T12" fmla="*/ 60 w 60"/>
                <a:gd name="T13" fmla="*/ 7 h 49"/>
                <a:gd name="T14" fmla="*/ 60 w 60"/>
                <a:gd name="T15" fmla="*/ 7 h 49"/>
                <a:gd name="T16" fmla="*/ 60 w 60"/>
                <a:gd name="T17" fmla="*/ 7 h 49"/>
                <a:gd name="T18" fmla="*/ 58 w 60"/>
                <a:gd name="T19" fmla="*/ 9 h 49"/>
                <a:gd name="T20" fmla="*/ 58 w 60"/>
                <a:gd name="T21" fmla="*/ 9 h 49"/>
                <a:gd name="T22" fmla="*/ 58 w 60"/>
                <a:gd name="T23" fmla="*/ 9 h 49"/>
                <a:gd name="T24" fmla="*/ 55 w 60"/>
                <a:gd name="T25" fmla="*/ 9 h 49"/>
                <a:gd name="T26" fmla="*/ 16 w 60"/>
                <a:gd name="T27" fmla="*/ 31 h 49"/>
                <a:gd name="T28" fmla="*/ 10 w 60"/>
                <a:gd name="T29" fmla="*/ 43 h 49"/>
                <a:gd name="T30" fmla="*/ 12 w 60"/>
                <a:gd name="T31" fmla="*/ 47 h 49"/>
                <a:gd name="T32" fmla="*/ 10 w 60"/>
                <a:gd name="T33" fmla="*/ 49 h 49"/>
                <a:gd name="T34" fmla="*/ 50 w 60"/>
                <a:gd name="T35" fmla="*/ 3 h 49"/>
                <a:gd name="T36" fmla="*/ 48 w 60"/>
                <a:gd name="T37" fmla="*/ 4 h 49"/>
                <a:gd name="T38" fmla="*/ 9 w 60"/>
                <a:gd name="T39" fmla="*/ 26 h 49"/>
                <a:gd name="T40" fmla="*/ 3 w 60"/>
                <a:gd name="T41" fmla="*/ 38 h 49"/>
                <a:gd name="T42" fmla="*/ 4 w 60"/>
                <a:gd name="T43" fmla="*/ 42 h 49"/>
                <a:gd name="T44" fmla="*/ 4 w 60"/>
                <a:gd name="T45" fmla="*/ 42 h 49"/>
                <a:gd name="T46" fmla="*/ 8 w 60"/>
                <a:gd name="T47" fmla="*/ 45 h 49"/>
                <a:gd name="T48" fmla="*/ 8 w 60"/>
                <a:gd name="T49" fmla="*/ 43 h 49"/>
                <a:gd name="T50" fmla="*/ 15 w 60"/>
                <a:gd name="T51" fmla="*/ 29 h 49"/>
                <a:gd name="T52" fmla="*/ 54 w 60"/>
                <a:gd name="T53" fmla="*/ 7 h 49"/>
                <a:gd name="T54" fmla="*/ 55 w 60"/>
                <a:gd name="T55" fmla="*/ 6 h 49"/>
                <a:gd name="T56" fmla="*/ 51 w 60"/>
                <a:gd name="T57" fmla="*/ 4 h 49"/>
                <a:gd name="T58" fmla="*/ 50 w 60"/>
                <a:gd name="T59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0" h="49">
                  <a:moveTo>
                    <a:pt x="10" y="49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2"/>
                    <a:pt x="0" y="40"/>
                    <a:pt x="0" y="38"/>
                  </a:cubicBezTo>
                  <a:cubicBezTo>
                    <a:pt x="0" y="32"/>
                    <a:pt x="4" y="26"/>
                    <a:pt x="8" y="24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9" y="0"/>
                    <a:pt x="52" y="1"/>
                    <a:pt x="53" y="2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7" y="8"/>
                    <a:pt x="56" y="8"/>
                    <a:pt x="55" y="9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3" y="33"/>
                    <a:pt x="10" y="39"/>
                    <a:pt x="10" y="43"/>
                  </a:cubicBezTo>
                  <a:cubicBezTo>
                    <a:pt x="10" y="45"/>
                    <a:pt x="11" y="47"/>
                    <a:pt x="12" y="47"/>
                  </a:cubicBezTo>
                  <a:lnTo>
                    <a:pt x="10" y="49"/>
                  </a:lnTo>
                  <a:close/>
                  <a:moveTo>
                    <a:pt x="50" y="3"/>
                  </a:moveTo>
                  <a:cubicBezTo>
                    <a:pt x="49" y="3"/>
                    <a:pt x="48" y="3"/>
                    <a:pt x="48" y="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8"/>
                    <a:pt x="3" y="33"/>
                    <a:pt x="3" y="38"/>
                  </a:cubicBezTo>
                  <a:cubicBezTo>
                    <a:pt x="3" y="40"/>
                    <a:pt x="3" y="41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4"/>
                    <a:pt x="8" y="44"/>
                    <a:pt x="8" y="43"/>
                  </a:cubicBezTo>
                  <a:cubicBezTo>
                    <a:pt x="8" y="38"/>
                    <a:pt x="11" y="31"/>
                    <a:pt x="15" y="29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5" y="6"/>
                    <a:pt x="55" y="6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3"/>
                    <a:pt x="50" y="3"/>
                    <a:pt x="50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0" name="Freeform 1437">
              <a:extLst>
                <a:ext uri="{FF2B5EF4-FFF2-40B4-BE49-F238E27FC236}">
                  <a16:creationId xmlns:a16="http://schemas.microsoft.com/office/drawing/2014/main" id="{C7A047E4-7E81-4190-9AEC-6E1231CB01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9873" y="3643612"/>
              <a:ext cx="229365" cy="195385"/>
            </a:xfrm>
            <a:custGeom>
              <a:avLst/>
              <a:gdLst>
                <a:gd name="T0" fmla="*/ 45 w 52"/>
                <a:gd name="T1" fmla="*/ 20 h 44"/>
                <a:gd name="T2" fmla="*/ 7 w 52"/>
                <a:gd name="T3" fmla="*/ 42 h 44"/>
                <a:gd name="T4" fmla="*/ 0 w 52"/>
                <a:gd name="T5" fmla="*/ 37 h 44"/>
                <a:gd name="T6" fmla="*/ 0 w 52"/>
                <a:gd name="T7" fmla="*/ 37 h 44"/>
                <a:gd name="T8" fmla="*/ 7 w 52"/>
                <a:gd name="T9" fmla="*/ 24 h 44"/>
                <a:gd name="T10" fmla="*/ 45 w 52"/>
                <a:gd name="T11" fmla="*/ 2 h 44"/>
                <a:gd name="T12" fmla="*/ 52 w 52"/>
                <a:gd name="T13" fmla="*/ 7 h 44"/>
                <a:gd name="T14" fmla="*/ 52 w 52"/>
                <a:gd name="T15" fmla="*/ 7 h 44"/>
                <a:gd name="T16" fmla="*/ 45 w 52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44">
                  <a:moveTo>
                    <a:pt x="45" y="20"/>
                  </a:moveTo>
                  <a:cubicBezTo>
                    <a:pt x="7" y="42"/>
                    <a:pt x="7" y="42"/>
                    <a:pt x="7" y="42"/>
                  </a:cubicBezTo>
                  <a:cubicBezTo>
                    <a:pt x="3" y="44"/>
                    <a:pt x="0" y="42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2"/>
                    <a:pt x="3" y="26"/>
                    <a:pt x="7" y="24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9" y="0"/>
                    <a:pt x="52" y="2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12"/>
                    <a:pt x="49" y="18"/>
                    <a:pt x="45" y="2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3" name="Freeform 1438">
              <a:extLst>
                <a:ext uri="{FF2B5EF4-FFF2-40B4-BE49-F238E27FC236}">
                  <a16:creationId xmlns:a16="http://schemas.microsoft.com/office/drawing/2014/main" id="{13F18BC3-3D0E-49B5-AEF6-CE911B09BF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915625" y="3639364"/>
              <a:ext cx="239985" cy="199633"/>
            </a:xfrm>
            <a:custGeom>
              <a:avLst/>
              <a:gdLst>
                <a:gd name="T0" fmla="*/ 5 w 54"/>
                <a:gd name="T1" fmla="*/ 45 h 45"/>
                <a:gd name="T2" fmla="*/ 3 w 54"/>
                <a:gd name="T3" fmla="*/ 45 h 45"/>
                <a:gd name="T4" fmla="*/ 0 w 54"/>
                <a:gd name="T5" fmla="*/ 38 h 45"/>
                <a:gd name="T6" fmla="*/ 7 w 54"/>
                <a:gd name="T7" fmla="*/ 24 h 45"/>
                <a:gd name="T8" fmla="*/ 46 w 54"/>
                <a:gd name="T9" fmla="*/ 2 h 45"/>
                <a:gd name="T10" fmla="*/ 52 w 54"/>
                <a:gd name="T11" fmla="*/ 1 h 45"/>
                <a:gd name="T12" fmla="*/ 54 w 54"/>
                <a:gd name="T13" fmla="*/ 8 h 45"/>
                <a:gd name="T14" fmla="*/ 47 w 54"/>
                <a:gd name="T15" fmla="*/ 22 h 45"/>
                <a:gd name="T16" fmla="*/ 8 w 54"/>
                <a:gd name="T17" fmla="*/ 44 h 45"/>
                <a:gd name="T18" fmla="*/ 5 w 54"/>
                <a:gd name="T19" fmla="*/ 45 h 45"/>
                <a:gd name="T20" fmla="*/ 49 w 54"/>
                <a:gd name="T21" fmla="*/ 3 h 45"/>
                <a:gd name="T22" fmla="*/ 47 w 54"/>
                <a:gd name="T23" fmla="*/ 4 h 45"/>
                <a:gd name="T24" fmla="*/ 8 w 54"/>
                <a:gd name="T25" fmla="*/ 26 h 45"/>
                <a:gd name="T26" fmla="*/ 2 w 54"/>
                <a:gd name="T27" fmla="*/ 38 h 45"/>
                <a:gd name="T28" fmla="*/ 4 w 54"/>
                <a:gd name="T29" fmla="*/ 42 h 45"/>
                <a:gd name="T30" fmla="*/ 7 w 54"/>
                <a:gd name="T31" fmla="*/ 42 h 45"/>
                <a:gd name="T32" fmla="*/ 46 w 54"/>
                <a:gd name="T33" fmla="*/ 20 h 45"/>
                <a:gd name="T34" fmla="*/ 52 w 54"/>
                <a:gd name="T35" fmla="*/ 8 h 45"/>
                <a:gd name="T36" fmla="*/ 50 w 54"/>
                <a:gd name="T37" fmla="*/ 3 h 45"/>
                <a:gd name="T38" fmla="*/ 49 w 54"/>
                <a:gd name="T39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45">
                  <a:moveTo>
                    <a:pt x="5" y="45"/>
                  </a:moveTo>
                  <a:cubicBezTo>
                    <a:pt x="4" y="45"/>
                    <a:pt x="3" y="45"/>
                    <a:pt x="3" y="45"/>
                  </a:cubicBezTo>
                  <a:cubicBezTo>
                    <a:pt x="1" y="43"/>
                    <a:pt x="0" y="41"/>
                    <a:pt x="0" y="38"/>
                  </a:cubicBezTo>
                  <a:cubicBezTo>
                    <a:pt x="0" y="33"/>
                    <a:pt x="3" y="26"/>
                    <a:pt x="7" y="24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8" y="1"/>
                    <a:pt x="50" y="0"/>
                    <a:pt x="52" y="1"/>
                  </a:cubicBezTo>
                  <a:cubicBezTo>
                    <a:pt x="53" y="2"/>
                    <a:pt x="54" y="5"/>
                    <a:pt x="54" y="8"/>
                  </a:cubicBezTo>
                  <a:cubicBezTo>
                    <a:pt x="54" y="13"/>
                    <a:pt x="51" y="19"/>
                    <a:pt x="47" y="22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7" y="45"/>
                    <a:pt x="6" y="45"/>
                    <a:pt x="5" y="45"/>
                  </a:cubicBezTo>
                  <a:close/>
                  <a:moveTo>
                    <a:pt x="49" y="3"/>
                  </a:moveTo>
                  <a:cubicBezTo>
                    <a:pt x="48" y="3"/>
                    <a:pt x="48" y="3"/>
                    <a:pt x="47" y="4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5" y="28"/>
                    <a:pt x="2" y="34"/>
                    <a:pt x="2" y="38"/>
                  </a:cubicBezTo>
                  <a:cubicBezTo>
                    <a:pt x="2" y="40"/>
                    <a:pt x="3" y="42"/>
                    <a:pt x="4" y="42"/>
                  </a:cubicBezTo>
                  <a:cubicBezTo>
                    <a:pt x="5" y="43"/>
                    <a:pt x="6" y="43"/>
                    <a:pt x="7" y="42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9" y="18"/>
                    <a:pt x="52" y="12"/>
                    <a:pt x="52" y="8"/>
                  </a:cubicBezTo>
                  <a:cubicBezTo>
                    <a:pt x="52" y="6"/>
                    <a:pt x="51" y="4"/>
                    <a:pt x="50" y="3"/>
                  </a:cubicBezTo>
                  <a:cubicBezTo>
                    <a:pt x="50" y="3"/>
                    <a:pt x="50" y="3"/>
                    <a:pt x="49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4" name="Freeform 1439">
              <a:extLst>
                <a:ext uri="{FF2B5EF4-FFF2-40B4-BE49-F238E27FC236}">
                  <a16:creationId xmlns:a16="http://schemas.microsoft.com/office/drawing/2014/main" id="{995259A1-5566-4510-94CE-B0C3A73EB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3896" y="2713408"/>
              <a:ext cx="1599186" cy="921709"/>
            </a:xfrm>
            <a:custGeom>
              <a:avLst/>
              <a:gdLst>
                <a:gd name="T0" fmla="*/ 100 w 362"/>
                <a:gd name="T1" fmla="*/ 33 h 209"/>
                <a:gd name="T2" fmla="*/ 305 w 362"/>
                <a:gd name="T3" fmla="*/ 33 h 209"/>
                <a:gd name="T4" fmla="*/ 305 w 362"/>
                <a:gd name="T5" fmla="*/ 152 h 209"/>
                <a:gd name="T6" fmla="*/ 242 w 362"/>
                <a:gd name="T7" fmla="*/ 173 h 209"/>
                <a:gd name="T8" fmla="*/ 226 w 362"/>
                <a:gd name="T9" fmla="*/ 189 h 209"/>
                <a:gd name="T10" fmla="*/ 134 w 362"/>
                <a:gd name="T11" fmla="*/ 189 h 209"/>
                <a:gd name="T12" fmla="*/ 112 w 362"/>
                <a:gd name="T13" fmla="*/ 202 h 209"/>
                <a:gd name="T14" fmla="*/ 70 w 362"/>
                <a:gd name="T15" fmla="*/ 202 h 209"/>
                <a:gd name="T16" fmla="*/ 12 w 362"/>
                <a:gd name="T17" fmla="*/ 169 h 209"/>
                <a:gd name="T18" fmla="*/ 12 w 362"/>
                <a:gd name="T19" fmla="*/ 144 h 209"/>
                <a:gd name="T20" fmla="*/ 34 w 362"/>
                <a:gd name="T21" fmla="*/ 131 h 209"/>
                <a:gd name="T22" fmla="*/ 34 w 362"/>
                <a:gd name="T23" fmla="*/ 78 h 209"/>
                <a:gd name="T24" fmla="*/ 63 w 362"/>
                <a:gd name="T25" fmla="*/ 69 h 209"/>
                <a:gd name="T26" fmla="*/ 100 w 362"/>
                <a:gd name="T27" fmla="*/ 33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2" h="209">
                  <a:moveTo>
                    <a:pt x="100" y="33"/>
                  </a:moveTo>
                  <a:cubicBezTo>
                    <a:pt x="157" y="0"/>
                    <a:pt x="249" y="0"/>
                    <a:pt x="305" y="33"/>
                  </a:cubicBezTo>
                  <a:cubicBezTo>
                    <a:pt x="362" y="66"/>
                    <a:pt x="362" y="119"/>
                    <a:pt x="305" y="152"/>
                  </a:cubicBezTo>
                  <a:cubicBezTo>
                    <a:pt x="287" y="163"/>
                    <a:pt x="265" y="170"/>
                    <a:pt x="242" y="173"/>
                  </a:cubicBezTo>
                  <a:cubicBezTo>
                    <a:pt x="239" y="179"/>
                    <a:pt x="234" y="185"/>
                    <a:pt x="226" y="189"/>
                  </a:cubicBezTo>
                  <a:cubicBezTo>
                    <a:pt x="201" y="204"/>
                    <a:pt x="159" y="204"/>
                    <a:pt x="134" y="189"/>
                  </a:cubicBezTo>
                  <a:cubicBezTo>
                    <a:pt x="112" y="202"/>
                    <a:pt x="112" y="202"/>
                    <a:pt x="112" y="202"/>
                  </a:cubicBezTo>
                  <a:cubicBezTo>
                    <a:pt x="100" y="209"/>
                    <a:pt x="81" y="209"/>
                    <a:pt x="70" y="202"/>
                  </a:cubicBezTo>
                  <a:cubicBezTo>
                    <a:pt x="12" y="169"/>
                    <a:pt x="12" y="169"/>
                    <a:pt x="12" y="169"/>
                  </a:cubicBezTo>
                  <a:cubicBezTo>
                    <a:pt x="0" y="162"/>
                    <a:pt x="0" y="151"/>
                    <a:pt x="12" y="144"/>
                  </a:cubicBezTo>
                  <a:cubicBezTo>
                    <a:pt x="34" y="131"/>
                    <a:pt x="34" y="131"/>
                    <a:pt x="34" y="131"/>
                  </a:cubicBezTo>
                  <a:cubicBezTo>
                    <a:pt x="9" y="117"/>
                    <a:pt x="9" y="93"/>
                    <a:pt x="34" y="78"/>
                  </a:cubicBezTo>
                  <a:cubicBezTo>
                    <a:pt x="43" y="74"/>
                    <a:pt x="53" y="70"/>
                    <a:pt x="63" y="69"/>
                  </a:cubicBezTo>
                  <a:cubicBezTo>
                    <a:pt x="70" y="56"/>
                    <a:pt x="82" y="43"/>
                    <a:pt x="100" y="33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5" name="Freeform 1440">
              <a:extLst>
                <a:ext uri="{FF2B5EF4-FFF2-40B4-BE49-F238E27FC236}">
                  <a16:creationId xmlns:a16="http://schemas.microsoft.com/office/drawing/2014/main" id="{8D869C50-9C24-4452-B9C2-A324B2A6C25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63896" y="2602973"/>
              <a:ext cx="1550339" cy="945071"/>
            </a:xfrm>
            <a:custGeom>
              <a:avLst/>
              <a:gdLst>
                <a:gd name="T0" fmla="*/ 91 w 351"/>
                <a:gd name="T1" fmla="*/ 214 h 214"/>
                <a:gd name="T2" fmla="*/ 114 w 351"/>
                <a:gd name="T3" fmla="*/ 208 h 214"/>
                <a:gd name="T4" fmla="*/ 134 w 351"/>
                <a:gd name="T5" fmla="*/ 196 h 214"/>
                <a:gd name="T6" fmla="*/ 228 w 351"/>
                <a:gd name="T7" fmla="*/ 195 h 214"/>
                <a:gd name="T8" fmla="*/ 244 w 351"/>
                <a:gd name="T9" fmla="*/ 180 h 214"/>
                <a:gd name="T10" fmla="*/ 307 w 351"/>
                <a:gd name="T11" fmla="*/ 158 h 214"/>
                <a:gd name="T12" fmla="*/ 351 w 351"/>
                <a:gd name="T13" fmla="*/ 95 h 214"/>
                <a:gd name="T14" fmla="*/ 307 w 351"/>
                <a:gd name="T15" fmla="*/ 33 h 214"/>
                <a:gd name="T16" fmla="*/ 98 w 351"/>
                <a:gd name="T17" fmla="*/ 33 h 214"/>
                <a:gd name="T18" fmla="*/ 98 w 351"/>
                <a:gd name="T19" fmla="*/ 33 h 214"/>
                <a:gd name="T20" fmla="*/ 61 w 351"/>
                <a:gd name="T21" fmla="*/ 68 h 214"/>
                <a:gd name="T22" fmla="*/ 33 w 351"/>
                <a:gd name="T23" fmla="*/ 78 h 214"/>
                <a:gd name="T24" fmla="*/ 12 w 351"/>
                <a:gd name="T25" fmla="*/ 108 h 214"/>
                <a:gd name="T26" fmla="*/ 28 w 351"/>
                <a:gd name="T27" fmla="*/ 134 h 214"/>
                <a:gd name="T28" fmla="*/ 10 w 351"/>
                <a:gd name="T29" fmla="*/ 144 h 214"/>
                <a:gd name="T30" fmla="*/ 0 w 351"/>
                <a:gd name="T31" fmla="*/ 159 h 214"/>
                <a:gd name="T32" fmla="*/ 10 w 351"/>
                <a:gd name="T33" fmla="*/ 175 h 214"/>
                <a:gd name="T34" fmla="*/ 68 w 351"/>
                <a:gd name="T35" fmla="*/ 208 h 214"/>
                <a:gd name="T36" fmla="*/ 91 w 351"/>
                <a:gd name="T37" fmla="*/ 214 h 214"/>
                <a:gd name="T38" fmla="*/ 134 w 351"/>
                <a:gd name="T39" fmla="*/ 188 h 214"/>
                <a:gd name="T40" fmla="*/ 110 w 351"/>
                <a:gd name="T41" fmla="*/ 202 h 214"/>
                <a:gd name="T42" fmla="*/ 72 w 351"/>
                <a:gd name="T43" fmla="*/ 202 h 214"/>
                <a:gd name="T44" fmla="*/ 14 w 351"/>
                <a:gd name="T45" fmla="*/ 168 h 214"/>
                <a:gd name="T46" fmla="*/ 7 w 351"/>
                <a:gd name="T47" fmla="*/ 159 h 214"/>
                <a:gd name="T48" fmla="*/ 14 w 351"/>
                <a:gd name="T49" fmla="*/ 150 h 214"/>
                <a:gd name="T50" fmla="*/ 41 w 351"/>
                <a:gd name="T51" fmla="*/ 134 h 214"/>
                <a:gd name="T52" fmla="*/ 36 w 351"/>
                <a:gd name="T53" fmla="*/ 131 h 214"/>
                <a:gd name="T54" fmla="*/ 19 w 351"/>
                <a:gd name="T55" fmla="*/ 108 h 214"/>
                <a:gd name="T56" fmla="*/ 36 w 351"/>
                <a:gd name="T57" fmla="*/ 84 h 214"/>
                <a:gd name="T58" fmla="*/ 64 w 351"/>
                <a:gd name="T59" fmla="*/ 75 h 214"/>
                <a:gd name="T60" fmla="*/ 66 w 351"/>
                <a:gd name="T61" fmla="*/ 75 h 214"/>
                <a:gd name="T62" fmla="*/ 66 w 351"/>
                <a:gd name="T63" fmla="*/ 73 h 214"/>
                <a:gd name="T64" fmla="*/ 102 w 351"/>
                <a:gd name="T65" fmla="*/ 39 h 214"/>
                <a:gd name="T66" fmla="*/ 102 w 351"/>
                <a:gd name="T67" fmla="*/ 39 h 214"/>
                <a:gd name="T68" fmla="*/ 304 w 351"/>
                <a:gd name="T69" fmla="*/ 39 h 214"/>
                <a:gd name="T70" fmla="*/ 344 w 351"/>
                <a:gd name="T71" fmla="*/ 95 h 214"/>
                <a:gd name="T72" fmla="*/ 304 w 351"/>
                <a:gd name="T73" fmla="*/ 152 h 214"/>
                <a:gd name="T74" fmla="*/ 242 w 351"/>
                <a:gd name="T75" fmla="*/ 173 h 214"/>
                <a:gd name="T76" fmla="*/ 240 w 351"/>
                <a:gd name="T77" fmla="*/ 173 h 214"/>
                <a:gd name="T78" fmla="*/ 239 w 351"/>
                <a:gd name="T79" fmla="*/ 175 h 214"/>
                <a:gd name="T80" fmla="*/ 224 w 351"/>
                <a:gd name="T81" fmla="*/ 189 h 214"/>
                <a:gd name="T82" fmla="*/ 136 w 351"/>
                <a:gd name="T83" fmla="*/ 189 h 214"/>
                <a:gd name="T84" fmla="*/ 134 w 351"/>
                <a:gd name="T85" fmla="*/ 18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1" h="214">
                  <a:moveTo>
                    <a:pt x="91" y="214"/>
                  </a:moveTo>
                  <a:cubicBezTo>
                    <a:pt x="99" y="214"/>
                    <a:pt x="107" y="212"/>
                    <a:pt x="114" y="208"/>
                  </a:cubicBezTo>
                  <a:cubicBezTo>
                    <a:pt x="134" y="196"/>
                    <a:pt x="134" y="196"/>
                    <a:pt x="134" y="196"/>
                  </a:cubicBezTo>
                  <a:cubicBezTo>
                    <a:pt x="161" y="210"/>
                    <a:pt x="202" y="210"/>
                    <a:pt x="228" y="195"/>
                  </a:cubicBezTo>
                  <a:cubicBezTo>
                    <a:pt x="235" y="191"/>
                    <a:pt x="241" y="185"/>
                    <a:pt x="244" y="180"/>
                  </a:cubicBezTo>
                  <a:cubicBezTo>
                    <a:pt x="268" y="176"/>
                    <a:pt x="290" y="168"/>
                    <a:pt x="307" y="158"/>
                  </a:cubicBezTo>
                  <a:cubicBezTo>
                    <a:pt x="336" y="141"/>
                    <a:pt x="351" y="119"/>
                    <a:pt x="351" y="95"/>
                  </a:cubicBezTo>
                  <a:cubicBezTo>
                    <a:pt x="351" y="72"/>
                    <a:pt x="336" y="50"/>
                    <a:pt x="307" y="33"/>
                  </a:cubicBezTo>
                  <a:cubicBezTo>
                    <a:pt x="249" y="0"/>
                    <a:pt x="156" y="0"/>
                    <a:pt x="98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81" y="43"/>
                    <a:pt x="68" y="55"/>
                    <a:pt x="61" y="68"/>
                  </a:cubicBezTo>
                  <a:cubicBezTo>
                    <a:pt x="50" y="70"/>
                    <a:pt x="40" y="74"/>
                    <a:pt x="33" y="78"/>
                  </a:cubicBezTo>
                  <a:cubicBezTo>
                    <a:pt x="19" y="86"/>
                    <a:pt x="12" y="96"/>
                    <a:pt x="12" y="108"/>
                  </a:cubicBezTo>
                  <a:cubicBezTo>
                    <a:pt x="12" y="118"/>
                    <a:pt x="17" y="127"/>
                    <a:pt x="28" y="134"/>
                  </a:cubicBezTo>
                  <a:cubicBezTo>
                    <a:pt x="10" y="144"/>
                    <a:pt x="10" y="144"/>
                    <a:pt x="10" y="144"/>
                  </a:cubicBezTo>
                  <a:cubicBezTo>
                    <a:pt x="4" y="148"/>
                    <a:pt x="0" y="153"/>
                    <a:pt x="0" y="159"/>
                  </a:cubicBezTo>
                  <a:cubicBezTo>
                    <a:pt x="0" y="165"/>
                    <a:pt x="4" y="171"/>
                    <a:pt x="10" y="175"/>
                  </a:cubicBezTo>
                  <a:cubicBezTo>
                    <a:pt x="68" y="208"/>
                    <a:pt x="68" y="208"/>
                    <a:pt x="68" y="208"/>
                  </a:cubicBezTo>
                  <a:cubicBezTo>
                    <a:pt x="74" y="212"/>
                    <a:pt x="83" y="214"/>
                    <a:pt x="91" y="214"/>
                  </a:cubicBezTo>
                  <a:close/>
                  <a:moveTo>
                    <a:pt x="134" y="188"/>
                  </a:moveTo>
                  <a:cubicBezTo>
                    <a:pt x="110" y="202"/>
                    <a:pt x="110" y="202"/>
                    <a:pt x="110" y="202"/>
                  </a:cubicBezTo>
                  <a:cubicBezTo>
                    <a:pt x="100" y="208"/>
                    <a:pt x="82" y="208"/>
                    <a:pt x="72" y="202"/>
                  </a:cubicBezTo>
                  <a:cubicBezTo>
                    <a:pt x="14" y="168"/>
                    <a:pt x="14" y="168"/>
                    <a:pt x="14" y="168"/>
                  </a:cubicBezTo>
                  <a:cubicBezTo>
                    <a:pt x="9" y="166"/>
                    <a:pt x="7" y="163"/>
                    <a:pt x="7" y="159"/>
                  </a:cubicBezTo>
                  <a:cubicBezTo>
                    <a:pt x="7" y="156"/>
                    <a:pt x="9" y="153"/>
                    <a:pt x="14" y="150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36" y="131"/>
                    <a:pt x="36" y="131"/>
                    <a:pt x="36" y="131"/>
                  </a:cubicBezTo>
                  <a:cubicBezTo>
                    <a:pt x="25" y="125"/>
                    <a:pt x="19" y="116"/>
                    <a:pt x="19" y="108"/>
                  </a:cubicBezTo>
                  <a:cubicBezTo>
                    <a:pt x="19" y="99"/>
                    <a:pt x="25" y="91"/>
                    <a:pt x="36" y="84"/>
                  </a:cubicBezTo>
                  <a:cubicBezTo>
                    <a:pt x="44" y="80"/>
                    <a:pt x="53" y="77"/>
                    <a:pt x="64" y="75"/>
                  </a:cubicBezTo>
                  <a:cubicBezTo>
                    <a:pt x="66" y="75"/>
                    <a:pt x="66" y="75"/>
                    <a:pt x="66" y="75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3" y="61"/>
                    <a:pt x="85" y="49"/>
                    <a:pt x="102" y="39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57" y="7"/>
                    <a:pt x="248" y="7"/>
                    <a:pt x="304" y="39"/>
                  </a:cubicBezTo>
                  <a:cubicBezTo>
                    <a:pt x="330" y="54"/>
                    <a:pt x="344" y="74"/>
                    <a:pt x="344" y="95"/>
                  </a:cubicBezTo>
                  <a:cubicBezTo>
                    <a:pt x="344" y="117"/>
                    <a:pt x="330" y="137"/>
                    <a:pt x="304" y="152"/>
                  </a:cubicBezTo>
                  <a:cubicBezTo>
                    <a:pt x="286" y="162"/>
                    <a:pt x="265" y="169"/>
                    <a:pt x="242" y="173"/>
                  </a:cubicBezTo>
                  <a:cubicBezTo>
                    <a:pt x="240" y="173"/>
                    <a:pt x="240" y="173"/>
                    <a:pt x="240" y="173"/>
                  </a:cubicBezTo>
                  <a:cubicBezTo>
                    <a:pt x="239" y="175"/>
                    <a:pt x="239" y="175"/>
                    <a:pt x="239" y="175"/>
                  </a:cubicBezTo>
                  <a:cubicBezTo>
                    <a:pt x="236" y="180"/>
                    <a:pt x="231" y="185"/>
                    <a:pt x="224" y="189"/>
                  </a:cubicBezTo>
                  <a:cubicBezTo>
                    <a:pt x="200" y="203"/>
                    <a:pt x="160" y="203"/>
                    <a:pt x="136" y="189"/>
                  </a:cubicBezTo>
                  <a:lnTo>
                    <a:pt x="134" y="188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6" name="Freeform 1441">
              <a:extLst>
                <a:ext uri="{FF2B5EF4-FFF2-40B4-BE49-F238E27FC236}">
                  <a16:creationId xmlns:a16="http://schemas.microsoft.com/office/drawing/2014/main" id="{7AE9671D-CAD7-4D7E-915A-E816E5C2D9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75354" y="3176386"/>
              <a:ext cx="392895" cy="229365"/>
            </a:xfrm>
            <a:custGeom>
              <a:avLst/>
              <a:gdLst>
                <a:gd name="T0" fmla="*/ 16 w 89"/>
                <a:gd name="T1" fmla="*/ 10 h 52"/>
                <a:gd name="T2" fmla="*/ 16 w 89"/>
                <a:gd name="T3" fmla="*/ 43 h 52"/>
                <a:gd name="T4" fmla="*/ 73 w 89"/>
                <a:gd name="T5" fmla="*/ 43 h 52"/>
                <a:gd name="T6" fmla="*/ 73 w 89"/>
                <a:gd name="T7" fmla="*/ 10 h 52"/>
                <a:gd name="T8" fmla="*/ 16 w 89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52">
                  <a:moveTo>
                    <a:pt x="16" y="10"/>
                  </a:moveTo>
                  <a:cubicBezTo>
                    <a:pt x="0" y="19"/>
                    <a:pt x="0" y="34"/>
                    <a:pt x="16" y="43"/>
                  </a:cubicBezTo>
                  <a:cubicBezTo>
                    <a:pt x="32" y="52"/>
                    <a:pt x="57" y="52"/>
                    <a:pt x="73" y="43"/>
                  </a:cubicBezTo>
                  <a:cubicBezTo>
                    <a:pt x="89" y="34"/>
                    <a:pt x="89" y="19"/>
                    <a:pt x="73" y="10"/>
                  </a:cubicBezTo>
                  <a:cubicBezTo>
                    <a:pt x="57" y="0"/>
                    <a:pt x="32" y="0"/>
                    <a:pt x="16" y="1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7" name="Freeform 1442">
              <a:extLst>
                <a:ext uri="{FF2B5EF4-FFF2-40B4-BE49-F238E27FC236}">
                  <a16:creationId xmlns:a16="http://schemas.microsoft.com/office/drawing/2014/main" id="{7A226317-57D5-47EC-84AC-27A0E185A3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9601" y="3091436"/>
              <a:ext cx="392895" cy="252727"/>
            </a:xfrm>
            <a:custGeom>
              <a:avLst/>
              <a:gdLst>
                <a:gd name="T0" fmla="*/ 44 w 89"/>
                <a:gd name="T1" fmla="*/ 57 h 57"/>
                <a:gd name="T2" fmla="*/ 75 w 89"/>
                <a:gd name="T3" fmla="*/ 49 h 57"/>
                <a:gd name="T4" fmla="*/ 89 w 89"/>
                <a:gd name="T5" fmla="*/ 29 h 57"/>
                <a:gd name="T6" fmla="*/ 75 w 89"/>
                <a:gd name="T7" fmla="*/ 10 h 57"/>
                <a:gd name="T8" fmla="*/ 14 w 89"/>
                <a:gd name="T9" fmla="*/ 10 h 57"/>
                <a:gd name="T10" fmla="*/ 14 w 89"/>
                <a:gd name="T11" fmla="*/ 10 h 57"/>
                <a:gd name="T12" fmla="*/ 0 w 89"/>
                <a:gd name="T13" fmla="*/ 29 h 57"/>
                <a:gd name="T14" fmla="*/ 14 w 89"/>
                <a:gd name="T15" fmla="*/ 49 h 57"/>
                <a:gd name="T16" fmla="*/ 44 w 89"/>
                <a:gd name="T17" fmla="*/ 57 h 57"/>
                <a:gd name="T18" fmla="*/ 44 w 89"/>
                <a:gd name="T19" fmla="*/ 9 h 57"/>
                <a:gd name="T20" fmla="*/ 71 w 89"/>
                <a:gd name="T21" fmla="*/ 16 h 57"/>
                <a:gd name="T22" fmla="*/ 82 w 89"/>
                <a:gd name="T23" fmla="*/ 29 h 57"/>
                <a:gd name="T24" fmla="*/ 71 w 89"/>
                <a:gd name="T25" fmla="*/ 43 h 57"/>
                <a:gd name="T26" fmla="*/ 17 w 89"/>
                <a:gd name="T27" fmla="*/ 43 h 57"/>
                <a:gd name="T28" fmla="*/ 7 w 89"/>
                <a:gd name="T29" fmla="*/ 29 h 57"/>
                <a:gd name="T30" fmla="*/ 17 w 89"/>
                <a:gd name="T31" fmla="*/ 16 h 57"/>
                <a:gd name="T32" fmla="*/ 44 w 89"/>
                <a:gd name="T33" fmla="*/ 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57">
                  <a:moveTo>
                    <a:pt x="44" y="57"/>
                  </a:moveTo>
                  <a:cubicBezTo>
                    <a:pt x="55" y="57"/>
                    <a:pt x="66" y="54"/>
                    <a:pt x="75" y="49"/>
                  </a:cubicBezTo>
                  <a:cubicBezTo>
                    <a:pt x="84" y="44"/>
                    <a:pt x="89" y="37"/>
                    <a:pt x="89" y="29"/>
                  </a:cubicBezTo>
                  <a:cubicBezTo>
                    <a:pt x="89" y="22"/>
                    <a:pt x="84" y="15"/>
                    <a:pt x="75" y="10"/>
                  </a:cubicBezTo>
                  <a:cubicBezTo>
                    <a:pt x="58" y="0"/>
                    <a:pt x="31" y="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5" y="15"/>
                    <a:pt x="0" y="22"/>
                    <a:pt x="0" y="29"/>
                  </a:cubicBezTo>
                  <a:cubicBezTo>
                    <a:pt x="0" y="37"/>
                    <a:pt x="5" y="44"/>
                    <a:pt x="14" y="49"/>
                  </a:cubicBezTo>
                  <a:cubicBezTo>
                    <a:pt x="22" y="54"/>
                    <a:pt x="33" y="57"/>
                    <a:pt x="44" y="57"/>
                  </a:cubicBezTo>
                  <a:close/>
                  <a:moveTo>
                    <a:pt x="44" y="9"/>
                  </a:moveTo>
                  <a:cubicBezTo>
                    <a:pt x="54" y="9"/>
                    <a:pt x="64" y="11"/>
                    <a:pt x="71" y="16"/>
                  </a:cubicBezTo>
                  <a:cubicBezTo>
                    <a:pt x="78" y="19"/>
                    <a:pt x="82" y="24"/>
                    <a:pt x="82" y="29"/>
                  </a:cubicBezTo>
                  <a:cubicBezTo>
                    <a:pt x="82" y="34"/>
                    <a:pt x="78" y="39"/>
                    <a:pt x="71" y="43"/>
                  </a:cubicBezTo>
                  <a:cubicBezTo>
                    <a:pt x="56" y="52"/>
                    <a:pt x="32" y="52"/>
                    <a:pt x="17" y="43"/>
                  </a:cubicBezTo>
                  <a:cubicBezTo>
                    <a:pt x="11" y="39"/>
                    <a:pt x="7" y="34"/>
                    <a:pt x="7" y="29"/>
                  </a:cubicBezTo>
                  <a:cubicBezTo>
                    <a:pt x="7" y="24"/>
                    <a:pt x="11" y="19"/>
                    <a:pt x="17" y="16"/>
                  </a:cubicBezTo>
                  <a:cubicBezTo>
                    <a:pt x="25" y="11"/>
                    <a:pt x="35" y="9"/>
                    <a:pt x="44" y="9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8" name="Freeform 1443">
              <a:extLst>
                <a:ext uri="{FF2B5EF4-FFF2-40B4-BE49-F238E27FC236}">
                  <a16:creationId xmlns:a16="http://schemas.microsoft.com/office/drawing/2014/main" id="{05C3F385-96F9-4627-A294-88ECEAA6D4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03696" y="2964011"/>
              <a:ext cx="397142" cy="229365"/>
            </a:xfrm>
            <a:custGeom>
              <a:avLst/>
              <a:gdLst>
                <a:gd name="T0" fmla="*/ 16 w 90"/>
                <a:gd name="T1" fmla="*/ 10 h 52"/>
                <a:gd name="T2" fmla="*/ 16 w 90"/>
                <a:gd name="T3" fmla="*/ 43 h 52"/>
                <a:gd name="T4" fmla="*/ 74 w 90"/>
                <a:gd name="T5" fmla="*/ 43 h 52"/>
                <a:gd name="T6" fmla="*/ 74 w 90"/>
                <a:gd name="T7" fmla="*/ 10 h 52"/>
                <a:gd name="T8" fmla="*/ 16 w 90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52">
                  <a:moveTo>
                    <a:pt x="16" y="10"/>
                  </a:moveTo>
                  <a:cubicBezTo>
                    <a:pt x="0" y="19"/>
                    <a:pt x="0" y="34"/>
                    <a:pt x="16" y="43"/>
                  </a:cubicBezTo>
                  <a:cubicBezTo>
                    <a:pt x="32" y="52"/>
                    <a:pt x="58" y="52"/>
                    <a:pt x="74" y="43"/>
                  </a:cubicBezTo>
                  <a:cubicBezTo>
                    <a:pt x="90" y="34"/>
                    <a:pt x="90" y="19"/>
                    <a:pt x="74" y="10"/>
                  </a:cubicBezTo>
                  <a:cubicBezTo>
                    <a:pt x="58" y="0"/>
                    <a:pt x="32" y="0"/>
                    <a:pt x="16" y="1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9" name="Freeform 1444">
              <a:extLst>
                <a:ext uri="{FF2B5EF4-FFF2-40B4-BE49-F238E27FC236}">
                  <a16:creationId xmlns:a16="http://schemas.microsoft.com/office/drawing/2014/main" id="{D50A7EBC-345F-403F-87AA-3902CE3F946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12191" y="2876936"/>
              <a:ext cx="388647" cy="250603"/>
            </a:xfrm>
            <a:custGeom>
              <a:avLst/>
              <a:gdLst>
                <a:gd name="T0" fmla="*/ 44 w 88"/>
                <a:gd name="T1" fmla="*/ 57 h 57"/>
                <a:gd name="T2" fmla="*/ 75 w 88"/>
                <a:gd name="T3" fmla="*/ 50 h 57"/>
                <a:gd name="T4" fmla="*/ 88 w 88"/>
                <a:gd name="T5" fmla="*/ 30 h 57"/>
                <a:gd name="T6" fmla="*/ 75 w 88"/>
                <a:gd name="T7" fmla="*/ 10 h 57"/>
                <a:gd name="T8" fmla="*/ 13 w 88"/>
                <a:gd name="T9" fmla="*/ 10 h 57"/>
                <a:gd name="T10" fmla="*/ 13 w 88"/>
                <a:gd name="T11" fmla="*/ 10 h 57"/>
                <a:gd name="T12" fmla="*/ 0 w 88"/>
                <a:gd name="T13" fmla="*/ 30 h 57"/>
                <a:gd name="T14" fmla="*/ 13 w 88"/>
                <a:gd name="T15" fmla="*/ 50 h 57"/>
                <a:gd name="T16" fmla="*/ 44 w 88"/>
                <a:gd name="T17" fmla="*/ 57 h 57"/>
                <a:gd name="T18" fmla="*/ 44 w 88"/>
                <a:gd name="T19" fmla="*/ 10 h 57"/>
                <a:gd name="T20" fmla="*/ 71 w 88"/>
                <a:gd name="T21" fmla="*/ 17 h 57"/>
                <a:gd name="T22" fmla="*/ 81 w 88"/>
                <a:gd name="T23" fmla="*/ 30 h 57"/>
                <a:gd name="T24" fmla="*/ 71 w 88"/>
                <a:gd name="T25" fmla="*/ 44 h 57"/>
                <a:gd name="T26" fmla="*/ 17 w 88"/>
                <a:gd name="T27" fmla="*/ 44 h 57"/>
                <a:gd name="T28" fmla="*/ 7 w 88"/>
                <a:gd name="T29" fmla="*/ 30 h 57"/>
                <a:gd name="T30" fmla="*/ 17 w 88"/>
                <a:gd name="T31" fmla="*/ 17 h 57"/>
                <a:gd name="T32" fmla="*/ 44 w 88"/>
                <a:gd name="T33" fmla="*/ 1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57">
                  <a:moveTo>
                    <a:pt x="44" y="57"/>
                  </a:moveTo>
                  <a:cubicBezTo>
                    <a:pt x="55" y="57"/>
                    <a:pt x="66" y="55"/>
                    <a:pt x="75" y="50"/>
                  </a:cubicBezTo>
                  <a:cubicBezTo>
                    <a:pt x="84" y="45"/>
                    <a:pt x="88" y="38"/>
                    <a:pt x="88" y="30"/>
                  </a:cubicBezTo>
                  <a:cubicBezTo>
                    <a:pt x="88" y="22"/>
                    <a:pt x="84" y="15"/>
                    <a:pt x="75" y="10"/>
                  </a:cubicBezTo>
                  <a:cubicBezTo>
                    <a:pt x="57" y="0"/>
                    <a:pt x="31" y="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5" y="15"/>
                    <a:pt x="0" y="22"/>
                    <a:pt x="0" y="30"/>
                  </a:cubicBezTo>
                  <a:cubicBezTo>
                    <a:pt x="0" y="38"/>
                    <a:pt x="5" y="45"/>
                    <a:pt x="13" y="50"/>
                  </a:cubicBezTo>
                  <a:cubicBezTo>
                    <a:pt x="22" y="55"/>
                    <a:pt x="33" y="57"/>
                    <a:pt x="44" y="57"/>
                  </a:cubicBezTo>
                  <a:close/>
                  <a:moveTo>
                    <a:pt x="44" y="10"/>
                  </a:moveTo>
                  <a:cubicBezTo>
                    <a:pt x="54" y="10"/>
                    <a:pt x="64" y="12"/>
                    <a:pt x="71" y="17"/>
                  </a:cubicBezTo>
                  <a:cubicBezTo>
                    <a:pt x="78" y="20"/>
                    <a:pt x="81" y="25"/>
                    <a:pt x="81" y="30"/>
                  </a:cubicBezTo>
                  <a:cubicBezTo>
                    <a:pt x="81" y="35"/>
                    <a:pt x="78" y="40"/>
                    <a:pt x="71" y="44"/>
                  </a:cubicBezTo>
                  <a:cubicBezTo>
                    <a:pt x="56" y="52"/>
                    <a:pt x="32" y="52"/>
                    <a:pt x="17" y="44"/>
                  </a:cubicBezTo>
                  <a:cubicBezTo>
                    <a:pt x="10" y="40"/>
                    <a:pt x="7" y="35"/>
                    <a:pt x="7" y="30"/>
                  </a:cubicBezTo>
                  <a:cubicBezTo>
                    <a:pt x="7" y="25"/>
                    <a:pt x="10" y="20"/>
                    <a:pt x="17" y="17"/>
                  </a:cubicBezTo>
                  <a:cubicBezTo>
                    <a:pt x="24" y="12"/>
                    <a:pt x="34" y="10"/>
                    <a:pt x="44" y="1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0" name="Freeform 1445">
              <a:extLst>
                <a:ext uri="{FF2B5EF4-FFF2-40B4-BE49-F238E27FC236}">
                  <a16:creationId xmlns:a16="http://schemas.microsoft.com/office/drawing/2014/main" id="{048BCA5F-6169-4DCF-A3C5-DAD64757F4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12191" y="3278326"/>
              <a:ext cx="235737" cy="127425"/>
            </a:xfrm>
            <a:custGeom>
              <a:avLst/>
              <a:gdLst>
                <a:gd name="T0" fmla="*/ 50 w 53"/>
                <a:gd name="T1" fmla="*/ 8 h 29"/>
                <a:gd name="T2" fmla="*/ 43 w 53"/>
                <a:gd name="T3" fmla="*/ 24 h 29"/>
                <a:gd name="T4" fmla="*/ 25 w 53"/>
                <a:gd name="T5" fmla="*/ 26 h 29"/>
                <a:gd name="T6" fmla="*/ 6 w 53"/>
                <a:gd name="T7" fmla="*/ 15 h 29"/>
                <a:gd name="T8" fmla="*/ 11 w 53"/>
                <a:gd name="T9" fmla="*/ 5 h 29"/>
                <a:gd name="T10" fmla="*/ 38 w 53"/>
                <a:gd name="T11" fmla="*/ 1 h 29"/>
                <a:gd name="T12" fmla="*/ 50 w 53"/>
                <a:gd name="T1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29">
                  <a:moveTo>
                    <a:pt x="50" y="8"/>
                  </a:moveTo>
                  <a:cubicBezTo>
                    <a:pt x="43" y="24"/>
                    <a:pt x="43" y="24"/>
                    <a:pt x="43" y="24"/>
                  </a:cubicBezTo>
                  <a:cubicBezTo>
                    <a:pt x="40" y="28"/>
                    <a:pt x="31" y="29"/>
                    <a:pt x="25" y="2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0" y="12"/>
                    <a:pt x="3" y="6"/>
                    <a:pt x="11" y="5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6" y="0"/>
                    <a:pt x="53" y="4"/>
                    <a:pt x="50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1" name="Freeform 1446">
              <a:extLst>
                <a:ext uri="{FF2B5EF4-FFF2-40B4-BE49-F238E27FC236}">
                  <a16:creationId xmlns:a16="http://schemas.microsoft.com/office/drawing/2014/main" id="{7AE28AB0-016C-4DD6-9467-AD3888F19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12191" y="3189129"/>
              <a:ext cx="248480" cy="155035"/>
            </a:xfrm>
            <a:custGeom>
              <a:avLst/>
              <a:gdLst>
                <a:gd name="T0" fmla="*/ 34 w 56"/>
                <a:gd name="T1" fmla="*/ 35 h 35"/>
                <a:gd name="T2" fmla="*/ 39 w 56"/>
                <a:gd name="T3" fmla="*/ 35 h 35"/>
                <a:gd name="T4" fmla="*/ 47 w 56"/>
                <a:gd name="T5" fmla="*/ 29 h 35"/>
                <a:gd name="T6" fmla="*/ 54 w 56"/>
                <a:gd name="T7" fmla="*/ 14 h 35"/>
                <a:gd name="T8" fmla="*/ 54 w 56"/>
                <a:gd name="T9" fmla="*/ 6 h 35"/>
                <a:gd name="T10" fmla="*/ 38 w 56"/>
                <a:gd name="T11" fmla="*/ 1 h 35"/>
                <a:gd name="T12" fmla="*/ 11 w 56"/>
                <a:gd name="T13" fmla="*/ 5 h 35"/>
                <a:gd name="T14" fmla="*/ 0 w 56"/>
                <a:gd name="T15" fmla="*/ 13 h 35"/>
                <a:gd name="T16" fmla="*/ 5 w 56"/>
                <a:gd name="T17" fmla="*/ 22 h 35"/>
                <a:gd name="T18" fmla="*/ 24 w 56"/>
                <a:gd name="T19" fmla="*/ 33 h 35"/>
                <a:gd name="T20" fmla="*/ 34 w 56"/>
                <a:gd name="T21" fmla="*/ 35 h 35"/>
                <a:gd name="T22" fmla="*/ 41 w 56"/>
                <a:gd name="T23" fmla="*/ 8 h 35"/>
                <a:gd name="T24" fmla="*/ 48 w 56"/>
                <a:gd name="T25" fmla="*/ 10 h 35"/>
                <a:gd name="T26" fmla="*/ 48 w 56"/>
                <a:gd name="T27" fmla="*/ 11 h 35"/>
                <a:gd name="T28" fmla="*/ 40 w 56"/>
                <a:gd name="T29" fmla="*/ 26 h 35"/>
                <a:gd name="T30" fmla="*/ 37 w 56"/>
                <a:gd name="T31" fmla="*/ 28 h 35"/>
                <a:gd name="T32" fmla="*/ 28 w 56"/>
                <a:gd name="T33" fmla="*/ 27 h 35"/>
                <a:gd name="T34" fmla="*/ 9 w 56"/>
                <a:gd name="T35" fmla="*/ 16 h 35"/>
                <a:gd name="T36" fmla="*/ 7 w 56"/>
                <a:gd name="T37" fmla="*/ 15 h 35"/>
                <a:gd name="T38" fmla="*/ 12 w 56"/>
                <a:gd name="T39" fmla="*/ 12 h 35"/>
                <a:gd name="T40" fmla="*/ 39 w 56"/>
                <a:gd name="T41" fmla="*/ 8 h 35"/>
                <a:gd name="T42" fmla="*/ 41 w 56"/>
                <a:gd name="T43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35">
                  <a:moveTo>
                    <a:pt x="34" y="35"/>
                  </a:moveTo>
                  <a:cubicBezTo>
                    <a:pt x="35" y="35"/>
                    <a:pt x="37" y="35"/>
                    <a:pt x="39" y="35"/>
                  </a:cubicBezTo>
                  <a:cubicBezTo>
                    <a:pt x="43" y="34"/>
                    <a:pt x="45" y="32"/>
                    <a:pt x="47" y="29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6" y="11"/>
                    <a:pt x="55" y="8"/>
                    <a:pt x="54" y="6"/>
                  </a:cubicBezTo>
                  <a:cubicBezTo>
                    <a:pt x="51" y="2"/>
                    <a:pt x="44" y="0"/>
                    <a:pt x="38" y="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6"/>
                    <a:pt x="1" y="9"/>
                    <a:pt x="0" y="13"/>
                  </a:cubicBezTo>
                  <a:cubicBezTo>
                    <a:pt x="0" y="17"/>
                    <a:pt x="2" y="20"/>
                    <a:pt x="5" y="2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7" y="35"/>
                    <a:pt x="30" y="35"/>
                    <a:pt x="34" y="35"/>
                  </a:cubicBezTo>
                  <a:close/>
                  <a:moveTo>
                    <a:pt x="41" y="8"/>
                  </a:moveTo>
                  <a:cubicBezTo>
                    <a:pt x="45" y="8"/>
                    <a:pt x="48" y="10"/>
                    <a:pt x="48" y="10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39" y="27"/>
                    <a:pt x="37" y="28"/>
                  </a:cubicBezTo>
                  <a:cubicBezTo>
                    <a:pt x="34" y="29"/>
                    <a:pt x="30" y="28"/>
                    <a:pt x="28" y="2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5"/>
                    <a:pt x="7" y="15"/>
                    <a:pt x="7" y="15"/>
                  </a:cubicBezTo>
                  <a:cubicBezTo>
                    <a:pt x="7" y="14"/>
                    <a:pt x="9" y="13"/>
                    <a:pt x="12" y="12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8"/>
                    <a:pt x="41" y="8"/>
                    <a:pt x="41" y="8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2" name="Freeform 1447">
              <a:extLst>
                <a:ext uri="{FF2B5EF4-FFF2-40B4-BE49-F238E27FC236}">
                  <a16:creationId xmlns:a16="http://schemas.microsoft.com/office/drawing/2014/main" id="{256FB22E-5D28-4843-991E-64D52D5182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95649" y="3376019"/>
              <a:ext cx="1919872" cy="651993"/>
            </a:xfrm>
            <a:custGeom>
              <a:avLst/>
              <a:gdLst>
                <a:gd name="T0" fmla="*/ 24 w 435"/>
                <a:gd name="T1" fmla="*/ 19 h 148"/>
                <a:gd name="T2" fmla="*/ 77 w 435"/>
                <a:gd name="T3" fmla="*/ 4 h 148"/>
                <a:gd name="T4" fmla="*/ 102 w 435"/>
                <a:gd name="T5" fmla="*/ 35 h 148"/>
                <a:gd name="T6" fmla="*/ 350 w 435"/>
                <a:gd name="T7" fmla="*/ 87 h 148"/>
                <a:gd name="T8" fmla="*/ 403 w 435"/>
                <a:gd name="T9" fmla="*/ 73 h 148"/>
                <a:gd name="T10" fmla="*/ 428 w 435"/>
                <a:gd name="T11" fmla="*/ 103 h 148"/>
                <a:gd name="T12" fmla="*/ 412 w 435"/>
                <a:gd name="T13" fmla="*/ 115 h 148"/>
                <a:gd name="T14" fmla="*/ 411 w 435"/>
                <a:gd name="T15" fmla="*/ 129 h 148"/>
                <a:gd name="T16" fmla="*/ 359 w 435"/>
                <a:gd name="T17" fmla="*/ 143 h 148"/>
                <a:gd name="T18" fmla="*/ 333 w 435"/>
                <a:gd name="T19" fmla="*/ 115 h 148"/>
                <a:gd name="T20" fmla="*/ 83 w 435"/>
                <a:gd name="T21" fmla="*/ 63 h 148"/>
                <a:gd name="T22" fmla="*/ 33 w 435"/>
                <a:gd name="T23" fmla="*/ 75 h 148"/>
                <a:gd name="T24" fmla="*/ 8 w 435"/>
                <a:gd name="T25" fmla="*/ 44 h 148"/>
                <a:gd name="T26" fmla="*/ 23 w 435"/>
                <a:gd name="T27" fmla="*/ 33 h 148"/>
                <a:gd name="T28" fmla="*/ 24 w 435"/>
                <a:gd name="T29" fmla="*/ 1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5" h="148">
                  <a:moveTo>
                    <a:pt x="24" y="19"/>
                  </a:moveTo>
                  <a:cubicBezTo>
                    <a:pt x="32" y="6"/>
                    <a:pt x="56" y="0"/>
                    <a:pt x="77" y="4"/>
                  </a:cubicBezTo>
                  <a:cubicBezTo>
                    <a:pt x="98" y="9"/>
                    <a:pt x="109" y="22"/>
                    <a:pt x="102" y="35"/>
                  </a:cubicBezTo>
                  <a:cubicBezTo>
                    <a:pt x="350" y="87"/>
                    <a:pt x="350" y="87"/>
                    <a:pt x="350" y="87"/>
                  </a:cubicBezTo>
                  <a:cubicBezTo>
                    <a:pt x="358" y="75"/>
                    <a:pt x="382" y="68"/>
                    <a:pt x="403" y="73"/>
                  </a:cubicBezTo>
                  <a:cubicBezTo>
                    <a:pt x="424" y="77"/>
                    <a:pt x="435" y="91"/>
                    <a:pt x="428" y="103"/>
                  </a:cubicBezTo>
                  <a:cubicBezTo>
                    <a:pt x="425" y="108"/>
                    <a:pt x="419" y="112"/>
                    <a:pt x="412" y="115"/>
                  </a:cubicBezTo>
                  <a:cubicBezTo>
                    <a:pt x="415" y="119"/>
                    <a:pt x="414" y="124"/>
                    <a:pt x="411" y="129"/>
                  </a:cubicBezTo>
                  <a:cubicBezTo>
                    <a:pt x="404" y="141"/>
                    <a:pt x="380" y="148"/>
                    <a:pt x="359" y="143"/>
                  </a:cubicBezTo>
                  <a:cubicBezTo>
                    <a:pt x="339" y="139"/>
                    <a:pt x="328" y="127"/>
                    <a:pt x="333" y="115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74" y="74"/>
                    <a:pt x="52" y="79"/>
                    <a:pt x="33" y="75"/>
                  </a:cubicBezTo>
                  <a:cubicBezTo>
                    <a:pt x="11" y="70"/>
                    <a:pt x="0" y="57"/>
                    <a:pt x="8" y="44"/>
                  </a:cubicBezTo>
                  <a:cubicBezTo>
                    <a:pt x="11" y="39"/>
                    <a:pt x="16" y="36"/>
                    <a:pt x="23" y="33"/>
                  </a:cubicBezTo>
                  <a:cubicBezTo>
                    <a:pt x="21" y="28"/>
                    <a:pt x="21" y="23"/>
                    <a:pt x="24" y="19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3" name="Freeform 1448">
              <a:extLst>
                <a:ext uri="{FF2B5EF4-FFF2-40B4-BE49-F238E27FC236}">
                  <a16:creationId xmlns:a16="http://schemas.microsoft.com/office/drawing/2014/main" id="{E493DEF2-AB7B-4F63-A092-385E0D9FB1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99896" y="3259212"/>
              <a:ext cx="1915625" cy="671106"/>
            </a:xfrm>
            <a:custGeom>
              <a:avLst/>
              <a:gdLst>
                <a:gd name="T0" fmla="*/ 372 w 434"/>
                <a:gd name="T1" fmla="*/ 152 h 152"/>
                <a:gd name="T2" fmla="*/ 413 w 434"/>
                <a:gd name="T3" fmla="*/ 135 h 152"/>
                <a:gd name="T4" fmla="*/ 416 w 434"/>
                <a:gd name="T5" fmla="*/ 121 h 152"/>
                <a:gd name="T6" fmla="*/ 430 w 434"/>
                <a:gd name="T7" fmla="*/ 109 h 152"/>
                <a:gd name="T8" fmla="*/ 431 w 434"/>
                <a:gd name="T9" fmla="*/ 92 h 152"/>
                <a:gd name="T10" fmla="*/ 403 w 434"/>
                <a:gd name="T11" fmla="*/ 73 h 152"/>
                <a:gd name="T12" fmla="*/ 348 w 434"/>
                <a:gd name="T13" fmla="*/ 87 h 152"/>
                <a:gd name="T14" fmla="*/ 106 w 434"/>
                <a:gd name="T15" fmla="*/ 36 h 152"/>
                <a:gd name="T16" fmla="*/ 105 w 434"/>
                <a:gd name="T17" fmla="*/ 24 h 152"/>
                <a:gd name="T18" fmla="*/ 77 w 434"/>
                <a:gd name="T19" fmla="*/ 5 h 152"/>
                <a:gd name="T20" fmla="*/ 20 w 434"/>
                <a:gd name="T21" fmla="*/ 21 h 152"/>
                <a:gd name="T22" fmla="*/ 20 w 434"/>
                <a:gd name="T23" fmla="*/ 21 h 152"/>
                <a:gd name="T24" fmla="*/ 18 w 434"/>
                <a:gd name="T25" fmla="*/ 35 h 152"/>
                <a:gd name="T26" fmla="*/ 4 w 434"/>
                <a:gd name="T27" fmla="*/ 46 h 152"/>
                <a:gd name="T28" fmla="*/ 2 w 434"/>
                <a:gd name="T29" fmla="*/ 63 h 152"/>
                <a:gd name="T30" fmla="*/ 31 w 434"/>
                <a:gd name="T31" fmla="*/ 82 h 152"/>
                <a:gd name="T32" fmla="*/ 84 w 434"/>
                <a:gd name="T33" fmla="*/ 71 h 152"/>
                <a:gd name="T34" fmla="*/ 327 w 434"/>
                <a:gd name="T35" fmla="*/ 122 h 152"/>
                <a:gd name="T36" fmla="*/ 329 w 434"/>
                <a:gd name="T37" fmla="*/ 134 h 152"/>
                <a:gd name="T38" fmla="*/ 357 w 434"/>
                <a:gd name="T39" fmla="*/ 151 h 152"/>
                <a:gd name="T40" fmla="*/ 372 w 434"/>
                <a:gd name="T41" fmla="*/ 152 h 152"/>
                <a:gd name="T42" fmla="*/ 388 w 434"/>
                <a:gd name="T43" fmla="*/ 79 h 152"/>
                <a:gd name="T44" fmla="*/ 401 w 434"/>
                <a:gd name="T45" fmla="*/ 80 h 152"/>
                <a:gd name="T46" fmla="*/ 425 w 434"/>
                <a:gd name="T47" fmla="*/ 95 h 152"/>
                <a:gd name="T48" fmla="*/ 424 w 434"/>
                <a:gd name="T49" fmla="*/ 105 h 152"/>
                <a:gd name="T50" fmla="*/ 410 w 434"/>
                <a:gd name="T51" fmla="*/ 115 h 152"/>
                <a:gd name="T52" fmla="*/ 407 w 434"/>
                <a:gd name="T53" fmla="*/ 117 h 152"/>
                <a:gd name="T54" fmla="*/ 408 w 434"/>
                <a:gd name="T55" fmla="*/ 120 h 152"/>
                <a:gd name="T56" fmla="*/ 407 w 434"/>
                <a:gd name="T57" fmla="*/ 131 h 152"/>
                <a:gd name="T58" fmla="*/ 358 w 434"/>
                <a:gd name="T59" fmla="*/ 144 h 152"/>
                <a:gd name="T60" fmla="*/ 336 w 434"/>
                <a:gd name="T61" fmla="*/ 130 h 152"/>
                <a:gd name="T62" fmla="*/ 335 w 434"/>
                <a:gd name="T63" fmla="*/ 121 h 152"/>
                <a:gd name="T64" fmla="*/ 337 w 434"/>
                <a:gd name="T65" fmla="*/ 117 h 152"/>
                <a:gd name="T66" fmla="*/ 81 w 434"/>
                <a:gd name="T67" fmla="*/ 63 h 152"/>
                <a:gd name="T68" fmla="*/ 80 w 434"/>
                <a:gd name="T69" fmla="*/ 65 h 152"/>
                <a:gd name="T70" fmla="*/ 32 w 434"/>
                <a:gd name="T71" fmla="*/ 75 h 152"/>
                <a:gd name="T72" fmla="*/ 9 w 434"/>
                <a:gd name="T73" fmla="*/ 61 h 152"/>
                <a:gd name="T74" fmla="*/ 10 w 434"/>
                <a:gd name="T75" fmla="*/ 50 h 152"/>
                <a:gd name="T76" fmla="*/ 23 w 434"/>
                <a:gd name="T77" fmla="*/ 40 h 152"/>
                <a:gd name="T78" fmla="*/ 27 w 434"/>
                <a:gd name="T79" fmla="*/ 39 h 152"/>
                <a:gd name="T80" fmla="*/ 25 w 434"/>
                <a:gd name="T81" fmla="*/ 35 h 152"/>
                <a:gd name="T82" fmla="*/ 26 w 434"/>
                <a:gd name="T83" fmla="*/ 24 h 152"/>
                <a:gd name="T84" fmla="*/ 26 w 434"/>
                <a:gd name="T85" fmla="*/ 24 h 152"/>
                <a:gd name="T86" fmla="*/ 75 w 434"/>
                <a:gd name="T87" fmla="*/ 12 h 152"/>
                <a:gd name="T88" fmla="*/ 99 w 434"/>
                <a:gd name="T89" fmla="*/ 26 h 152"/>
                <a:gd name="T90" fmla="*/ 98 w 434"/>
                <a:gd name="T91" fmla="*/ 37 h 152"/>
                <a:gd name="T92" fmla="*/ 95 w 434"/>
                <a:gd name="T93" fmla="*/ 41 h 152"/>
                <a:gd name="T94" fmla="*/ 351 w 434"/>
                <a:gd name="T95" fmla="*/ 95 h 152"/>
                <a:gd name="T96" fmla="*/ 352 w 434"/>
                <a:gd name="T97" fmla="*/ 93 h 152"/>
                <a:gd name="T98" fmla="*/ 388 w 434"/>
                <a:gd name="T99" fmla="*/ 7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4" h="152">
                  <a:moveTo>
                    <a:pt x="372" y="152"/>
                  </a:moveTo>
                  <a:cubicBezTo>
                    <a:pt x="390" y="152"/>
                    <a:pt x="407" y="146"/>
                    <a:pt x="413" y="135"/>
                  </a:cubicBezTo>
                  <a:cubicBezTo>
                    <a:pt x="416" y="130"/>
                    <a:pt x="417" y="125"/>
                    <a:pt x="416" y="121"/>
                  </a:cubicBezTo>
                  <a:cubicBezTo>
                    <a:pt x="422" y="118"/>
                    <a:pt x="427" y="114"/>
                    <a:pt x="430" y="109"/>
                  </a:cubicBezTo>
                  <a:cubicBezTo>
                    <a:pt x="433" y="104"/>
                    <a:pt x="434" y="98"/>
                    <a:pt x="431" y="92"/>
                  </a:cubicBezTo>
                  <a:cubicBezTo>
                    <a:pt x="427" y="83"/>
                    <a:pt x="417" y="76"/>
                    <a:pt x="403" y="73"/>
                  </a:cubicBezTo>
                  <a:cubicBezTo>
                    <a:pt x="381" y="69"/>
                    <a:pt x="357" y="75"/>
                    <a:pt x="348" y="87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7" y="32"/>
                    <a:pt x="107" y="28"/>
                    <a:pt x="105" y="24"/>
                  </a:cubicBezTo>
                  <a:cubicBezTo>
                    <a:pt x="101" y="15"/>
                    <a:pt x="91" y="8"/>
                    <a:pt x="77" y="5"/>
                  </a:cubicBezTo>
                  <a:cubicBezTo>
                    <a:pt x="54" y="0"/>
                    <a:pt x="29" y="7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17" y="25"/>
                    <a:pt x="16" y="30"/>
                    <a:pt x="18" y="35"/>
                  </a:cubicBezTo>
                  <a:cubicBezTo>
                    <a:pt x="12" y="38"/>
                    <a:pt x="7" y="42"/>
                    <a:pt x="4" y="46"/>
                  </a:cubicBezTo>
                  <a:cubicBezTo>
                    <a:pt x="1" y="52"/>
                    <a:pt x="0" y="58"/>
                    <a:pt x="2" y="63"/>
                  </a:cubicBezTo>
                  <a:cubicBezTo>
                    <a:pt x="6" y="72"/>
                    <a:pt x="17" y="79"/>
                    <a:pt x="31" y="82"/>
                  </a:cubicBezTo>
                  <a:cubicBezTo>
                    <a:pt x="51" y="86"/>
                    <a:pt x="73" y="82"/>
                    <a:pt x="84" y="71"/>
                  </a:cubicBezTo>
                  <a:cubicBezTo>
                    <a:pt x="327" y="122"/>
                    <a:pt x="327" y="122"/>
                    <a:pt x="327" y="122"/>
                  </a:cubicBezTo>
                  <a:cubicBezTo>
                    <a:pt x="327" y="126"/>
                    <a:pt x="328" y="130"/>
                    <a:pt x="329" y="134"/>
                  </a:cubicBezTo>
                  <a:cubicBezTo>
                    <a:pt x="334" y="142"/>
                    <a:pt x="344" y="148"/>
                    <a:pt x="357" y="151"/>
                  </a:cubicBezTo>
                  <a:cubicBezTo>
                    <a:pt x="362" y="152"/>
                    <a:pt x="367" y="152"/>
                    <a:pt x="372" y="152"/>
                  </a:cubicBezTo>
                  <a:close/>
                  <a:moveTo>
                    <a:pt x="388" y="79"/>
                  </a:moveTo>
                  <a:cubicBezTo>
                    <a:pt x="392" y="79"/>
                    <a:pt x="397" y="79"/>
                    <a:pt x="401" y="80"/>
                  </a:cubicBezTo>
                  <a:cubicBezTo>
                    <a:pt x="413" y="83"/>
                    <a:pt x="422" y="88"/>
                    <a:pt x="425" y="95"/>
                  </a:cubicBezTo>
                  <a:cubicBezTo>
                    <a:pt x="426" y="98"/>
                    <a:pt x="426" y="102"/>
                    <a:pt x="424" y="105"/>
                  </a:cubicBezTo>
                  <a:cubicBezTo>
                    <a:pt x="421" y="109"/>
                    <a:pt x="416" y="113"/>
                    <a:pt x="410" y="115"/>
                  </a:cubicBezTo>
                  <a:cubicBezTo>
                    <a:pt x="407" y="117"/>
                    <a:pt x="407" y="117"/>
                    <a:pt x="407" y="117"/>
                  </a:cubicBezTo>
                  <a:cubicBezTo>
                    <a:pt x="408" y="120"/>
                    <a:pt x="408" y="120"/>
                    <a:pt x="408" y="120"/>
                  </a:cubicBezTo>
                  <a:cubicBezTo>
                    <a:pt x="410" y="124"/>
                    <a:pt x="410" y="128"/>
                    <a:pt x="407" y="131"/>
                  </a:cubicBezTo>
                  <a:cubicBezTo>
                    <a:pt x="401" y="142"/>
                    <a:pt x="378" y="148"/>
                    <a:pt x="358" y="144"/>
                  </a:cubicBezTo>
                  <a:cubicBezTo>
                    <a:pt x="347" y="141"/>
                    <a:pt x="339" y="136"/>
                    <a:pt x="336" y="130"/>
                  </a:cubicBezTo>
                  <a:cubicBezTo>
                    <a:pt x="334" y="127"/>
                    <a:pt x="334" y="124"/>
                    <a:pt x="335" y="121"/>
                  </a:cubicBezTo>
                  <a:cubicBezTo>
                    <a:pt x="337" y="117"/>
                    <a:pt x="337" y="117"/>
                    <a:pt x="337" y="117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71" y="74"/>
                    <a:pt x="50" y="79"/>
                    <a:pt x="32" y="75"/>
                  </a:cubicBezTo>
                  <a:cubicBezTo>
                    <a:pt x="21" y="73"/>
                    <a:pt x="12" y="67"/>
                    <a:pt x="9" y="61"/>
                  </a:cubicBezTo>
                  <a:cubicBezTo>
                    <a:pt x="7" y="57"/>
                    <a:pt x="8" y="53"/>
                    <a:pt x="10" y="50"/>
                  </a:cubicBezTo>
                  <a:cubicBezTo>
                    <a:pt x="13" y="46"/>
                    <a:pt x="17" y="43"/>
                    <a:pt x="23" y="4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4" y="32"/>
                    <a:pt x="24" y="28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33" y="13"/>
                    <a:pt x="56" y="8"/>
                    <a:pt x="75" y="12"/>
                  </a:cubicBezTo>
                  <a:cubicBezTo>
                    <a:pt x="87" y="14"/>
                    <a:pt x="96" y="20"/>
                    <a:pt x="99" y="26"/>
                  </a:cubicBezTo>
                  <a:cubicBezTo>
                    <a:pt x="100" y="30"/>
                    <a:pt x="100" y="33"/>
                    <a:pt x="98" y="37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351" y="95"/>
                    <a:pt x="351" y="95"/>
                    <a:pt x="351" y="95"/>
                  </a:cubicBezTo>
                  <a:cubicBezTo>
                    <a:pt x="352" y="93"/>
                    <a:pt x="352" y="93"/>
                    <a:pt x="352" y="93"/>
                  </a:cubicBezTo>
                  <a:cubicBezTo>
                    <a:pt x="358" y="84"/>
                    <a:pt x="372" y="79"/>
                    <a:pt x="388" y="79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4" name="Freeform 1449">
              <a:extLst>
                <a:ext uri="{FF2B5EF4-FFF2-40B4-BE49-F238E27FC236}">
                  <a16:creationId xmlns:a16="http://schemas.microsoft.com/office/drawing/2014/main" id="{6723F4C9-2FCA-4D54-8E73-D0E9805C7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05533" y="3144529"/>
              <a:ext cx="1104351" cy="1112846"/>
            </a:xfrm>
            <a:custGeom>
              <a:avLst/>
              <a:gdLst>
                <a:gd name="T0" fmla="*/ 77 w 250"/>
                <a:gd name="T1" fmla="*/ 4 h 252"/>
                <a:gd name="T2" fmla="*/ 130 w 250"/>
                <a:gd name="T3" fmla="*/ 19 h 252"/>
                <a:gd name="T4" fmla="*/ 104 w 250"/>
                <a:gd name="T5" fmla="*/ 49 h 252"/>
                <a:gd name="T6" fmla="*/ 190 w 250"/>
                <a:gd name="T7" fmla="*/ 194 h 252"/>
                <a:gd name="T8" fmla="*/ 243 w 250"/>
                <a:gd name="T9" fmla="*/ 208 h 252"/>
                <a:gd name="T10" fmla="*/ 217 w 250"/>
                <a:gd name="T11" fmla="*/ 239 h 252"/>
                <a:gd name="T12" fmla="*/ 192 w 250"/>
                <a:gd name="T13" fmla="*/ 239 h 252"/>
                <a:gd name="T14" fmla="*/ 172 w 250"/>
                <a:gd name="T15" fmla="*/ 248 h 252"/>
                <a:gd name="T16" fmla="*/ 120 w 250"/>
                <a:gd name="T17" fmla="*/ 233 h 252"/>
                <a:gd name="T18" fmla="*/ 141 w 250"/>
                <a:gd name="T19" fmla="*/ 204 h 252"/>
                <a:gd name="T20" fmla="*/ 55 w 250"/>
                <a:gd name="T21" fmla="*/ 59 h 252"/>
                <a:gd name="T22" fmla="*/ 7 w 250"/>
                <a:gd name="T23" fmla="*/ 43 h 252"/>
                <a:gd name="T24" fmla="*/ 33 w 250"/>
                <a:gd name="T25" fmla="*/ 13 h 252"/>
                <a:gd name="T26" fmla="*/ 57 w 250"/>
                <a:gd name="T27" fmla="*/ 13 h 252"/>
                <a:gd name="T28" fmla="*/ 77 w 250"/>
                <a:gd name="T29" fmla="*/ 4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0" h="252">
                  <a:moveTo>
                    <a:pt x="77" y="4"/>
                  </a:moveTo>
                  <a:cubicBezTo>
                    <a:pt x="99" y="0"/>
                    <a:pt x="122" y="6"/>
                    <a:pt x="130" y="19"/>
                  </a:cubicBezTo>
                  <a:cubicBezTo>
                    <a:pt x="137" y="31"/>
                    <a:pt x="125" y="45"/>
                    <a:pt x="104" y="49"/>
                  </a:cubicBezTo>
                  <a:cubicBezTo>
                    <a:pt x="190" y="194"/>
                    <a:pt x="190" y="194"/>
                    <a:pt x="190" y="194"/>
                  </a:cubicBezTo>
                  <a:cubicBezTo>
                    <a:pt x="212" y="189"/>
                    <a:pt x="235" y="196"/>
                    <a:pt x="243" y="208"/>
                  </a:cubicBezTo>
                  <a:cubicBezTo>
                    <a:pt x="250" y="221"/>
                    <a:pt x="239" y="234"/>
                    <a:pt x="217" y="239"/>
                  </a:cubicBezTo>
                  <a:cubicBezTo>
                    <a:pt x="209" y="240"/>
                    <a:pt x="200" y="240"/>
                    <a:pt x="192" y="239"/>
                  </a:cubicBezTo>
                  <a:cubicBezTo>
                    <a:pt x="187" y="243"/>
                    <a:pt x="181" y="246"/>
                    <a:pt x="172" y="248"/>
                  </a:cubicBezTo>
                  <a:cubicBezTo>
                    <a:pt x="151" y="252"/>
                    <a:pt x="127" y="245"/>
                    <a:pt x="120" y="233"/>
                  </a:cubicBezTo>
                  <a:cubicBezTo>
                    <a:pt x="113" y="221"/>
                    <a:pt x="123" y="209"/>
                    <a:pt x="141" y="204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35" y="61"/>
                    <a:pt x="14" y="55"/>
                    <a:pt x="7" y="43"/>
                  </a:cubicBezTo>
                  <a:cubicBezTo>
                    <a:pt x="0" y="31"/>
                    <a:pt x="11" y="17"/>
                    <a:pt x="33" y="13"/>
                  </a:cubicBezTo>
                  <a:cubicBezTo>
                    <a:pt x="41" y="11"/>
                    <a:pt x="49" y="11"/>
                    <a:pt x="57" y="13"/>
                  </a:cubicBezTo>
                  <a:cubicBezTo>
                    <a:pt x="62" y="9"/>
                    <a:pt x="69" y="6"/>
                    <a:pt x="77" y="4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5" name="Freeform 1450">
              <a:extLst>
                <a:ext uri="{FF2B5EF4-FFF2-40B4-BE49-F238E27FC236}">
                  <a16:creationId xmlns:a16="http://schemas.microsoft.com/office/drawing/2014/main" id="{7B39EFFE-D400-4BF1-A97D-F4AF1DDB80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05533" y="3029846"/>
              <a:ext cx="1100104" cy="1129836"/>
            </a:xfrm>
            <a:custGeom>
              <a:avLst/>
              <a:gdLst>
                <a:gd name="T0" fmla="*/ 159 w 249"/>
                <a:gd name="T1" fmla="*/ 256 h 256"/>
                <a:gd name="T2" fmla="*/ 173 w 249"/>
                <a:gd name="T3" fmla="*/ 255 h 256"/>
                <a:gd name="T4" fmla="*/ 193 w 249"/>
                <a:gd name="T5" fmla="*/ 247 h 256"/>
                <a:gd name="T6" fmla="*/ 218 w 249"/>
                <a:gd name="T7" fmla="*/ 246 h 256"/>
                <a:gd name="T8" fmla="*/ 247 w 249"/>
                <a:gd name="T9" fmla="*/ 228 h 256"/>
                <a:gd name="T10" fmla="*/ 246 w 249"/>
                <a:gd name="T11" fmla="*/ 211 h 256"/>
                <a:gd name="T12" fmla="*/ 192 w 249"/>
                <a:gd name="T13" fmla="*/ 194 h 256"/>
                <a:gd name="T14" fmla="*/ 110 w 249"/>
                <a:gd name="T15" fmla="*/ 55 h 256"/>
                <a:gd name="T16" fmla="*/ 134 w 249"/>
                <a:gd name="T17" fmla="*/ 38 h 256"/>
                <a:gd name="T18" fmla="*/ 133 w 249"/>
                <a:gd name="T19" fmla="*/ 21 h 256"/>
                <a:gd name="T20" fmla="*/ 77 w 249"/>
                <a:gd name="T21" fmla="*/ 4 h 256"/>
                <a:gd name="T22" fmla="*/ 77 w 249"/>
                <a:gd name="T23" fmla="*/ 4 h 256"/>
                <a:gd name="T24" fmla="*/ 56 w 249"/>
                <a:gd name="T25" fmla="*/ 13 h 256"/>
                <a:gd name="T26" fmla="*/ 32 w 249"/>
                <a:gd name="T27" fmla="*/ 13 h 256"/>
                <a:gd name="T28" fmla="*/ 3 w 249"/>
                <a:gd name="T29" fmla="*/ 32 h 256"/>
                <a:gd name="T30" fmla="*/ 4 w 249"/>
                <a:gd name="T31" fmla="*/ 49 h 256"/>
                <a:gd name="T32" fmla="*/ 53 w 249"/>
                <a:gd name="T33" fmla="*/ 66 h 256"/>
                <a:gd name="T34" fmla="*/ 136 w 249"/>
                <a:gd name="T35" fmla="*/ 206 h 256"/>
                <a:gd name="T36" fmla="*/ 116 w 249"/>
                <a:gd name="T37" fmla="*/ 223 h 256"/>
                <a:gd name="T38" fmla="*/ 117 w 249"/>
                <a:gd name="T39" fmla="*/ 239 h 256"/>
                <a:gd name="T40" fmla="*/ 159 w 249"/>
                <a:gd name="T41" fmla="*/ 256 h 256"/>
                <a:gd name="T42" fmla="*/ 191 w 249"/>
                <a:gd name="T43" fmla="*/ 239 h 256"/>
                <a:gd name="T44" fmla="*/ 190 w 249"/>
                <a:gd name="T45" fmla="*/ 240 h 256"/>
                <a:gd name="T46" fmla="*/ 172 w 249"/>
                <a:gd name="T47" fmla="*/ 248 h 256"/>
                <a:gd name="T48" fmla="*/ 123 w 249"/>
                <a:gd name="T49" fmla="*/ 235 h 256"/>
                <a:gd name="T50" fmla="*/ 122 w 249"/>
                <a:gd name="T51" fmla="*/ 225 h 256"/>
                <a:gd name="T52" fmla="*/ 142 w 249"/>
                <a:gd name="T53" fmla="*/ 211 h 256"/>
                <a:gd name="T54" fmla="*/ 147 w 249"/>
                <a:gd name="T55" fmla="*/ 210 h 256"/>
                <a:gd name="T56" fmla="*/ 57 w 249"/>
                <a:gd name="T57" fmla="*/ 59 h 256"/>
                <a:gd name="T58" fmla="*/ 54 w 249"/>
                <a:gd name="T59" fmla="*/ 59 h 256"/>
                <a:gd name="T60" fmla="*/ 10 w 249"/>
                <a:gd name="T61" fmla="*/ 45 h 256"/>
                <a:gd name="T62" fmla="*/ 9 w 249"/>
                <a:gd name="T63" fmla="*/ 35 h 256"/>
                <a:gd name="T64" fmla="*/ 33 w 249"/>
                <a:gd name="T65" fmla="*/ 20 h 256"/>
                <a:gd name="T66" fmla="*/ 57 w 249"/>
                <a:gd name="T67" fmla="*/ 20 h 256"/>
                <a:gd name="T68" fmla="*/ 58 w 249"/>
                <a:gd name="T69" fmla="*/ 20 h 256"/>
                <a:gd name="T70" fmla="*/ 60 w 249"/>
                <a:gd name="T71" fmla="*/ 19 h 256"/>
                <a:gd name="T72" fmla="*/ 78 w 249"/>
                <a:gd name="T73" fmla="*/ 11 h 256"/>
                <a:gd name="T74" fmla="*/ 78 w 249"/>
                <a:gd name="T75" fmla="*/ 11 h 256"/>
                <a:gd name="T76" fmla="*/ 126 w 249"/>
                <a:gd name="T77" fmla="*/ 25 h 256"/>
                <a:gd name="T78" fmla="*/ 127 w 249"/>
                <a:gd name="T79" fmla="*/ 35 h 256"/>
                <a:gd name="T80" fmla="*/ 103 w 249"/>
                <a:gd name="T81" fmla="*/ 49 h 256"/>
                <a:gd name="T82" fmla="*/ 98 w 249"/>
                <a:gd name="T83" fmla="*/ 50 h 256"/>
                <a:gd name="T84" fmla="*/ 188 w 249"/>
                <a:gd name="T85" fmla="*/ 202 h 256"/>
                <a:gd name="T86" fmla="*/ 191 w 249"/>
                <a:gd name="T87" fmla="*/ 201 h 256"/>
                <a:gd name="T88" fmla="*/ 239 w 249"/>
                <a:gd name="T89" fmla="*/ 214 h 256"/>
                <a:gd name="T90" fmla="*/ 240 w 249"/>
                <a:gd name="T91" fmla="*/ 225 h 256"/>
                <a:gd name="T92" fmla="*/ 216 w 249"/>
                <a:gd name="T93" fmla="*/ 239 h 256"/>
                <a:gd name="T94" fmla="*/ 193 w 249"/>
                <a:gd name="T95" fmla="*/ 240 h 256"/>
                <a:gd name="T96" fmla="*/ 191 w 249"/>
                <a:gd name="T97" fmla="*/ 23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9" h="256">
                  <a:moveTo>
                    <a:pt x="159" y="256"/>
                  </a:moveTo>
                  <a:cubicBezTo>
                    <a:pt x="164" y="256"/>
                    <a:pt x="168" y="256"/>
                    <a:pt x="173" y="255"/>
                  </a:cubicBezTo>
                  <a:cubicBezTo>
                    <a:pt x="181" y="253"/>
                    <a:pt x="188" y="251"/>
                    <a:pt x="193" y="247"/>
                  </a:cubicBezTo>
                  <a:cubicBezTo>
                    <a:pt x="201" y="248"/>
                    <a:pt x="210" y="248"/>
                    <a:pt x="218" y="246"/>
                  </a:cubicBezTo>
                  <a:cubicBezTo>
                    <a:pt x="232" y="243"/>
                    <a:pt x="243" y="236"/>
                    <a:pt x="247" y="228"/>
                  </a:cubicBezTo>
                  <a:cubicBezTo>
                    <a:pt x="249" y="222"/>
                    <a:pt x="249" y="216"/>
                    <a:pt x="246" y="211"/>
                  </a:cubicBezTo>
                  <a:cubicBezTo>
                    <a:pt x="238" y="197"/>
                    <a:pt x="214" y="190"/>
                    <a:pt x="192" y="19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21" y="52"/>
                    <a:pt x="130" y="46"/>
                    <a:pt x="134" y="38"/>
                  </a:cubicBezTo>
                  <a:cubicBezTo>
                    <a:pt x="136" y="32"/>
                    <a:pt x="136" y="26"/>
                    <a:pt x="133" y="21"/>
                  </a:cubicBezTo>
                  <a:cubicBezTo>
                    <a:pt x="124" y="7"/>
                    <a:pt x="100" y="0"/>
                    <a:pt x="77" y="4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69" y="6"/>
                    <a:pt x="62" y="9"/>
                    <a:pt x="56" y="13"/>
                  </a:cubicBezTo>
                  <a:cubicBezTo>
                    <a:pt x="48" y="12"/>
                    <a:pt x="40" y="12"/>
                    <a:pt x="32" y="13"/>
                  </a:cubicBezTo>
                  <a:cubicBezTo>
                    <a:pt x="18" y="16"/>
                    <a:pt x="7" y="23"/>
                    <a:pt x="3" y="32"/>
                  </a:cubicBezTo>
                  <a:cubicBezTo>
                    <a:pt x="0" y="38"/>
                    <a:pt x="1" y="44"/>
                    <a:pt x="4" y="49"/>
                  </a:cubicBezTo>
                  <a:cubicBezTo>
                    <a:pt x="11" y="61"/>
                    <a:pt x="32" y="68"/>
                    <a:pt x="53" y="66"/>
                  </a:cubicBezTo>
                  <a:cubicBezTo>
                    <a:pt x="136" y="206"/>
                    <a:pt x="136" y="206"/>
                    <a:pt x="136" y="206"/>
                  </a:cubicBezTo>
                  <a:cubicBezTo>
                    <a:pt x="126" y="209"/>
                    <a:pt x="118" y="215"/>
                    <a:pt x="116" y="223"/>
                  </a:cubicBezTo>
                  <a:cubicBezTo>
                    <a:pt x="113" y="228"/>
                    <a:pt x="114" y="233"/>
                    <a:pt x="117" y="239"/>
                  </a:cubicBezTo>
                  <a:cubicBezTo>
                    <a:pt x="124" y="250"/>
                    <a:pt x="141" y="256"/>
                    <a:pt x="159" y="256"/>
                  </a:cubicBezTo>
                  <a:close/>
                  <a:moveTo>
                    <a:pt x="191" y="239"/>
                  </a:moveTo>
                  <a:cubicBezTo>
                    <a:pt x="190" y="240"/>
                    <a:pt x="190" y="240"/>
                    <a:pt x="190" y="240"/>
                  </a:cubicBezTo>
                  <a:cubicBezTo>
                    <a:pt x="185" y="244"/>
                    <a:pt x="179" y="247"/>
                    <a:pt x="172" y="248"/>
                  </a:cubicBezTo>
                  <a:cubicBezTo>
                    <a:pt x="152" y="252"/>
                    <a:pt x="130" y="246"/>
                    <a:pt x="123" y="235"/>
                  </a:cubicBezTo>
                  <a:cubicBezTo>
                    <a:pt x="121" y="232"/>
                    <a:pt x="121" y="228"/>
                    <a:pt x="122" y="225"/>
                  </a:cubicBezTo>
                  <a:cubicBezTo>
                    <a:pt x="125" y="219"/>
                    <a:pt x="132" y="214"/>
                    <a:pt x="142" y="211"/>
                  </a:cubicBezTo>
                  <a:cubicBezTo>
                    <a:pt x="147" y="210"/>
                    <a:pt x="147" y="210"/>
                    <a:pt x="147" y="210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36" y="61"/>
                    <a:pt x="16" y="55"/>
                    <a:pt x="10" y="45"/>
                  </a:cubicBezTo>
                  <a:cubicBezTo>
                    <a:pt x="8" y="42"/>
                    <a:pt x="8" y="38"/>
                    <a:pt x="9" y="35"/>
                  </a:cubicBezTo>
                  <a:cubicBezTo>
                    <a:pt x="12" y="28"/>
                    <a:pt x="21" y="23"/>
                    <a:pt x="33" y="20"/>
                  </a:cubicBezTo>
                  <a:cubicBezTo>
                    <a:pt x="41" y="19"/>
                    <a:pt x="49" y="19"/>
                    <a:pt x="57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4" y="16"/>
                    <a:pt x="70" y="13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98" y="7"/>
                    <a:pt x="120" y="14"/>
                    <a:pt x="126" y="25"/>
                  </a:cubicBezTo>
                  <a:cubicBezTo>
                    <a:pt x="129" y="28"/>
                    <a:pt x="129" y="31"/>
                    <a:pt x="127" y="35"/>
                  </a:cubicBezTo>
                  <a:cubicBezTo>
                    <a:pt x="124" y="42"/>
                    <a:pt x="115" y="47"/>
                    <a:pt x="103" y="49"/>
                  </a:cubicBezTo>
                  <a:cubicBezTo>
                    <a:pt x="98" y="50"/>
                    <a:pt x="98" y="50"/>
                    <a:pt x="98" y="50"/>
                  </a:cubicBezTo>
                  <a:cubicBezTo>
                    <a:pt x="188" y="202"/>
                    <a:pt x="188" y="202"/>
                    <a:pt x="188" y="202"/>
                  </a:cubicBezTo>
                  <a:cubicBezTo>
                    <a:pt x="191" y="201"/>
                    <a:pt x="191" y="201"/>
                    <a:pt x="191" y="201"/>
                  </a:cubicBezTo>
                  <a:cubicBezTo>
                    <a:pt x="211" y="197"/>
                    <a:pt x="233" y="203"/>
                    <a:pt x="239" y="214"/>
                  </a:cubicBezTo>
                  <a:cubicBezTo>
                    <a:pt x="242" y="218"/>
                    <a:pt x="242" y="221"/>
                    <a:pt x="240" y="225"/>
                  </a:cubicBezTo>
                  <a:cubicBezTo>
                    <a:pt x="237" y="231"/>
                    <a:pt x="228" y="237"/>
                    <a:pt x="216" y="239"/>
                  </a:cubicBezTo>
                  <a:cubicBezTo>
                    <a:pt x="209" y="241"/>
                    <a:pt x="201" y="241"/>
                    <a:pt x="193" y="240"/>
                  </a:cubicBezTo>
                  <a:lnTo>
                    <a:pt x="191" y="239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6" name="Freeform 1451">
              <a:extLst>
                <a:ext uri="{FF2B5EF4-FFF2-40B4-BE49-F238E27FC236}">
                  <a16:creationId xmlns:a16="http://schemas.microsoft.com/office/drawing/2014/main" id="{23A4264B-C0B1-440A-81C0-FD998F14FF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9341" y="3953680"/>
              <a:ext cx="1478132" cy="851626"/>
            </a:xfrm>
            <a:custGeom>
              <a:avLst/>
              <a:gdLst>
                <a:gd name="T0" fmla="*/ 245 w 335"/>
                <a:gd name="T1" fmla="*/ 183 h 193"/>
                <a:gd name="T2" fmla="*/ 17 w 335"/>
                <a:gd name="T3" fmla="*/ 52 h 193"/>
                <a:gd name="T4" fmla="*/ 22 w 335"/>
                <a:gd name="T5" fmla="*/ 13 h 193"/>
                <a:gd name="T6" fmla="*/ 22 w 335"/>
                <a:gd name="T7" fmla="*/ 13 h 193"/>
                <a:gd name="T8" fmla="*/ 90 w 335"/>
                <a:gd name="T9" fmla="*/ 10 h 193"/>
                <a:gd name="T10" fmla="*/ 318 w 335"/>
                <a:gd name="T11" fmla="*/ 141 h 193"/>
                <a:gd name="T12" fmla="*/ 313 w 335"/>
                <a:gd name="T13" fmla="*/ 180 h 193"/>
                <a:gd name="T14" fmla="*/ 313 w 335"/>
                <a:gd name="T15" fmla="*/ 180 h 193"/>
                <a:gd name="T16" fmla="*/ 245 w 335"/>
                <a:gd name="T17" fmla="*/ 18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5" h="193">
                  <a:moveTo>
                    <a:pt x="245" y="183"/>
                  </a:moveTo>
                  <a:cubicBezTo>
                    <a:pt x="17" y="52"/>
                    <a:pt x="17" y="52"/>
                    <a:pt x="17" y="52"/>
                  </a:cubicBezTo>
                  <a:cubicBezTo>
                    <a:pt x="0" y="42"/>
                    <a:pt x="2" y="25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42" y="2"/>
                    <a:pt x="73" y="0"/>
                    <a:pt x="90" y="10"/>
                  </a:cubicBezTo>
                  <a:cubicBezTo>
                    <a:pt x="318" y="141"/>
                    <a:pt x="318" y="141"/>
                    <a:pt x="318" y="141"/>
                  </a:cubicBezTo>
                  <a:cubicBezTo>
                    <a:pt x="335" y="151"/>
                    <a:pt x="333" y="168"/>
                    <a:pt x="313" y="180"/>
                  </a:cubicBezTo>
                  <a:cubicBezTo>
                    <a:pt x="313" y="180"/>
                    <a:pt x="313" y="180"/>
                    <a:pt x="313" y="180"/>
                  </a:cubicBezTo>
                  <a:cubicBezTo>
                    <a:pt x="293" y="192"/>
                    <a:pt x="262" y="193"/>
                    <a:pt x="245" y="183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7" name="Freeform 1452">
              <a:extLst>
                <a:ext uri="{FF2B5EF4-FFF2-40B4-BE49-F238E27FC236}">
                  <a16:creationId xmlns:a16="http://schemas.microsoft.com/office/drawing/2014/main" id="{F0163605-89CD-4D94-B962-50CDBA5A24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33588" y="3860234"/>
              <a:ext cx="1469637" cy="879234"/>
            </a:xfrm>
            <a:custGeom>
              <a:avLst/>
              <a:gdLst>
                <a:gd name="T0" fmla="*/ 273 w 333"/>
                <a:gd name="T1" fmla="*/ 199 h 199"/>
                <a:gd name="T2" fmla="*/ 242 w 333"/>
                <a:gd name="T3" fmla="*/ 191 h 199"/>
                <a:gd name="T4" fmla="*/ 14 w 333"/>
                <a:gd name="T5" fmla="*/ 61 h 199"/>
                <a:gd name="T6" fmla="*/ 0 w 333"/>
                <a:gd name="T7" fmla="*/ 40 h 199"/>
                <a:gd name="T8" fmla="*/ 19 w 333"/>
                <a:gd name="T9" fmla="*/ 14 h 199"/>
                <a:gd name="T10" fmla="*/ 91 w 333"/>
                <a:gd name="T11" fmla="*/ 11 h 199"/>
                <a:gd name="T12" fmla="*/ 319 w 333"/>
                <a:gd name="T13" fmla="*/ 141 h 199"/>
                <a:gd name="T14" fmla="*/ 333 w 333"/>
                <a:gd name="T15" fmla="*/ 162 h 199"/>
                <a:gd name="T16" fmla="*/ 314 w 333"/>
                <a:gd name="T17" fmla="*/ 188 h 199"/>
                <a:gd name="T18" fmla="*/ 273 w 333"/>
                <a:gd name="T19" fmla="*/ 199 h 199"/>
                <a:gd name="T20" fmla="*/ 60 w 333"/>
                <a:gd name="T21" fmla="*/ 10 h 199"/>
                <a:gd name="T22" fmla="*/ 22 w 333"/>
                <a:gd name="T23" fmla="*/ 19 h 199"/>
                <a:gd name="T24" fmla="*/ 6 w 333"/>
                <a:gd name="T25" fmla="*/ 40 h 199"/>
                <a:gd name="T26" fmla="*/ 17 w 333"/>
                <a:gd name="T27" fmla="*/ 55 h 199"/>
                <a:gd name="T28" fmla="*/ 245 w 333"/>
                <a:gd name="T29" fmla="*/ 186 h 199"/>
                <a:gd name="T30" fmla="*/ 273 w 333"/>
                <a:gd name="T31" fmla="*/ 192 h 199"/>
                <a:gd name="T32" fmla="*/ 311 w 333"/>
                <a:gd name="T33" fmla="*/ 183 h 199"/>
                <a:gd name="T34" fmla="*/ 327 w 333"/>
                <a:gd name="T35" fmla="*/ 162 h 199"/>
                <a:gd name="T36" fmla="*/ 316 w 333"/>
                <a:gd name="T37" fmla="*/ 147 h 199"/>
                <a:gd name="T38" fmla="*/ 88 w 333"/>
                <a:gd name="T39" fmla="*/ 16 h 199"/>
                <a:gd name="T40" fmla="*/ 60 w 333"/>
                <a:gd name="T41" fmla="*/ 1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3" h="199">
                  <a:moveTo>
                    <a:pt x="273" y="199"/>
                  </a:moveTo>
                  <a:cubicBezTo>
                    <a:pt x="261" y="199"/>
                    <a:pt x="250" y="196"/>
                    <a:pt x="242" y="19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5" y="56"/>
                    <a:pt x="0" y="48"/>
                    <a:pt x="0" y="40"/>
                  </a:cubicBezTo>
                  <a:cubicBezTo>
                    <a:pt x="0" y="30"/>
                    <a:pt x="7" y="21"/>
                    <a:pt x="19" y="14"/>
                  </a:cubicBezTo>
                  <a:cubicBezTo>
                    <a:pt x="40" y="1"/>
                    <a:pt x="73" y="0"/>
                    <a:pt x="91" y="11"/>
                  </a:cubicBezTo>
                  <a:cubicBezTo>
                    <a:pt x="319" y="141"/>
                    <a:pt x="319" y="141"/>
                    <a:pt x="319" y="141"/>
                  </a:cubicBezTo>
                  <a:cubicBezTo>
                    <a:pt x="328" y="146"/>
                    <a:pt x="333" y="154"/>
                    <a:pt x="333" y="162"/>
                  </a:cubicBezTo>
                  <a:cubicBezTo>
                    <a:pt x="333" y="172"/>
                    <a:pt x="326" y="181"/>
                    <a:pt x="314" y="188"/>
                  </a:cubicBezTo>
                  <a:cubicBezTo>
                    <a:pt x="303" y="195"/>
                    <a:pt x="288" y="199"/>
                    <a:pt x="273" y="199"/>
                  </a:cubicBezTo>
                  <a:close/>
                  <a:moveTo>
                    <a:pt x="60" y="10"/>
                  </a:moveTo>
                  <a:cubicBezTo>
                    <a:pt x="47" y="10"/>
                    <a:pt x="33" y="13"/>
                    <a:pt x="22" y="19"/>
                  </a:cubicBezTo>
                  <a:cubicBezTo>
                    <a:pt x="12" y="25"/>
                    <a:pt x="6" y="32"/>
                    <a:pt x="6" y="40"/>
                  </a:cubicBezTo>
                  <a:cubicBezTo>
                    <a:pt x="6" y="46"/>
                    <a:pt x="10" y="51"/>
                    <a:pt x="17" y="55"/>
                  </a:cubicBezTo>
                  <a:cubicBezTo>
                    <a:pt x="245" y="186"/>
                    <a:pt x="245" y="186"/>
                    <a:pt x="245" y="186"/>
                  </a:cubicBezTo>
                  <a:cubicBezTo>
                    <a:pt x="252" y="190"/>
                    <a:pt x="262" y="192"/>
                    <a:pt x="273" y="192"/>
                  </a:cubicBezTo>
                  <a:cubicBezTo>
                    <a:pt x="287" y="192"/>
                    <a:pt x="301" y="189"/>
                    <a:pt x="311" y="183"/>
                  </a:cubicBezTo>
                  <a:cubicBezTo>
                    <a:pt x="321" y="177"/>
                    <a:pt x="327" y="170"/>
                    <a:pt x="327" y="162"/>
                  </a:cubicBezTo>
                  <a:cubicBezTo>
                    <a:pt x="327" y="156"/>
                    <a:pt x="323" y="151"/>
                    <a:pt x="316" y="147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1" y="12"/>
                    <a:pt x="70" y="10"/>
                    <a:pt x="60" y="1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8" name="Freeform 1453">
              <a:extLst>
                <a:ext uri="{FF2B5EF4-FFF2-40B4-BE49-F238E27FC236}">
                  <a16:creationId xmlns:a16="http://schemas.microsoft.com/office/drawing/2014/main" id="{11830C36-B7D7-430C-9F8C-187099DA1A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86131" y="4129950"/>
              <a:ext cx="225118" cy="131673"/>
            </a:xfrm>
            <a:custGeom>
              <a:avLst/>
              <a:gdLst>
                <a:gd name="T0" fmla="*/ 1 w 51"/>
                <a:gd name="T1" fmla="*/ 12 h 30"/>
                <a:gd name="T2" fmla="*/ 2 w 51"/>
                <a:gd name="T3" fmla="*/ 10 h 30"/>
                <a:gd name="T4" fmla="*/ 46 w 51"/>
                <a:gd name="T5" fmla="*/ 1 h 30"/>
                <a:gd name="T6" fmla="*/ 49 w 51"/>
                <a:gd name="T7" fmla="*/ 1 h 30"/>
                <a:gd name="T8" fmla="*/ 50 w 51"/>
                <a:gd name="T9" fmla="*/ 2 h 30"/>
                <a:gd name="T10" fmla="*/ 50 w 51"/>
                <a:gd name="T11" fmla="*/ 3 h 30"/>
                <a:gd name="T12" fmla="*/ 34 w 51"/>
                <a:gd name="T13" fmla="*/ 29 h 30"/>
                <a:gd name="T14" fmla="*/ 31 w 51"/>
                <a:gd name="T15" fmla="*/ 29 h 30"/>
                <a:gd name="T16" fmla="*/ 30 w 51"/>
                <a:gd name="T17" fmla="*/ 29 h 30"/>
                <a:gd name="T18" fmla="*/ 30 w 51"/>
                <a:gd name="T19" fmla="*/ 27 h 30"/>
                <a:gd name="T20" fmla="*/ 36 w 51"/>
                <a:gd name="T21" fmla="*/ 17 h 30"/>
                <a:gd name="T22" fmla="*/ 22 w 51"/>
                <a:gd name="T23" fmla="*/ 9 h 30"/>
                <a:gd name="T24" fmla="*/ 5 w 51"/>
                <a:gd name="T25" fmla="*/ 13 h 30"/>
                <a:gd name="T26" fmla="*/ 2 w 51"/>
                <a:gd name="T27" fmla="*/ 12 h 30"/>
                <a:gd name="T28" fmla="*/ 1 w 51"/>
                <a:gd name="T29" fmla="*/ 12 h 30"/>
                <a:gd name="T30" fmla="*/ 45 w 51"/>
                <a:gd name="T31" fmla="*/ 4 h 30"/>
                <a:gd name="T32" fmla="*/ 27 w 51"/>
                <a:gd name="T33" fmla="*/ 8 h 30"/>
                <a:gd name="T34" fmla="*/ 38 w 51"/>
                <a:gd name="T35" fmla="*/ 14 h 30"/>
                <a:gd name="T36" fmla="*/ 45 w 51"/>
                <a:gd name="T37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30">
                  <a:moveTo>
                    <a:pt x="1" y="12"/>
                  </a:moveTo>
                  <a:cubicBezTo>
                    <a:pt x="0" y="11"/>
                    <a:pt x="0" y="11"/>
                    <a:pt x="2" y="1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7" y="0"/>
                    <a:pt x="48" y="1"/>
                    <a:pt x="49" y="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2"/>
                    <a:pt x="51" y="3"/>
                    <a:pt x="50" y="3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30"/>
                    <a:pt x="32" y="30"/>
                    <a:pt x="31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29" y="28"/>
                    <a:pt x="29" y="28"/>
                    <a:pt x="30" y="2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13"/>
                    <a:pt x="3" y="13"/>
                    <a:pt x="2" y="12"/>
                  </a:cubicBezTo>
                  <a:lnTo>
                    <a:pt x="1" y="12"/>
                  </a:lnTo>
                  <a:close/>
                  <a:moveTo>
                    <a:pt x="45" y="4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38" y="14"/>
                    <a:pt x="38" y="14"/>
                    <a:pt x="38" y="14"/>
                  </a:cubicBezTo>
                  <a:lnTo>
                    <a:pt x="45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9" name="Freeform 1454">
              <a:extLst>
                <a:ext uri="{FF2B5EF4-FFF2-40B4-BE49-F238E27FC236}">
                  <a16:creationId xmlns:a16="http://schemas.microsoft.com/office/drawing/2014/main" id="{A9169BC7-A541-4578-AC6B-9704D1F68C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5413" y="4187292"/>
              <a:ext cx="159282" cy="127425"/>
            </a:xfrm>
            <a:custGeom>
              <a:avLst/>
              <a:gdLst>
                <a:gd name="T0" fmla="*/ 1 w 36"/>
                <a:gd name="T1" fmla="*/ 20 h 29"/>
                <a:gd name="T2" fmla="*/ 1 w 36"/>
                <a:gd name="T3" fmla="*/ 18 h 29"/>
                <a:gd name="T4" fmla="*/ 31 w 36"/>
                <a:gd name="T5" fmla="*/ 1 h 29"/>
                <a:gd name="T6" fmla="*/ 34 w 36"/>
                <a:gd name="T7" fmla="*/ 1 h 29"/>
                <a:gd name="T8" fmla="*/ 35 w 36"/>
                <a:gd name="T9" fmla="*/ 1 h 29"/>
                <a:gd name="T10" fmla="*/ 35 w 36"/>
                <a:gd name="T11" fmla="*/ 2 h 29"/>
                <a:gd name="T12" fmla="*/ 6 w 36"/>
                <a:gd name="T13" fmla="*/ 19 h 29"/>
                <a:gd name="T14" fmla="*/ 20 w 36"/>
                <a:gd name="T15" fmla="*/ 27 h 29"/>
                <a:gd name="T16" fmla="*/ 20 w 36"/>
                <a:gd name="T17" fmla="*/ 29 h 29"/>
                <a:gd name="T18" fmla="*/ 20 w 36"/>
                <a:gd name="T19" fmla="*/ 29 h 29"/>
                <a:gd name="T20" fmla="*/ 17 w 36"/>
                <a:gd name="T21" fmla="*/ 29 h 29"/>
                <a:gd name="T22" fmla="*/ 1 w 36"/>
                <a:gd name="T23" fmla="*/ 2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9">
                  <a:moveTo>
                    <a:pt x="1" y="20"/>
                  </a:moveTo>
                  <a:cubicBezTo>
                    <a:pt x="0" y="19"/>
                    <a:pt x="0" y="19"/>
                    <a:pt x="1" y="18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2" y="0"/>
                    <a:pt x="33" y="0"/>
                    <a:pt x="34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6" y="1"/>
                    <a:pt x="36" y="2"/>
                    <a:pt x="35" y="2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1" y="27"/>
                    <a:pt x="21" y="28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29"/>
                    <a:pt x="18" y="29"/>
                    <a:pt x="17" y="29"/>
                  </a:cubicBezTo>
                  <a:lnTo>
                    <a:pt x="1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0" name="Freeform 1455">
              <a:extLst>
                <a:ext uri="{FF2B5EF4-FFF2-40B4-BE49-F238E27FC236}">
                  <a16:creationId xmlns:a16="http://schemas.microsoft.com/office/drawing/2014/main" id="{8F17CB59-1990-4160-AEF1-4AB618E692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1601" y="4248881"/>
              <a:ext cx="225118" cy="127425"/>
            </a:xfrm>
            <a:custGeom>
              <a:avLst/>
              <a:gdLst>
                <a:gd name="T0" fmla="*/ 1 w 51"/>
                <a:gd name="T1" fmla="*/ 19 h 29"/>
                <a:gd name="T2" fmla="*/ 1 w 51"/>
                <a:gd name="T3" fmla="*/ 18 h 29"/>
                <a:gd name="T4" fmla="*/ 31 w 51"/>
                <a:gd name="T5" fmla="*/ 0 h 29"/>
                <a:gd name="T6" fmla="*/ 34 w 51"/>
                <a:gd name="T7" fmla="*/ 0 h 29"/>
                <a:gd name="T8" fmla="*/ 50 w 51"/>
                <a:gd name="T9" fmla="*/ 10 h 29"/>
                <a:gd name="T10" fmla="*/ 50 w 51"/>
                <a:gd name="T11" fmla="*/ 11 h 29"/>
                <a:gd name="T12" fmla="*/ 50 w 51"/>
                <a:gd name="T13" fmla="*/ 12 h 29"/>
                <a:gd name="T14" fmla="*/ 47 w 51"/>
                <a:gd name="T15" fmla="*/ 12 h 29"/>
                <a:gd name="T16" fmla="*/ 33 w 51"/>
                <a:gd name="T17" fmla="*/ 3 h 29"/>
                <a:gd name="T18" fmla="*/ 23 w 51"/>
                <a:gd name="T19" fmla="*/ 9 h 29"/>
                <a:gd name="T20" fmla="*/ 37 w 51"/>
                <a:gd name="T21" fmla="*/ 16 h 29"/>
                <a:gd name="T22" fmla="*/ 37 w 51"/>
                <a:gd name="T23" fmla="*/ 18 h 29"/>
                <a:gd name="T24" fmla="*/ 37 w 51"/>
                <a:gd name="T25" fmla="*/ 18 h 29"/>
                <a:gd name="T26" fmla="*/ 34 w 51"/>
                <a:gd name="T27" fmla="*/ 18 h 29"/>
                <a:gd name="T28" fmla="*/ 20 w 51"/>
                <a:gd name="T29" fmla="*/ 10 h 29"/>
                <a:gd name="T30" fmla="*/ 6 w 51"/>
                <a:gd name="T31" fmla="*/ 19 h 29"/>
                <a:gd name="T32" fmla="*/ 20 w 51"/>
                <a:gd name="T33" fmla="*/ 27 h 29"/>
                <a:gd name="T34" fmla="*/ 20 w 51"/>
                <a:gd name="T35" fmla="*/ 29 h 29"/>
                <a:gd name="T36" fmla="*/ 20 w 51"/>
                <a:gd name="T37" fmla="*/ 29 h 29"/>
                <a:gd name="T38" fmla="*/ 17 w 51"/>
                <a:gd name="T39" fmla="*/ 29 h 29"/>
                <a:gd name="T40" fmla="*/ 1 w 51"/>
                <a:gd name="T4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29">
                  <a:moveTo>
                    <a:pt x="1" y="19"/>
                  </a:moveTo>
                  <a:cubicBezTo>
                    <a:pt x="0" y="19"/>
                    <a:pt x="0" y="18"/>
                    <a:pt x="1" y="18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3" y="0"/>
                    <a:pt x="34" y="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1" y="10"/>
                    <a:pt x="51" y="11"/>
                    <a:pt x="50" y="11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49" y="12"/>
                    <a:pt x="48" y="12"/>
                    <a:pt x="47" y="12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7"/>
                    <a:pt x="38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6" y="19"/>
                    <a:pt x="35" y="19"/>
                    <a:pt x="34" y="18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1" y="27"/>
                    <a:pt x="21" y="28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29"/>
                    <a:pt x="18" y="29"/>
                    <a:pt x="17" y="29"/>
                  </a:cubicBezTo>
                  <a:lnTo>
                    <a:pt x="1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1" name="Freeform 1456">
              <a:extLst>
                <a:ext uri="{FF2B5EF4-FFF2-40B4-BE49-F238E27FC236}">
                  <a16:creationId xmlns:a16="http://schemas.microsoft.com/office/drawing/2014/main" id="{6BE0E762-E75C-4AC3-9CF1-666C81D128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62036" y="4310470"/>
              <a:ext cx="220870" cy="142292"/>
            </a:xfrm>
            <a:custGeom>
              <a:avLst/>
              <a:gdLst>
                <a:gd name="T0" fmla="*/ 1 w 50"/>
                <a:gd name="T1" fmla="*/ 20 h 32"/>
                <a:gd name="T2" fmla="*/ 1 w 50"/>
                <a:gd name="T3" fmla="*/ 18 h 32"/>
                <a:gd name="T4" fmla="*/ 31 w 50"/>
                <a:gd name="T5" fmla="*/ 1 h 32"/>
                <a:gd name="T6" fmla="*/ 34 w 50"/>
                <a:gd name="T7" fmla="*/ 1 h 32"/>
                <a:gd name="T8" fmla="*/ 44 w 50"/>
                <a:gd name="T9" fmla="*/ 6 h 32"/>
                <a:gd name="T10" fmla="*/ 44 w 50"/>
                <a:gd name="T11" fmla="*/ 18 h 32"/>
                <a:gd name="T12" fmla="*/ 26 w 50"/>
                <a:gd name="T13" fmla="*/ 20 h 32"/>
                <a:gd name="T14" fmla="*/ 24 w 50"/>
                <a:gd name="T15" fmla="*/ 31 h 32"/>
                <a:gd name="T16" fmla="*/ 21 w 50"/>
                <a:gd name="T17" fmla="*/ 32 h 32"/>
                <a:gd name="T18" fmla="*/ 20 w 50"/>
                <a:gd name="T19" fmla="*/ 31 h 32"/>
                <a:gd name="T20" fmla="*/ 19 w 50"/>
                <a:gd name="T21" fmla="*/ 29 h 32"/>
                <a:gd name="T22" fmla="*/ 22 w 50"/>
                <a:gd name="T23" fmla="*/ 17 h 32"/>
                <a:gd name="T24" fmla="*/ 16 w 50"/>
                <a:gd name="T25" fmla="*/ 14 h 32"/>
                <a:gd name="T26" fmla="*/ 4 w 50"/>
                <a:gd name="T27" fmla="*/ 20 h 32"/>
                <a:gd name="T28" fmla="*/ 1 w 50"/>
                <a:gd name="T29" fmla="*/ 20 h 32"/>
                <a:gd name="T30" fmla="*/ 26 w 50"/>
                <a:gd name="T31" fmla="*/ 16 h 32"/>
                <a:gd name="T32" fmla="*/ 40 w 50"/>
                <a:gd name="T33" fmla="*/ 16 h 32"/>
                <a:gd name="T34" fmla="*/ 40 w 50"/>
                <a:gd name="T35" fmla="*/ 8 h 32"/>
                <a:gd name="T36" fmla="*/ 33 w 50"/>
                <a:gd name="T37" fmla="*/ 4 h 32"/>
                <a:gd name="T38" fmla="*/ 19 w 50"/>
                <a:gd name="T39" fmla="*/ 12 h 32"/>
                <a:gd name="T40" fmla="*/ 26 w 50"/>
                <a:gd name="T4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32">
                  <a:moveTo>
                    <a:pt x="1" y="20"/>
                  </a:moveTo>
                  <a:cubicBezTo>
                    <a:pt x="0" y="19"/>
                    <a:pt x="0" y="19"/>
                    <a:pt x="1" y="18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2" y="0"/>
                    <a:pt x="33" y="0"/>
                    <a:pt x="34" y="1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50" y="10"/>
                    <a:pt x="50" y="15"/>
                    <a:pt x="44" y="18"/>
                  </a:cubicBezTo>
                  <a:cubicBezTo>
                    <a:pt x="39" y="21"/>
                    <a:pt x="32" y="22"/>
                    <a:pt x="26" y="2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4" y="32"/>
                    <a:pt x="22" y="32"/>
                    <a:pt x="21" y="32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9" y="31"/>
                    <a:pt x="19" y="30"/>
                    <a:pt x="19" y="29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3" y="21"/>
                    <a:pt x="2" y="21"/>
                    <a:pt x="1" y="20"/>
                  </a:cubicBezTo>
                  <a:close/>
                  <a:moveTo>
                    <a:pt x="26" y="16"/>
                  </a:moveTo>
                  <a:cubicBezTo>
                    <a:pt x="30" y="19"/>
                    <a:pt x="36" y="19"/>
                    <a:pt x="40" y="16"/>
                  </a:cubicBezTo>
                  <a:cubicBezTo>
                    <a:pt x="45" y="14"/>
                    <a:pt x="45" y="11"/>
                    <a:pt x="40" y="8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19" y="12"/>
                    <a:pt x="19" y="12"/>
                    <a:pt x="19" y="12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2" name="Freeform 1457">
              <a:extLst>
                <a:ext uri="{FF2B5EF4-FFF2-40B4-BE49-F238E27FC236}">
                  <a16:creationId xmlns:a16="http://schemas.microsoft.com/office/drawing/2014/main" id="{5E41D4E5-7855-4388-8757-999F8398DC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7069" y="4372058"/>
              <a:ext cx="206005" cy="118930"/>
            </a:xfrm>
            <a:custGeom>
              <a:avLst/>
              <a:gdLst>
                <a:gd name="T0" fmla="*/ 1 w 47"/>
                <a:gd name="T1" fmla="*/ 26 h 27"/>
                <a:gd name="T2" fmla="*/ 1 w 47"/>
                <a:gd name="T3" fmla="*/ 25 h 27"/>
                <a:gd name="T4" fmla="*/ 30 w 47"/>
                <a:gd name="T5" fmla="*/ 8 h 27"/>
                <a:gd name="T6" fmla="*/ 20 w 47"/>
                <a:gd name="T7" fmla="*/ 3 h 27"/>
                <a:gd name="T8" fmla="*/ 20 w 47"/>
                <a:gd name="T9" fmla="*/ 1 h 27"/>
                <a:gd name="T10" fmla="*/ 20 w 47"/>
                <a:gd name="T11" fmla="*/ 1 h 27"/>
                <a:gd name="T12" fmla="*/ 23 w 47"/>
                <a:gd name="T13" fmla="*/ 1 h 27"/>
                <a:gd name="T14" fmla="*/ 46 w 47"/>
                <a:gd name="T15" fmla="*/ 14 h 27"/>
                <a:gd name="T16" fmla="*/ 46 w 47"/>
                <a:gd name="T17" fmla="*/ 16 h 27"/>
                <a:gd name="T18" fmla="*/ 46 w 47"/>
                <a:gd name="T19" fmla="*/ 16 h 27"/>
                <a:gd name="T20" fmla="*/ 43 w 47"/>
                <a:gd name="T21" fmla="*/ 16 h 27"/>
                <a:gd name="T22" fmla="*/ 33 w 47"/>
                <a:gd name="T23" fmla="*/ 10 h 27"/>
                <a:gd name="T24" fmla="*/ 5 w 47"/>
                <a:gd name="T25" fmla="*/ 27 h 27"/>
                <a:gd name="T26" fmla="*/ 2 w 47"/>
                <a:gd name="T27" fmla="*/ 27 h 27"/>
                <a:gd name="T28" fmla="*/ 1 w 47"/>
                <a:gd name="T2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27">
                  <a:moveTo>
                    <a:pt x="1" y="26"/>
                  </a:moveTo>
                  <a:cubicBezTo>
                    <a:pt x="0" y="26"/>
                    <a:pt x="0" y="25"/>
                    <a:pt x="1" y="25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2"/>
                    <a:pt x="19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0"/>
                    <a:pt x="22" y="0"/>
                    <a:pt x="23" y="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7" y="14"/>
                    <a:pt x="47" y="15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5" y="16"/>
                    <a:pt x="44" y="16"/>
                    <a:pt x="43" y="16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lnTo>
                    <a:pt x="1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3" name="Freeform 1458">
              <a:extLst>
                <a:ext uri="{FF2B5EF4-FFF2-40B4-BE49-F238E27FC236}">
                  <a16:creationId xmlns:a16="http://schemas.microsoft.com/office/drawing/2014/main" id="{38220D8D-6560-48D8-99F0-8B0F6A0D6A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23" y="5586845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4" name="Freeform 1459">
              <a:extLst>
                <a:ext uri="{FF2B5EF4-FFF2-40B4-BE49-F238E27FC236}">
                  <a16:creationId xmlns:a16="http://schemas.microsoft.com/office/drawing/2014/main" id="{D4A6F6AC-19B6-4AFB-8CDA-2962EFEC44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7965" y="555498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5" name="Freeform 1460">
              <a:extLst>
                <a:ext uri="{FF2B5EF4-FFF2-40B4-BE49-F238E27FC236}">
                  <a16:creationId xmlns:a16="http://schemas.microsoft.com/office/drawing/2014/main" id="{62FCB71A-82DE-47FA-B5B9-31DEAE1C66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058" y="552525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6" name="Freeform 1461">
              <a:extLst>
                <a:ext uri="{FF2B5EF4-FFF2-40B4-BE49-F238E27FC236}">
                  <a16:creationId xmlns:a16="http://schemas.microsoft.com/office/drawing/2014/main" id="{001A577B-3FE4-4593-9ACD-7061126139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48400" y="5493400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7" name="Freeform 1462">
              <a:extLst>
                <a:ext uri="{FF2B5EF4-FFF2-40B4-BE49-F238E27FC236}">
                  <a16:creationId xmlns:a16="http://schemas.microsoft.com/office/drawing/2014/main" id="{D6617854-51E1-407E-9C90-264FE278CE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1493" y="546366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8" name="Freeform 1463">
              <a:extLst>
                <a:ext uri="{FF2B5EF4-FFF2-40B4-BE49-F238E27FC236}">
                  <a16:creationId xmlns:a16="http://schemas.microsoft.com/office/drawing/2014/main" id="{0CED5529-A7B9-48A8-8271-D90D2B2202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58835" y="542756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9" name="Freeform 1464">
              <a:extLst>
                <a:ext uri="{FF2B5EF4-FFF2-40B4-BE49-F238E27FC236}">
                  <a16:creationId xmlns:a16="http://schemas.microsoft.com/office/drawing/2014/main" id="{BB204AF8-3DFA-417A-BF25-FA78EAAFA6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0187" y="565268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0" name="Freeform 1465">
              <a:extLst>
                <a:ext uri="{FF2B5EF4-FFF2-40B4-BE49-F238E27FC236}">
                  <a16:creationId xmlns:a16="http://schemas.microsoft.com/office/drawing/2014/main" id="{EBF155E2-3C11-4E60-BB53-470E7507B4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7529" y="5622949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1" name="Freeform 1466">
              <a:extLst>
                <a:ext uri="{FF2B5EF4-FFF2-40B4-BE49-F238E27FC236}">
                  <a16:creationId xmlns:a16="http://schemas.microsoft.com/office/drawing/2014/main" id="{6CA75DB9-8A3B-4F92-A901-121F8E6F2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59752" y="5652682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2" name="Freeform 1467">
              <a:extLst>
                <a:ext uri="{FF2B5EF4-FFF2-40B4-BE49-F238E27FC236}">
                  <a16:creationId xmlns:a16="http://schemas.microsoft.com/office/drawing/2014/main" id="{E1B1FF39-333E-49FB-B529-EB566FF6EF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7529" y="555498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3" name="Freeform 1468">
              <a:extLst>
                <a:ext uri="{FF2B5EF4-FFF2-40B4-BE49-F238E27FC236}">
                  <a16:creationId xmlns:a16="http://schemas.microsoft.com/office/drawing/2014/main" id="{125F2734-C0FA-40C1-803C-57ACCB69C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23" y="552525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4" name="Freeform 1469">
              <a:extLst>
                <a:ext uri="{FF2B5EF4-FFF2-40B4-BE49-F238E27FC236}">
                  <a16:creationId xmlns:a16="http://schemas.microsoft.com/office/drawing/2014/main" id="{81FBE9E3-5630-4BD1-9E44-08ACF2FA4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7965" y="549340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5" name="Freeform 1470">
              <a:extLst>
                <a:ext uri="{FF2B5EF4-FFF2-40B4-BE49-F238E27FC236}">
                  <a16:creationId xmlns:a16="http://schemas.microsoft.com/office/drawing/2014/main" id="{36AADF5A-00D5-4813-B9B9-640517CCB1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058" y="546366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6" name="Freeform 1471">
              <a:extLst>
                <a:ext uri="{FF2B5EF4-FFF2-40B4-BE49-F238E27FC236}">
                  <a16:creationId xmlns:a16="http://schemas.microsoft.com/office/drawing/2014/main" id="{472E9219-2EB0-491D-BF27-C0C2EDF601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48400" y="542756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7" name="Freeform 1472">
              <a:extLst>
                <a:ext uri="{FF2B5EF4-FFF2-40B4-BE49-F238E27FC236}">
                  <a16:creationId xmlns:a16="http://schemas.microsoft.com/office/drawing/2014/main" id="{9CF208AA-BF65-4F09-9B5E-E462C762EB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1493" y="539783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1 w 8"/>
                <a:gd name="T5" fmla="*/ 4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8" name="Freeform 1473">
              <a:extLst>
                <a:ext uri="{FF2B5EF4-FFF2-40B4-BE49-F238E27FC236}">
                  <a16:creationId xmlns:a16="http://schemas.microsoft.com/office/drawing/2014/main" id="{940D39E7-166D-407F-B081-AD7496AACB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17094" y="5622949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9" name="Freeform 1474">
              <a:extLst>
                <a:ext uri="{FF2B5EF4-FFF2-40B4-BE49-F238E27FC236}">
                  <a16:creationId xmlns:a16="http://schemas.microsoft.com/office/drawing/2014/main" id="{07828EBA-D3CA-445E-BD2C-760F5FAA69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0187" y="5586845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0" name="Freeform 1475">
              <a:extLst>
                <a:ext uri="{FF2B5EF4-FFF2-40B4-BE49-F238E27FC236}">
                  <a16:creationId xmlns:a16="http://schemas.microsoft.com/office/drawing/2014/main" id="{32CC97C0-2D54-4B7C-A7D2-3D39E1F79B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17094" y="555498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1" name="Freeform 1476">
              <a:extLst>
                <a:ext uri="{FF2B5EF4-FFF2-40B4-BE49-F238E27FC236}">
                  <a16:creationId xmlns:a16="http://schemas.microsoft.com/office/drawing/2014/main" id="{50CE8A93-55B0-46AC-91EF-9BE7AFABEE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0187" y="552525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2" name="Freeform 1477">
              <a:extLst>
                <a:ext uri="{FF2B5EF4-FFF2-40B4-BE49-F238E27FC236}">
                  <a16:creationId xmlns:a16="http://schemas.microsoft.com/office/drawing/2014/main" id="{CA62CC3B-605C-45F7-93F4-CCFA7227F4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7529" y="549340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3" name="Freeform 1478">
              <a:extLst>
                <a:ext uri="{FF2B5EF4-FFF2-40B4-BE49-F238E27FC236}">
                  <a16:creationId xmlns:a16="http://schemas.microsoft.com/office/drawing/2014/main" id="{4B129205-68A7-4D83-BCC8-BE782A35D4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23" y="546366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4" name="Freeform 1479">
              <a:extLst>
                <a:ext uri="{FF2B5EF4-FFF2-40B4-BE49-F238E27FC236}">
                  <a16:creationId xmlns:a16="http://schemas.microsoft.com/office/drawing/2014/main" id="{16FA109B-8E61-4411-A997-C22DF51BE3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7965" y="542756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5" name="Freeform 1480">
              <a:extLst>
                <a:ext uri="{FF2B5EF4-FFF2-40B4-BE49-F238E27FC236}">
                  <a16:creationId xmlns:a16="http://schemas.microsoft.com/office/drawing/2014/main" id="{5DA2462C-6EAA-4BEE-9579-491EC18ECE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058" y="539783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6" name="Freeform 1481">
              <a:extLst>
                <a:ext uri="{FF2B5EF4-FFF2-40B4-BE49-F238E27FC236}">
                  <a16:creationId xmlns:a16="http://schemas.microsoft.com/office/drawing/2014/main" id="{5FE6C6EB-50FA-4126-B7E7-F14C776679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48400" y="536597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7" name="Freeform 1482">
              <a:extLst>
                <a:ext uri="{FF2B5EF4-FFF2-40B4-BE49-F238E27FC236}">
                  <a16:creationId xmlns:a16="http://schemas.microsoft.com/office/drawing/2014/main" id="{52516919-85D6-4A1A-8C51-28177F1C54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06659" y="5622949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8" name="Freeform 1483">
              <a:extLst>
                <a:ext uri="{FF2B5EF4-FFF2-40B4-BE49-F238E27FC236}">
                  <a16:creationId xmlns:a16="http://schemas.microsoft.com/office/drawing/2014/main" id="{B4B6300F-FA5F-4FD3-B97C-D83D916EAE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59752" y="5586845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9" name="Freeform 1484">
              <a:extLst>
                <a:ext uri="{FF2B5EF4-FFF2-40B4-BE49-F238E27FC236}">
                  <a16:creationId xmlns:a16="http://schemas.microsoft.com/office/drawing/2014/main" id="{973E1226-6470-4842-A8BF-43A611F760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59752" y="552525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0" name="Freeform 1485">
              <a:extLst>
                <a:ext uri="{FF2B5EF4-FFF2-40B4-BE49-F238E27FC236}">
                  <a16:creationId xmlns:a16="http://schemas.microsoft.com/office/drawing/2014/main" id="{8D5545A8-0A69-4E8B-AE1F-F3EB63D12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17094" y="549340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1" name="Freeform 1486">
              <a:extLst>
                <a:ext uri="{FF2B5EF4-FFF2-40B4-BE49-F238E27FC236}">
                  <a16:creationId xmlns:a16="http://schemas.microsoft.com/office/drawing/2014/main" id="{7ED3CE74-EF96-4177-8FC9-C20E975AD0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0187" y="546366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2" name="Freeform 1487">
              <a:extLst>
                <a:ext uri="{FF2B5EF4-FFF2-40B4-BE49-F238E27FC236}">
                  <a16:creationId xmlns:a16="http://schemas.microsoft.com/office/drawing/2014/main" id="{62CA8865-467E-41F6-8549-CB872AED2C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7529" y="542756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3" name="Freeform 1488">
              <a:extLst>
                <a:ext uri="{FF2B5EF4-FFF2-40B4-BE49-F238E27FC236}">
                  <a16:creationId xmlns:a16="http://schemas.microsoft.com/office/drawing/2014/main" id="{B9530541-1940-4113-9E86-4245D8DEB0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23" y="539783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4" name="Freeform 1489">
              <a:extLst>
                <a:ext uri="{FF2B5EF4-FFF2-40B4-BE49-F238E27FC236}">
                  <a16:creationId xmlns:a16="http://schemas.microsoft.com/office/drawing/2014/main" id="{FF5B288E-C079-4583-B7B1-2A238387AA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7965" y="536597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5" name="Freeform 1490">
              <a:extLst>
                <a:ext uri="{FF2B5EF4-FFF2-40B4-BE49-F238E27FC236}">
                  <a16:creationId xmlns:a16="http://schemas.microsoft.com/office/drawing/2014/main" id="{A8DA426C-2EFA-44CB-A03C-F663019EE7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058" y="5334119"/>
              <a:ext cx="33980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6" name="Freeform 1491">
              <a:extLst>
                <a:ext uri="{FF2B5EF4-FFF2-40B4-BE49-F238E27FC236}">
                  <a16:creationId xmlns:a16="http://schemas.microsoft.com/office/drawing/2014/main" id="{74F9795F-76C3-476D-94C6-8657B0429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9317" y="5586845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7" name="Freeform 1492">
              <a:extLst>
                <a:ext uri="{FF2B5EF4-FFF2-40B4-BE49-F238E27FC236}">
                  <a16:creationId xmlns:a16="http://schemas.microsoft.com/office/drawing/2014/main" id="{4F011400-D7C6-447B-8500-EA5CF70817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06659" y="555498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8" name="Freeform 1493">
              <a:extLst>
                <a:ext uri="{FF2B5EF4-FFF2-40B4-BE49-F238E27FC236}">
                  <a16:creationId xmlns:a16="http://schemas.microsoft.com/office/drawing/2014/main" id="{7F9E7FA0-4C17-4ED1-96EB-74C8AF7876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06659" y="549340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9" name="Freeform 1494">
              <a:extLst>
                <a:ext uri="{FF2B5EF4-FFF2-40B4-BE49-F238E27FC236}">
                  <a16:creationId xmlns:a16="http://schemas.microsoft.com/office/drawing/2014/main" id="{5175D056-A945-44FB-8555-9EF4409C17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59752" y="546366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0" name="Freeform 1495">
              <a:extLst>
                <a:ext uri="{FF2B5EF4-FFF2-40B4-BE49-F238E27FC236}">
                  <a16:creationId xmlns:a16="http://schemas.microsoft.com/office/drawing/2014/main" id="{78A3F19D-3345-4499-A724-F7E8F8809C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17094" y="542756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1" name="Freeform 1496">
              <a:extLst>
                <a:ext uri="{FF2B5EF4-FFF2-40B4-BE49-F238E27FC236}">
                  <a16:creationId xmlns:a16="http://schemas.microsoft.com/office/drawing/2014/main" id="{F4DBEF09-938C-45B4-B568-64FC57AA9A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0187" y="539783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2" name="Freeform 1497">
              <a:extLst>
                <a:ext uri="{FF2B5EF4-FFF2-40B4-BE49-F238E27FC236}">
                  <a16:creationId xmlns:a16="http://schemas.microsoft.com/office/drawing/2014/main" id="{464DC8D7-9EAD-4986-B786-BD849444C7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7529" y="536597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3" name="Freeform 1498">
              <a:extLst>
                <a:ext uri="{FF2B5EF4-FFF2-40B4-BE49-F238E27FC236}">
                  <a16:creationId xmlns:a16="http://schemas.microsoft.com/office/drawing/2014/main" id="{0B3BB5AB-E9F5-4574-A122-FFD6F579AA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23" y="5334119"/>
              <a:ext cx="33980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4" name="Freeform 1499">
              <a:extLst>
                <a:ext uri="{FF2B5EF4-FFF2-40B4-BE49-F238E27FC236}">
                  <a16:creationId xmlns:a16="http://schemas.microsoft.com/office/drawing/2014/main" id="{6C2F222E-311E-41EC-BC30-5F5EE819B1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7965" y="5300139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5" name="Freeform 1500">
              <a:extLst>
                <a:ext uri="{FF2B5EF4-FFF2-40B4-BE49-F238E27FC236}">
                  <a16:creationId xmlns:a16="http://schemas.microsoft.com/office/drawing/2014/main" id="{1C60B0B3-288E-4281-9C99-DA2C9831E0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9317" y="5525257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6" name="Freeform 1501">
              <a:extLst>
                <a:ext uri="{FF2B5EF4-FFF2-40B4-BE49-F238E27FC236}">
                  <a16:creationId xmlns:a16="http://schemas.microsoft.com/office/drawing/2014/main" id="{827F1C94-AC2E-49DB-8103-4CFCAC87DE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11928" y="5397832"/>
              <a:ext cx="33980" cy="21238"/>
            </a:xfrm>
            <a:custGeom>
              <a:avLst/>
              <a:gdLst>
                <a:gd name="T0" fmla="*/ 2 w 8"/>
                <a:gd name="T1" fmla="*/ 1 h 5"/>
                <a:gd name="T2" fmla="*/ 6 w 8"/>
                <a:gd name="T3" fmla="*/ 1 h 5"/>
                <a:gd name="T4" fmla="*/ 6 w 8"/>
                <a:gd name="T5" fmla="*/ 4 h 5"/>
                <a:gd name="T6" fmla="*/ 2 w 8"/>
                <a:gd name="T7" fmla="*/ 4 h 5"/>
                <a:gd name="T8" fmla="*/ 2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7" name="Freeform 1502">
              <a:extLst>
                <a:ext uri="{FF2B5EF4-FFF2-40B4-BE49-F238E27FC236}">
                  <a16:creationId xmlns:a16="http://schemas.microsoft.com/office/drawing/2014/main" id="{B5E882D4-8C0F-4813-95C7-8249316CB6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69270" y="536597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8" name="Freeform 1503">
              <a:extLst>
                <a:ext uri="{FF2B5EF4-FFF2-40B4-BE49-F238E27FC236}">
                  <a16:creationId xmlns:a16="http://schemas.microsoft.com/office/drawing/2014/main" id="{8FC35722-CC29-4068-8B0B-765F760603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58835" y="5365975"/>
              <a:ext cx="29733" cy="16990"/>
            </a:xfrm>
            <a:custGeom>
              <a:avLst/>
              <a:gdLst>
                <a:gd name="T0" fmla="*/ 1 w 7"/>
                <a:gd name="T1" fmla="*/ 1 h 4"/>
                <a:gd name="T2" fmla="*/ 6 w 7"/>
                <a:gd name="T3" fmla="*/ 1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1"/>
                  </a:moveTo>
                  <a:cubicBezTo>
                    <a:pt x="2" y="0"/>
                    <a:pt x="5" y="0"/>
                    <a:pt x="6" y="1"/>
                  </a:cubicBez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9" name="Freeform 1504">
              <a:extLst>
                <a:ext uri="{FF2B5EF4-FFF2-40B4-BE49-F238E27FC236}">
                  <a16:creationId xmlns:a16="http://schemas.microsoft.com/office/drawing/2014/main" id="{FBFEA91B-06CB-4A9E-8F8A-CEEFBCE84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11928" y="5334119"/>
              <a:ext cx="33980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0" name="Freeform 1505">
              <a:extLst>
                <a:ext uri="{FF2B5EF4-FFF2-40B4-BE49-F238E27FC236}">
                  <a16:creationId xmlns:a16="http://schemas.microsoft.com/office/drawing/2014/main" id="{FF9214DC-9E46-4D94-AC62-243184D646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69270" y="530438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1" name="Freeform 1506">
              <a:extLst>
                <a:ext uri="{FF2B5EF4-FFF2-40B4-BE49-F238E27FC236}">
                  <a16:creationId xmlns:a16="http://schemas.microsoft.com/office/drawing/2014/main" id="{02C868C1-7B66-44DA-942E-2DCFEB333C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1493" y="5334119"/>
              <a:ext cx="33980" cy="19114"/>
            </a:xfrm>
            <a:custGeom>
              <a:avLst/>
              <a:gdLst>
                <a:gd name="T0" fmla="*/ 2 w 8"/>
                <a:gd name="T1" fmla="*/ 1 h 4"/>
                <a:gd name="T2" fmla="*/ 6 w 8"/>
                <a:gd name="T3" fmla="*/ 1 h 4"/>
                <a:gd name="T4" fmla="*/ 6 w 8"/>
                <a:gd name="T5" fmla="*/ 3 h 4"/>
                <a:gd name="T6" fmla="*/ 2 w 8"/>
                <a:gd name="T7" fmla="*/ 3 h 4"/>
                <a:gd name="T8" fmla="*/ 2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2" name="Freeform 1507">
              <a:extLst>
                <a:ext uri="{FF2B5EF4-FFF2-40B4-BE49-F238E27FC236}">
                  <a16:creationId xmlns:a16="http://schemas.microsoft.com/office/drawing/2014/main" id="{29A5F685-98AD-4D63-AF22-5A1F8DF6F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58835" y="530438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3" name="Freeform 1508">
              <a:extLst>
                <a:ext uri="{FF2B5EF4-FFF2-40B4-BE49-F238E27FC236}">
                  <a16:creationId xmlns:a16="http://schemas.microsoft.com/office/drawing/2014/main" id="{91DD5F1A-0774-43DD-BFD2-65900C339E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11928" y="5268282"/>
              <a:ext cx="33980" cy="23362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4" name="Freeform 1509">
              <a:extLst>
                <a:ext uri="{FF2B5EF4-FFF2-40B4-BE49-F238E27FC236}">
                  <a16:creationId xmlns:a16="http://schemas.microsoft.com/office/drawing/2014/main" id="{782D3997-95C1-4BDD-9677-79FE58698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48400" y="5304386"/>
              <a:ext cx="29733" cy="16990"/>
            </a:xfrm>
            <a:custGeom>
              <a:avLst/>
              <a:gdLst>
                <a:gd name="T0" fmla="*/ 1 w 7"/>
                <a:gd name="T1" fmla="*/ 0 h 4"/>
                <a:gd name="T2" fmla="*/ 6 w 7"/>
                <a:gd name="T3" fmla="*/ 0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2" y="0"/>
                    <a:pt x="5" y="0"/>
                    <a:pt x="6" y="0"/>
                  </a:cubicBez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5" name="Freeform 1510">
              <a:extLst>
                <a:ext uri="{FF2B5EF4-FFF2-40B4-BE49-F238E27FC236}">
                  <a16:creationId xmlns:a16="http://schemas.microsoft.com/office/drawing/2014/main" id="{62A5A57D-53C6-48F2-BE55-EBAC28C6B8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1493" y="5268282"/>
              <a:ext cx="33980" cy="23362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6" name="Freeform 1511">
              <a:extLst>
                <a:ext uri="{FF2B5EF4-FFF2-40B4-BE49-F238E27FC236}">
                  <a16:creationId xmlns:a16="http://schemas.microsoft.com/office/drawing/2014/main" id="{BC37E02F-43FD-4649-B310-EE994EB6E3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58835" y="5238549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7" name="Freeform 1512">
              <a:extLst>
                <a:ext uri="{FF2B5EF4-FFF2-40B4-BE49-F238E27FC236}">
                  <a16:creationId xmlns:a16="http://schemas.microsoft.com/office/drawing/2014/main" id="{353B6936-2F58-4712-BC66-4B9E0DF54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058" y="5268282"/>
              <a:ext cx="33980" cy="23362"/>
            </a:xfrm>
            <a:custGeom>
              <a:avLst/>
              <a:gdLst>
                <a:gd name="T0" fmla="*/ 2 w 8"/>
                <a:gd name="T1" fmla="*/ 1 h 5"/>
                <a:gd name="T2" fmla="*/ 6 w 8"/>
                <a:gd name="T3" fmla="*/ 1 h 5"/>
                <a:gd name="T4" fmla="*/ 6 w 8"/>
                <a:gd name="T5" fmla="*/ 4 h 5"/>
                <a:gd name="T6" fmla="*/ 2 w 8"/>
                <a:gd name="T7" fmla="*/ 4 h 5"/>
                <a:gd name="T8" fmla="*/ 2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8" name="Freeform 1513">
              <a:extLst>
                <a:ext uri="{FF2B5EF4-FFF2-40B4-BE49-F238E27FC236}">
                  <a16:creationId xmlns:a16="http://schemas.microsoft.com/office/drawing/2014/main" id="{B3B4E4D3-C643-4952-9E76-601A43D26E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48400" y="5238549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9" name="Freeform 1514">
              <a:extLst>
                <a:ext uri="{FF2B5EF4-FFF2-40B4-BE49-F238E27FC236}">
                  <a16:creationId xmlns:a16="http://schemas.microsoft.com/office/drawing/2014/main" id="{31D08AA0-BCF7-4741-887F-FEF6E68044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22259" y="3601137"/>
              <a:ext cx="1244519" cy="1830675"/>
            </a:xfrm>
            <a:custGeom>
              <a:avLst/>
              <a:gdLst>
                <a:gd name="T0" fmla="*/ 20 w 282"/>
                <a:gd name="T1" fmla="*/ 128 h 415"/>
                <a:gd name="T2" fmla="*/ 130 w 282"/>
                <a:gd name="T3" fmla="*/ 16 h 415"/>
                <a:gd name="T4" fmla="*/ 240 w 282"/>
                <a:gd name="T5" fmla="*/ 2 h 415"/>
                <a:gd name="T6" fmla="*/ 253 w 282"/>
                <a:gd name="T7" fmla="*/ 3 h 415"/>
                <a:gd name="T8" fmla="*/ 282 w 282"/>
                <a:gd name="T9" fmla="*/ 20 h 415"/>
                <a:gd name="T10" fmla="*/ 260 w 282"/>
                <a:gd name="T11" fmla="*/ 67 h 415"/>
                <a:gd name="T12" fmla="*/ 260 w 282"/>
                <a:gd name="T13" fmla="*/ 141 h 415"/>
                <a:gd name="T14" fmla="*/ 188 w 282"/>
                <a:gd name="T15" fmla="*/ 332 h 415"/>
                <a:gd name="T16" fmla="*/ 130 w 282"/>
                <a:gd name="T17" fmla="*/ 412 h 415"/>
                <a:gd name="T18" fmla="*/ 99 w 282"/>
                <a:gd name="T19" fmla="*/ 407 h 415"/>
                <a:gd name="T20" fmla="*/ 93 w 282"/>
                <a:gd name="T21" fmla="*/ 410 h 415"/>
                <a:gd name="T22" fmla="*/ 68 w 282"/>
                <a:gd name="T23" fmla="*/ 395 h 415"/>
                <a:gd name="T24" fmla="*/ 55 w 282"/>
                <a:gd name="T25" fmla="*/ 388 h 415"/>
                <a:gd name="T26" fmla="*/ 54 w 282"/>
                <a:gd name="T27" fmla="*/ 388 h 415"/>
                <a:gd name="T28" fmla="*/ 54 w 282"/>
                <a:gd name="T29" fmla="*/ 388 h 415"/>
                <a:gd name="T30" fmla="*/ 0 w 282"/>
                <a:gd name="T31" fmla="*/ 290 h 415"/>
                <a:gd name="T32" fmla="*/ 0 w 282"/>
                <a:gd name="T33" fmla="*/ 167 h 415"/>
                <a:gd name="T34" fmla="*/ 20 w 282"/>
                <a:gd name="T35" fmla="*/ 128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415">
                  <a:moveTo>
                    <a:pt x="20" y="128"/>
                  </a:moveTo>
                  <a:cubicBezTo>
                    <a:pt x="130" y="16"/>
                    <a:pt x="130" y="16"/>
                    <a:pt x="130" y="16"/>
                  </a:cubicBezTo>
                  <a:cubicBezTo>
                    <a:pt x="240" y="2"/>
                    <a:pt x="240" y="2"/>
                    <a:pt x="240" y="2"/>
                  </a:cubicBezTo>
                  <a:cubicBezTo>
                    <a:pt x="246" y="0"/>
                    <a:pt x="250" y="1"/>
                    <a:pt x="253" y="3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60" y="67"/>
                    <a:pt x="260" y="67"/>
                    <a:pt x="260" y="67"/>
                  </a:cubicBezTo>
                  <a:cubicBezTo>
                    <a:pt x="260" y="141"/>
                    <a:pt x="260" y="141"/>
                    <a:pt x="260" y="141"/>
                  </a:cubicBezTo>
                  <a:cubicBezTo>
                    <a:pt x="260" y="141"/>
                    <a:pt x="248" y="238"/>
                    <a:pt x="188" y="332"/>
                  </a:cubicBezTo>
                  <a:cubicBezTo>
                    <a:pt x="140" y="406"/>
                    <a:pt x="130" y="412"/>
                    <a:pt x="130" y="412"/>
                  </a:cubicBezTo>
                  <a:cubicBezTo>
                    <a:pt x="130" y="412"/>
                    <a:pt x="125" y="415"/>
                    <a:pt x="99" y="407"/>
                  </a:cubicBezTo>
                  <a:cubicBezTo>
                    <a:pt x="93" y="410"/>
                    <a:pt x="93" y="410"/>
                    <a:pt x="93" y="410"/>
                  </a:cubicBezTo>
                  <a:cubicBezTo>
                    <a:pt x="68" y="395"/>
                    <a:pt x="68" y="395"/>
                    <a:pt x="68" y="395"/>
                  </a:cubicBezTo>
                  <a:cubicBezTo>
                    <a:pt x="63" y="393"/>
                    <a:pt x="59" y="391"/>
                    <a:pt x="55" y="388"/>
                  </a:cubicBezTo>
                  <a:cubicBezTo>
                    <a:pt x="54" y="388"/>
                    <a:pt x="54" y="388"/>
                    <a:pt x="54" y="388"/>
                  </a:cubicBezTo>
                  <a:cubicBezTo>
                    <a:pt x="54" y="388"/>
                    <a:pt x="54" y="388"/>
                    <a:pt x="54" y="388"/>
                  </a:cubicBezTo>
                  <a:cubicBezTo>
                    <a:pt x="9" y="356"/>
                    <a:pt x="0" y="290"/>
                    <a:pt x="0" y="290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54"/>
                    <a:pt x="8" y="138"/>
                    <a:pt x="20" y="12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0" name="Freeform 1515">
              <a:extLst>
                <a:ext uri="{FF2B5EF4-FFF2-40B4-BE49-F238E27FC236}">
                  <a16:creationId xmlns:a16="http://schemas.microsoft.com/office/drawing/2014/main" id="{D559C700-A13B-4601-929A-F504EED6EB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26507" y="3647859"/>
              <a:ext cx="1244519" cy="1414419"/>
            </a:xfrm>
            <a:custGeom>
              <a:avLst/>
              <a:gdLst>
                <a:gd name="T0" fmla="*/ 282 w 282"/>
                <a:gd name="T1" fmla="*/ 20 h 320"/>
                <a:gd name="T2" fmla="*/ 253 w 282"/>
                <a:gd name="T3" fmla="*/ 3 h 320"/>
                <a:gd name="T4" fmla="*/ 240 w 282"/>
                <a:gd name="T5" fmla="*/ 1 h 320"/>
                <a:gd name="T6" fmla="*/ 129 w 282"/>
                <a:gd name="T7" fmla="*/ 16 h 320"/>
                <a:gd name="T8" fmla="*/ 19 w 282"/>
                <a:gd name="T9" fmla="*/ 128 h 320"/>
                <a:gd name="T10" fmla="*/ 0 w 282"/>
                <a:gd name="T11" fmla="*/ 167 h 320"/>
                <a:gd name="T12" fmla="*/ 0 w 282"/>
                <a:gd name="T13" fmla="*/ 188 h 320"/>
                <a:gd name="T14" fmla="*/ 118 w 282"/>
                <a:gd name="T15" fmla="*/ 257 h 320"/>
                <a:gd name="T16" fmla="*/ 131 w 282"/>
                <a:gd name="T17" fmla="*/ 258 h 320"/>
                <a:gd name="T18" fmla="*/ 137 w 282"/>
                <a:gd name="T19" fmla="*/ 262 h 320"/>
                <a:gd name="T20" fmla="*/ 92 w 282"/>
                <a:gd name="T21" fmla="*/ 217 h 320"/>
                <a:gd name="T22" fmla="*/ 160 w 282"/>
                <a:gd name="T23" fmla="*/ 275 h 320"/>
                <a:gd name="T24" fmla="*/ 137 w 282"/>
                <a:gd name="T25" fmla="*/ 262 h 320"/>
                <a:gd name="T26" fmla="*/ 195 w 282"/>
                <a:gd name="T27" fmla="*/ 320 h 320"/>
                <a:gd name="T28" fmla="*/ 260 w 282"/>
                <a:gd name="T29" fmla="*/ 141 h 320"/>
                <a:gd name="T30" fmla="*/ 260 w 282"/>
                <a:gd name="T31" fmla="*/ 67 h 320"/>
                <a:gd name="T32" fmla="*/ 282 w 282"/>
                <a:gd name="T33" fmla="*/ 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2" h="320">
                  <a:moveTo>
                    <a:pt x="282" y="20"/>
                  </a:moveTo>
                  <a:cubicBezTo>
                    <a:pt x="253" y="3"/>
                    <a:pt x="253" y="3"/>
                    <a:pt x="253" y="3"/>
                  </a:cubicBezTo>
                  <a:cubicBezTo>
                    <a:pt x="249" y="1"/>
                    <a:pt x="245" y="0"/>
                    <a:pt x="240" y="1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9" y="128"/>
                    <a:pt x="19" y="128"/>
                    <a:pt x="19" y="128"/>
                  </a:cubicBezTo>
                  <a:cubicBezTo>
                    <a:pt x="8" y="138"/>
                    <a:pt x="0" y="154"/>
                    <a:pt x="0" y="167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118" y="257"/>
                    <a:pt x="118" y="257"/>
                    <a:pt x="118" y="257"/>
                  </a:cubicBezTo>
                  <a:cubicBezTo>
                    <a:pt x="123" y="256"/>
                    <a:pt x="128" y="256"/>
                    <a:pt x="131" y="258"/>
                  </a:cubicBezTo>
                  <a:cubicBezTo>
                    <a:pt x="137" y="262"/>
                    <a:pt x="137" y="262"/>
                    <a:pt x="137" y="262"/>
                  </a:cubicBezTo>
                  <a:cubicBezTo>
                    <a:pt x="92" y="217"/>
                    <a:pt x="92" y="217"/>
                    <a:pt x="92" y="217"/>
                  </a:cubicBezTo>
                  <a:cubicBezTo>
                    <a:pt x="160" y="275"/>
                    <a:pt x="160" y="275"/>
                    <a:pt x="160" y="275"/>
                  </a:cubicBezTo>
                  <a:cubicBezTo>
                    <a:pt x="137" y="262"/>
                    <a:pt x="137" y="262"/>
                    <a:pt x="137" y="262"/>
                  </a:cubicBezTo>
                  <a:cubicBezTo>
                    <a:pt x="195" y="320"/>
                    <a:pt x="195" y="320"/>
                    <a:pt x="195" y="320"/>
                  </a:cubicBezTo>
                  <a:cubicBezTo>
                    <a:pt x="249" y="230"/>
                    <a:pt x="260" y="141"/>
                    <a:pt x="260" y="141"/>
                  </a:cubicBezTo>
                  <a:cubicBezTo>
                    <a:pt x="260" y="67"/>
                    <a:pt x="260" y="67"/>
                    <a:pt x="260" y="67"/>
                  </a:cubicBezTo>
                  <a:lnTo>
                    <a:pt x="282" y="2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1" name="Freeform 1516">
              <a:extLst>
                <a:ext uri="{FF2B5EF4-FFF2-40B4-BE49-F238E27FC236}">
                  <a16:creationId xmlns:a16="http://schemas.microsoft.com/office/drawing/2014/main" id="{26CA455B-2735-42CC-BD68-F4761F5D49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09517" y="3586270"/>
              <a:ext cx="1276376" cy="1845542"/>
            </a:xfrm>
            <a:custGeom>
              <a:avLst/>
              <a:gdLst>
                <a:gd name="T0" fmla="*/ 129 w 289"/>
                <a:gd name="T1" fmla="*/ 418 h 418"/>
                <a:gd name="T2" fmla="*/ 103 w 289"/>
                <a:gd name="T3" fmla="*/ 413 h 418"/>
                <a:gd name="T4" fmla="*/ 96 w 289"/>
                <a:gd name="T5" fmla="*/ 416 h 418"/>
                <a:gd name="T6" fmla="*/ 69 w 289"/>
                <a:gd name="T7" fmla="*/ 401 h 418"/>
                <a:gd name="T8" fmla="*/ 56 w 289"/>
                <a:gd name="T9" fmla="*/ 394 h 418"/>
                <a:gd name="T10" fmla="*/ 55 w 289"/>
                <a:gd name="T11" fmla="*/ 393 h 418"/>
                <a:gd name="T12" fmla="*/ 0 w 289"/>
                <a:gd name="T13" fmla="*/ 294 h 418"/>
                <a:gd name="T14" fmla="*/ 0 w 289"/>
                <a:gd name="T15" fmla="*/ 170 h 418"/>
                <a:gd name="T16" fmla="*/ 21 w 289"/>
                <a:gd name="T17" fmla="*/ 129 h 418"/>
                <a:gd name="T18" fmla="*/ 132 w 289"/>
                <a:gd name="T19" fmla="*/ 16 h 418"/>
                <a:gd name="T20" fmla="*/ 243 w 289"/>
                <a:gd name="T21" fmla="*/ 2 h 418"/>
                <a:gd name="T22" fmla="*/ 258 w 289"/>
                <a:gd name="T23" fmla="*/ 3 h 418"/>
                <a:gd name="T24" fmla="*/ 289 w 289"/>
                <a:gd name="T25" fmla="*/ 22 h 418"/>
                <a:gd name="T26" fmla="*/ 266 w 289"/>
                <a:gd name="T27" fmla="*/ 71 h 418"/>
                <a:gd name="T28" fmla="*/ 266 w 289"/>
                <a:gd name="T29" fmla="*/ 144 h 418"/>
                <a:gd name="T30" fmla="*/ 193 w 289"/>
                <a:gd name="T31" fmla="*/ 337 h 418"/>
                <a:gd name="T32" fmla="*/ 135 w 289"/>
                <a:gd name="T33" fmla="*/ 417 h 418"/>
                <a:gd name="T34" fmla="*/ 129 w 289"/>
                <a:gd name="T35" fmla="*/ 418 h 418"/>
                <a:gd name="T36" fmla="*/ 102 w 289"/>
                <a:gd name="T37" fmla="*/ 407 h 418"/>
                <a:gd name="T38" fmla="*/ 103 w 289"/>
                <a:gd name="T39" fmla="*/ 407 h 418"/>
                <a:gd name="T40" fmla="*/ 132 w 289"/>
                <a:gd name="T41" fmla="*/ 412 h 418"/>
                <a:gd name="T42" fmla="*/ 188 w 289"/>
                <a:gd name="T43" fmla="*/ 333 h 418"/>
                <a:gd name="T44" fmla="*/ 260 w 289"/>
                <a:gd name="T45" fmla="*/ 144 h 418"/>
                <a:gd name="T46" fmla="*/ 260 w 289"/>
                <a:gd name="T47" fmla="*/ 69 h 418"/>
                <a:gd name="T48" fmla="*/ 282 w 289"/>
                <a:gd name="T49" fmla="*/ 24 h 418"/>
                <a:gd name="T50" fmla="*/ 255 w 289"/>
                <a:gd name="T51" fmla="*/ 8 h 418"/>
                <a:gd name="T52" fmla="*/ 244 w 289"/>
                <a:gd name="T53" fmla="*/ 7 h 418"/>
                <a:gd name="T54" fmla="*/ 134 w 289"/>
                <a:gd name="T55" fmla="*/ 22 h 418"/>
                <a:gd name="T56" fmla="*/ 25 w 289"/>
                <a:gd name="T57" fmla="*/ 133 h 418"/>
                <a:gd name="T58" fmla="*/ 6 w 289"/>
                <a:gd name="T59" fmla="*/ 170 h 418"/>
                <a:gd name="T60" fmla="*/ 6 w 289"/>
                <a:gd name="T61" fmla="*/ 293 h 418"/>
                <a:gd name="T62" fmla="*/ 59 w 289"/>
                <a:gd name="T63" fmla="*/ 388 h 418"/>
                <a:gd name="T64" fmla="*/ 60 w 289"/>
                <a:gd name="T65" fmla="*/ 389 h 418"/>
                <a:gd name="T66" fmla="*/ 72 w 289"/>
                <a:gd name="T67" fmla="*/ 396 h 418"/>
                <a:gd name="T68" fmla="*/ 96 w 289"/>
                <a:gd name="T69" fmla="*/ 410 h 418"/>
                <a:gd name="T70" fmla="*/ 102 w 289"/>
                <a:gd name="T71" fmla="*/ 407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9" h="418">
                  <a:moveTo>
                    <a:pt x="129" y="418"/>
                  </a:moveTo>
                  <a:cubicBezTo>
                    <a:pt x="124" y="418"/>
                    <a:pt x="116" y="417"/>
                    <a:pt x="103" y="413"/>
                  </a:cubicBezTo>
                  <a:cubicBezTo>
                    <a:pt x="96" y="416"/>
                    <a:pt x="96" y="416"/>
                    <a:pt x="96" y="416"/>
                  </a:cubicBezTo>
                  <a:cubicBezTo>
                    <a:pt x="69" y="401"/>
                    <a:pt x="69" y="401"/>
                    <a:pt x="69" y="401"/>
                  </a:cubicBezTo>
                  <a:cubicBezTo>
                    <a:pt x="65" y="399"/>
                    <a:pt x="61" y="397"/>
                    <a:pt x="56" y="394"/>
                  </a:cubicBezTo>
                  <a:cubicBezTo>
                    <a:pt x="55" y="393"/>
                    <a:pt x="55" y="393"/>
                    <a:pt x="55" y="393"/>
                  </a:cubicBezTo>
                  <a:cubicBezTo>
                    <a:pt x="10" y="360"/>
                    <a:pt x="1" y="296"/>
                    <a:pt x="0" y="294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0" y="156"/>
                    <a:pt x="8" y="140"/>
                    <a:pt x="21" y="129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243" y="2"/>
                    <a:pt x="243" y="2"/>
                    <a:pt x="243" y="2"/>
                  </a:cubicBezTo>
                  <a:cubicBezTo>
                    <a:pt x="249" y="0"/>
                    <a:pt x="254" y="1"/>
                    <a:pt x="258" y="3"/>
                  </a:cubicBezTo>
                  <a:cubicBezTo>
                    <a:pt x="289" y="22"/>
                    <a:pt x="289" y="22"/>
                    <a:pt x="289" y="22"/>
                  </a:cubicBezTo>
                  <a:cubicBezTo>
                    <a:pt x="266" y="71"/>
                    <a:pt x="266" y="71"/>
                    <a:pt x="266" y="71"/>
                  </a:cubicBezTo>
                  <a:cubicBezTo>
                    <a:pt x="266" y="144"/>
                    <a:pt x="266" y="144"/>
                    <a:pt x="266" y="144"/>
                  </a:cubicBezTo>
                  <a:cubicBezTo>
                    <a:pt x="266" y="146"/>
                    <a:pt x="253" y="243"/>
                    <a:pt x="193" y="337"/>
                  </a:cubicBezTo>
                  <a:cubicBezTo>
                    <a:pt x="146" y="409"/>
                    <a:pt x="136" y="417"/>
                    <a:pt x="135" y="417"/>
                  </a:cubicBezTo>
                  <a:cubicBezTo>
                    <a:pt x="134" y="418"/>
                    <a:pt x="133" y="418"/>
                    <a:pt x="129" y="418"/>
                  </a:cubicBezTo>
                  <a:close/>
                  <a:moveTo>
                    <a:pt x="102" y="407"/>
                  </a:moveTo>
                  <a:cubicBezTo>
                    <a:pt x="103" y="407"/>
                    <a:pt x="103" y="407"/>
                    <a:pt x="103" y="407"/>
                  </a:cubicBezTo>
                  <a:cubicBezTo>
                    <a:pt x="123" y="413"/>
                    <a:pt x="131" y="413"/>
                    <a:pt x="132" y="412"/>
                  </a:cubicBezTo>
                  <a:cubicBezTo>
                    <a:pt x="134" y="411"/>
                    <a:pt x="146" y="399"/>
                    <a:pt x="188" y="333"/>
                  </a:cubicBezTo>
                  <a:cubicBezTo>
                    <a:pt x="248" y="241"/>
                    <a:pt x="260" y="145"/>
                    <a:pt x="260" y="144"/>
                  </a:cubicBezTo>
                  <a:cubicBezTo>
                    <a:pt x="260" y="69"/>
                    <a:pt x="260" y="69"/>
                    <a:pt x="260" y="69"/>
                  </a:cubicBezTo>
                  <a:cubicBezTo>
                    <a:pt x="282" y="24"/>
                    <a:pt x="282" y="24"/>
                    <a:pt x="282" y="24"/>
                  </a:cubicBezTo>
                  <a:cubicBezTo>
                    <a:pt x="255" y="8"/>
                    <a:pt x="255" y="8"/>
                    <a:pt x="255" y="8"/>
                  </a:cubicBezTo>
                  <a:cubicBezTo>
                    <a:pt x="252" y="7"/>
                    <a:pt x="248" y="6"/>
                    <a:pt x="244" y="7"/>
                  </a:cubicBezTo>
                  <a:cubicBezTo>
                    <a:pt x="134" y="22"/>
                    <a:pt x="134" y="22"/>
                    <a:pt x="134" y="22"/>
                  </a:cubicBezTo>
                  <a:cubicBezTo>
                    <a:pt x="25" y="133"/>
                    <a:pt x="25" y="133"/>
                    <a:pt x="25" y="133"/>
                  </a:cubicBezTo>
                  <a:cubicBezTo>
                    <a:pt x="14" y="143"/>
                    <a:pt x="6" y="158"/>
                    <a:pt x="6" y="170"/>
                  </a:cubicBezTo>
                  <a:cubicBezTo>
                    <a:pt x="6" y="293"/>
                    <a:pt x="6" y="293"/>
                    <a:pt x="6" y="293"/>
                  </a:cubicBezTo>
                  <a:cubicBezTo>
                    <a:pt x="6" y="293"/>
                    <a:pt x="16" y="358"/>
                    <a:pt x="59" y="388"/>
                  </a:cubicBezTo>
                  <a:cubicBezTo>
                    <a:pt x="60" y="389"/>
                    <a:pt x="60" y="389"/>
                    <a:pt x="60" y="389"/>
                  </a:cubicBezTo>
                  <a:cubicBezTo>
                    <a:pt x="64" y="392"/>
                    <a:pt x="68" y="394"/>
                    <a:pt x="72" y="396"/>
                  </a:cubicBezTo>
                  <a:cubicBezTo>
                    <a:pt x="96" y="410"/>
                    <a:pt x="96" y="410"/>
                    <a:pt x="96" y="410"/>
                  </a:cubicBezTo>
                  <a:lnTo>
                    <a:pt x="102" y="407"/>
                  </a:lnTo>
                  <a:close/>
                </a:path>
              </a:pathLst>
            </a:custGeom>
            <a:solidFill>
              <a:srgbClr val="1510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2" name="Freeform 1517">
              <a:extLst>
                <a:ext uri="{FF2B5EF4-FFF2-40B4-BE49-F238E27FC236}">
                  <a16:creationId xmlns:a16="http://schemas.microsoft.com/office/drawing/2014/main" id="{EA2CAF9C-50DF-4E32-AE48-B2712E2F60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95672" y="3601137"/>
              <a:ext cx="671106" cy="193262"/>
            </a:xfrm>
            <a:custGeom>
              <a:avLst/>
              <a:gdLst>
                <a:gd name="T0" fmla="*/ 0 w 152"/>
                <a:gd name="T1" fmla="*/ 16 h 44"/>
                <a:gd name="T2" fmla="*/ 110 w 152"/>
                <a:gd name="T3" fmla="*/ 2 h 44"/>
                <a:gd name="T4" fmla="*/ 123 w 152"/>
                <a:gd name="T5" fmla="*/ 3 h 44"/>
                <a:gd name="T6" fmla="*/ 152 w 152"/>
                <a:gd name="T7" fmla="*/ 20 h 44"/>
                <a:gd name="T8" fmla="*/ 141 w 152"/>
                <a:gd name="T9" fmla="*/ 44 h 44"/>
                <a:gd name="T10" fmla="*/ 30 w 152"/>
                <a:gd name="T11" fmla="*/ 33 h 44"/>
                <a:gd name="T12" fmla="*/ 0 w 152"/>
                <a:gd name="T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44">
                  <a:moveTo>
                    <a:pt x="0" y="16"/>
                  </a:moveTo>
                  <a:cubicBezTo>
                    <a:pt x="110" y="2"/>
                    <a:pt x="110" y="2"/>
                    <a:pt x="110" y="2"/>
                  </a:cubicBezTo>
                  <a:cubicBezTo>
                    <a:pt x="116" y="0"/>
                    <a:pt x="120" y="1"/>
                    <a:pt x="123" y="3"/>
                  </a:cubicBezTo>
                  <a:cubicBezTo>
                    <a:pt x="152" y="20"/>
                    <a:pt x="152" y="20"/>
                    <a:pt x="152" y="20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30" y="33"/>
                    <a:pt x="30" y="33"/>
                    <a:pt x="30" y="33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3" name="Freeform 1518">
              <a:extLst>
                <a:ext uri="{FF2B5EF4-FFF2-40B4-BE49-F238E27FC236}">
                  <a16:creationId xmlns:a16="http://schemas.microsoft.com/office/drawing/2014/main" id="{73CEBDF9-7B5A-4BC5-9BCF-FB3A13C115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99920" y="3647859"/>
              <a:ext cx="671106" cy="195385"/>
            </a:xfrm>
            <a:custGeom>
              <a:avLst/>
              <a:gdLst>
                <a:gd name="T0" fmla="*/ 0 w 152"/>
                <a:gd name="T1" fmla="*/ 16 h 44"/>
                <a:gd name="T2" fmla="*/ 110 w 152"/>
                <a:gd name="T3" fmla="*/ 1 h 44"/>
                <a:gd name="T4" fmla="*/ 123 w 152"/>
                <a:gd name="T5" fmla="*/ 3 h 44"/>
                <a:gd name="T6" fmla="*/ 152 w 152"/>
                <a:gd name="T7" fmla="*/ 20 h 44"/>
                <a:gd name="T8" fmla="*/ 140 w 152"/>
                <a:gd name="T9" fmla="*/ 44 h 44"/>
                <a:gd name="T10" fmla="*/ 30 w 152"/>
                <a:gd name="T11" fmla="*/ 33 h 44"/>
                <a:gd name="T12" fmla="*/ 0 w 152"/>
                <a:gd name="T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44">
                  <a:moveTo>
                    <a:pt x="0" y="16"/>
                  </a:moveTo>
                  <a:cubicBezTo>
                    <a:pt x="110" y="1"/>
                    <a:pt x="110" y="1"/>
                    <a:pt x="110" y="1"/>
                  </a:cubicBezTo>
                  <a:cubicBezTo>
                    <a:pt x="115" y="0"/>
                    <a:pt x="119" y="1"/>
                    <a:pt x="123" y="3"/>
                  </a:cubicBezTo>
                  <a:cubicBezTo>
                    <a:pt x="152" y="20"/>
                    <a:pt x="152" y="20"/>
                    <a:pt x="152" y="20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30" y="33"/>
                    <a:pt x="30" y="33"/>
                    <a:pt x="30" y="33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4" name="Freeform 1519">
              <a:extLst>
                <a:ext uri="{FF2B5EF4-FFF2-40B4-BE49-F238E27FC236}">
                  <a16:creationId xmlns:a16="http://schemas.microsoft.com/office/drawing/2014/main" id="{E2F9592E-073E-440D-B634-25B72764FB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74435" y="3586270"/>
              <a:ext cx="711458" cy="225118"/>
            </a:xfrm>
            <a:custGeom>
              <a:avLst/>
              <a:gdLst>
                <a:gd name="T0" fmla="*/ 148 w 161"/>
                <a:gd name="T1" fmla="*/ 51 h 51"/>
                <a:gd name="T2" fmla="*/ 34 w 161"/>
                <a:gd name="T3" fmla="*/ 39 h 51"/>
                <a:gd name="T4" fmla="*/ 0 w 161"/>
                <a:gd name="T5" fmla="*/ 20 h 51"/>
                <a:gd name="T6" fmla="*/ 4 w 161"/>
                <a:gd name="T7" fmla="*/ 16 h 51"/>
                <a:gd name="T8" fmla="*/ 115 w 161"/>
                <a:gd name="T9" fmla="*/ 2 h 51"/>
                <a:gd name="T10" fmla="*/ 130 w 161"/>
                <a:gd name="T11" fmla="*/ 3 h 51"/>
                <a:gd name="T12" fmla="*/ 161 w 161"/>
                <a:gd name="T13" fmla="*/ 22 h 51"/>
                <a:gd name="T14" fmla="*/ 148 w 161"/>
                <a:gd name="T15" fmla="*/ 51 h 51"/>
                <a:gd name="T16" fmla="*/ 36 w 161"/>
                <a:gd name="T17" fmla="*/ 34 h 51"/>
                <a:gd name="T18" fmla="*/ 144 w 161"/>
                <a:gd name="T19" fmla="*/ 44 h 51"/>
                <a:gd name="T20" fmla="*/ 154 w 161"/>
                <a:gd name="T21" fmla="*/ 24 h 51"/>
                <a:gd name="T22" fmla="*/ 127 w 161"/>
                <a:gd name="T23" fmla="*/ 8 h 51"/>
                <a:gd name="T24" fmla="*/ 116 w 161"/>
                <a:gd name="T25" fmla="*/ 7 h 51"/>
                <a:gd name="T26" fmla="*/ 14 w 161"/>
                <a:gd name="T27" fmla="*/ 21 h 51"/>
                <a:gd name="T28" fmla="*/ 36 w 161"/>
                <a:gd name="T29" fmla="*/ 3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1" h="51">
                  <a:moveTo>
                    <a:pt x="148" y="51"/>
                  </a:moveTo>
                  <a:cubicBezTo>
                    <a:pt x="34" y="39"/>
                    <a:pt x="34" y="39"/>
                    <a:pt x="34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21" y="0"/>
                    <a:pt x="126" y="1"/>
                    <a:pt x="130" y="3"/>
                  </a:cubicBezTo>
                  <a:cubicBezTo>
                    <a:pt x="161" y="22"/>
                    <a:pt x="161" y="22"/>
                    <a:pt x="161" y="22"/>
                  </a:cubicBezTo>
                  <a:lnTo>
                    <a:pt x="148" y="51"/>
                  </a:lnTo>
                  <a:close/>
                  <a:moveTo>
                    <a:pt x="36" y="34"/>
                  </a:moveTo>
                  <a:cubicBezTo>
                    <a:pt x="144" y="44"/>
                    <a:pt x="144" y="44"/>
                    <a:pt x="144" y="44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27" y="8"/>
                    <a:pt x="127" y="8"/>
                    <a:pt x="127" y="8"/>
                  </a:cubicBezTo>
                  <a:cubicBezTo>
                    <a:pt x="124" y="7"/>
                    <a:pt x="120" y="6"/>
                    <a:pt x="116" y="7"/>
                  </a:cubicBezTo>
                  <a:cubicBezTo>
                    <a:pt x="14" y="21"/>
                    <a:pt x="14" y="21"/>
                    <a:pt x="14" y="21"/>
                  </a:cubicBezTo>
                  <a:lnTo>
                    <a:pt x="36" y="34"/>
                  </a:lnTo>
                  <a:close/>
                </a:path>
              </a:pathLst>
            </a:custGeom>
            <a:solidFill>
              <a:srgbClr val="1510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5" name="Freeform 1520">
              <a:extLst>
                <a:ext uri="{FF2B5EF4-FFF2-40B4-BE49-F238E27FC236}">
                  <a16:creationId xmlns:a16="http://schemas.microsoft.com/office/drawing/2014/main" id="{1C9DFBEF-DBB4-4FF4-850B-FE3ACCC229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53932" y="3671220"/>
              <a:ext cx="1148951" cy="1845542"/>
            </a:xfrm>
            <a:custGeom>
              <a:avLst/>
              <a:gdLst>
                <a:gd name="T0" fmla="*/ 20 w 260"/>
                <a:gd name="T1" fmla="*/ 129 h 418"/>
                <a:gd name="T2" fmla="*/ 130 w 260"/>
                <a:gd name="T3" fmla="*/ 17 h 418"/>
                <a:gd name="T4" fmla="*/ 241 w 260"/>
                <a:gd name="T5" fmla="*/ 3 h 418"/>
                <a:gd name="T6" fmla="*/ 260 w 260"/>
                <a:gd name="T7" fmla="*/ 20 h 418"/>
                <a:gd name="T8" fmla="*/ 260 w 260"/>
                <a:gd name="T9" fmla="*/ 143 h 418"/>
                <a:gd name="T10" fmla="*/ 188 w 260"/>
                <a:gd name="T11" fmla="*/ 333 h 418"/>
                <a:gd name="T12" fmla="*/ 130 w 260"/>
                <a:gd name="T13" fmla="*/ 413 h 418"/>
                <a:gd name="T14" fmla="*/ 73 w 260"/>
                <a:gd name="T15" fmla="*/ 399 h 418"/>
                <a:gd name="T16" fmla="*/ 0 w 260"/>
                <a:gd name="T17" fmla="*/ 292 h 418"/>
                <a:gd name="T18" fmla="*/ 0 w 260"/>
                <a:gd name="T19" fmla="*/ 169 h 418"/>
                <a:gd name="T20" fmla="*/ 20 w 260"/>
                <a:gd name="T21" fmla="*/ 129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0" h="418">
                  <a:moveTo>
                    <a:pt x="20" y="129"/>
                  </a:moveTo>
                  <a:cubicBezTo>
                    <a:pt x="130" y="17"/>
                    <a:pt x="130" y="17"/>
                    <a:pt x="130" y="17"/>
                  </a:cubicBezTo>
                  <a:cubicBezTo>
                    <a:pt x="241" y="3"/>
                    <a:pt x="241" y="3"/>
                    <a:pt x="241" y="3"/>
                  </a:cubicBezTo>
                  <a:cubicBezTo>
                    <a:pt x="252" y="0"/>
                    <a:pt x="260" y="7"/>
                    <a:pt x="260" y="20"/>
                  </a:cubicBezTo>
                  <a:cubicBezTo>
                    <a:pt x="260" y="143"/>
                    <a:pt x="260" y="143"/>
                    <a:pt x="260" y="143"/>
                  </a:cubicBezTo>
                  <a:cubicBezTo>
                    <a:pt x="260" y="143"/>
                    <a:pt x="248" y="240"/>
                    <a:pt x="188" y="333"/>
                  </a:cubicBezTo>
                  <a:cubicBezTo>
                    <a:pt x="140" y="407"/>
                    <a:pt x="130" y="413"/>
                    <a:pt x="130" y="413"/>
                  </a:cubicBezTo>
                  <a:cubicBezTo>
                    <a:pt x="130" y="413"/>
                    <a:pt x="121" y="418"/>
                    <a:pt x="73" y="399"/>
                  </a:cubicBezTo>
                  <a:cubicBezTo>
                    <a:pt x="12" y="375"/>
                    <a:pt x="0" y="292"/>
                    <a:pt x="0" y="292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156"/>
                    <a:pt x="8" y="139"/>
                    <a:pt x="20" y="129"/>
                  </a:cubicBezTo>
                  <a:close/>
                </a:path>
              </a:pathLst>
            </a:custGeom>
            <a:solidFill>
              <a:srgbClr val="140F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6" name="Freeform 1521">
              <a:extLst>
                <a:ext uri="{FF2B5EF4-FFF2-40B4-BE49-F238E27FC236}">
                  <a16:creationId xmlns:a16="http://schemas.microsoft.com/office/drawing/2014/main" id="{AC711A99-CF82-4BDB-8101-1F13E59509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741189" y="3662725"/>
              <a:ext cx="1174436" cy="1849789"/>
            </a:xfrm>
            <a:custGeom>
              <a:avLst/>
              <a:gdLst>
                <a:gd name="T0" fmla="*/ 129 w 266"/>
                <a:gd name="T1" fmla="*/ 419 h 419"/>
                <a:gd name="T2" fmla="*/ 75 w 266"/>
                <a:gd name="T3" fmla="*/ 404 h 419"/>
                <a:gd name="T4" fmla="*/ 0 w 266"/>
                <a:gd name="T5" fmla="*/ 294 h 419"/>
                <a:gd name="T6" fmla="*/ 0 w 266"/>
                <a:gd name="T7" fmla="*/ 171 h 419"/>
                <a:gd name="T8" fmla="*/ 21 w 266"/>
                <a:gd name="T9" fmla="*/ 129 h 419"/>
                <a:gd name="T10" fmla="*/ 132 w 266"/>
                <a:gd name="T11" fmla="*/ 17 h 419"/>
                <a:gd name="T12" fmla="*/ 243 w 266"/>
                <a:gd name="T13" fmla="*/ 2 h 419"/>
                <a:gd name="T14" fmla="*/ 259 w 266"/>
                <a:gd name="T15" fmla="*/ 5 h 419"/>
                <a:gd name="T16" fmla="*/ 266 w 266"/>
                <a:gd name="T17" fmla="*/ 22 h 419"/>
                <a:gd name="T18" fmla="*/ 266 w 266"/>
                <a:gd name="T19" fmla="*/ 145 h 419"/>
                <a:gd name="T20" fmla="*/ 193 w 266"/>
                <a:gd name="T21" fmla="*/ 337 h 419"/>
                <a:gd name="T22" fmla="*/ 135 w 266"/>
                <a:gd name="T23" fmla="*/ 418 h 419"/>
                <a:gd name="T24" fmla="*/ 129 w 266"/>
                <a:gd name="T25" fmla="*/ 419 h 419"/>
                <a:gd name="T26" fmla="*/ 135 w 266"/>
                <a:gd name="T27" fmla="*/ 22 h 419"/>
                <a:gd name="T28" fmla="*/ 25 w 266"/>
                <a:gd name="T29" fmla="*/ 133 h 419"/>
                <a:gd name="T30" fmla="*/ 6 w 266"/>
                <a:gd name="T31" fmla="*/ 171 h 419"/>
                <a:gd name="T32" fmla="*/ 6 w 266"/>
                <a:gd name="T33" fmla="*/ 294 h 419"/>
                <a:gd name="T34" fmla="*/ 77 w 266"/>
                <a:gd name="T35" fmla="*/ 398 h 419"/>
                <a:gd name="T36" fmla="*/ 132 w 266"/>
                <a:gd name="T37" fmla="*/ 413 h 419"/>
                <a:gd name="T38" fmla="*/ 188 w 266"/>
                <a:gd name="T39" fmla="*/ 334 h 419"/>
                <a:gd name="T40" fmla="*/ 260 w 266"/>
                <a:gd name="T41" fmla="*/ 144 h 419"/>
                <a:gd name="T42" fmla="*/ 260 w 266"/>
                <a:gd name="T43" fmla="*/ 22 h 419"/>
                <a:gd name="T44" fmla="*/ 255 w 266"/>
                <a:gd name="T45" fmla="*/ 9 h 419"/>
                <a:gd name="T46" fmla="*/ 244 w 266"/>
                <a:gd name="T47" fmla="*/ 8 h 419"/>
                <a:gd name="T48" fmla="*/ 135 w 266"/>
                <a:gd name="T49" fmla="*/ 22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6" h="419">
                  <a:moveTo>
                    <a:pt x="129" y="419"/>
                  </a:moveTo>
                  <a:cubicBezTo>
                    <a:pt x="122" y="419"/>
                    <a:pt x="106" y="416"/>
                    <a:pt x="75" y="404"/>
                  </a:cubicBezTo>
                  <a:cubicBezTo>
                    <a:pt x="13" y="379"/>
                    <a:pt x="1" y="297"/>
                    <a:pt x="0" y="294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57"/>
                    <a:pt x="9" y="140"/>
                    <a:pt x="21" y="129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243" y="2"/>
                    <a:pt x="243" y="2"/>
                    <a:pt x="243" y="2"/>
                  </a:cubicBezTo>
                  <a:cubicBezTo>
                    <a:pt x="249" y="0"/>
                    <a:pt x="255" y="1"/>
                    <a:pt x="259" y="5"/>
                  </a:cubicBezTo>
                  <a:cubicBezTo>
                    <a:pt x="264" y="8"/>
                    <a:pt x="266" y="14"/>
                    <a:pt x="266" y="22"/>
                  </a:cubicBezTo>
                  <a:cubicBezTo>
                    <a:pt x="266" y="145"/>
                    <a:pt x="266" y="145"/>
                    <a:pt x="266" y="145"/>
                  </a:cubicBezTo>
                  <a:cubicBezTo>
                    <a:pt x="266" y="146"/>
                    <a:pt x="253" y="244"/>
                    <a:pt x="193" y="337"/>
                  </a:cubicBezTo>
                  <a:cubicBezTo>
                    <a:pt x="146" y="409"/>
                    <a:pt x="136" y="417"/>
                    <a:pt x="135" y="418"/>
                  </a:cubicBezTo>
                  <a:cubicBezTo>
                    <a:pt x="134" y="418"/>
                    <a:pt x="133" y="419"/>
                    <a:pt x="129" y="419"/>
                  </a:cubicBezTo>
                  <a:close/>
                  <a:moveTo>
                    <a:pt x="135" y="22"/>
                  </a:moveTo>
                  <a:cubicBezTo>
                    <a:pt x="25" y="133"/>
                    <a:pt x="25" y="133"/>
                    <a:pt x="25" y="133"/>
                  </a:cubicBezTo>
                  <a:cubicBezTo>
                    <a:pt x="14" y="143"/>
                    <a:pt x="6" y="158"/>
                    <a:pt x="6" y="171"/>
                  </a:cubicBezTo>
                  <a:cubicBezTo>
                    <a:pt x="6" y="294"/>
                    <a:pt x="6" y="294"/>
                    <a:pt x="6" y="294"/>
                  </a:cubicBezTo>
                  <a:cubicBezTo>
                    <a:pt x="6" y="294"/>
                    <a:pt x="18" y="375"/>
                    <a:pt x="77" y="398"/>
                  </a:cubicBezTo>
                  <a:cubicBezTo>
                    <a:pt x="118" y="415"/>
                    <a:pt x="130" y="413"/>
                    <a:pt x="132" y="413"/>
                  </a:cubicBezTo>
                  <a:cubicBezTo>
                    <a:pt x="134" y="411"/>
                    <a:pt x="146" y="399"/>
                    <a:pt x="188" y="334"/>
                  </a:cubicBezTo>
                  <a:cubicBezTo>
                    <a:pt x="248" y="242"/>
                    <a:pt x="260" y="145"/>
                    <a:pt x="260" y="144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16"/>
                    <a:pt x="259" y="12"/>
                    <a:pt x="255" y="9"/>
                  </a:cubicBezTo>
                  <a:cubicBezTo>
                    <a:pt x="253" y="7"/>
                    <a:pt x="249" y="7"/>
                    <a:pt x="244" y="8"/>
                  </a:cubicBezTo>
                  <a:lnTo>
                    <a:pt x="135" y="22"/>
                  </a:lnTo>
                  <a:close/>
                </a:path>
              </a:pathLst>
            </a:custGeom>
            <a:solidFill>
              <a:srgbClr val="1510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7" name="Freeform 1522">
              <a:extLst>
                <a:ext uri="{FF2B5EF4-FFF2-40B4-BE49-F238E27FC236}">
                  <a16:creationId xmlns:a16="http://schemas.microsoft.com/office/drawing/2014/main" id="{6A496FFB-07D3-4D56-85BD-D2D6B87DDDA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32327" y="4036505"/>
              <a:ext cx="811274" cy="1055506"/>
            </a:xfrm>
            <a:custGeom>
              <a:avLst/>
              <a:gdLst>
                <a:gd name="T0" fmla="*/ 52 w 184"/>
                <a:gd name="T1" fmla="*/ 239 h 239"/>
                <a:gd name="T2" fmla="*/ 27 w 184"/>
                <a:gd name="T3" fmla="*/ 233 h 239"/>
                <a:gd name="T4" fmla="*/ 0 w 184"/>
                <a:gd name="T5" fmla="*/ 173 h 239"/>
                <a:gd name="T6" fmla="*/ 90 w 184"/>
                <a:gd name="T7" fmla="*/ 16 h 239"/>
                <a:gd name="T8" fmla="*/ 156 w 184"/>
                <a:gd name="T9" fmla="*/ 10 h 239"/>
                <a:gd name="T10" fmla="*/ 184 w 184"/>
                <a:gd name="T11" fmla="*/ 70 h 239"/>
                <a:gd name="T12" fmla="*/ 93 w 184"/>
                <a:gd name="T13" fmla="*/ 227 h 239"/>
                <a:gd name="T14" fmla="*/ 52 w 184"/>
                <a:gd name="T15" fmla="*/ 239 h 239"/>
                <a:gd name="T16" fmla="*/ 131 w 184"/>
                <a:gd name="T17" fmla="*/ 9 h 239"/>
                <a:gd name="T18" fmla="*/ 93 w 184"/>
                <a:gd name="T19" fmla="*/ 21 h 239"/>
                <a:gd name="T20" fmla="*/ 6 w 184"/>
                <a:gd name="T21" fmla="*/ 173 h 239"/>
                <a:gd name="T22" fmla="*/ 30 w 184"/>
                <a:gd name="T23" fmla="*/ 228 h 239"/>
                <a:gd name="T24" fmla="*/ 90 w 184"/>
                <a:gd name="T25" fmla="*/ 222 h 239"/>
                <a:gd name="T26" fmla="*/ 178 w 184"/>
                <a:gd name="T27" fmla="*/ 70 h 239"/>
                <a:gd name="T28" fmla="*/ 153 w 184"/>
                <a:gd name="T29" fmla="*/ 15 h 239"/>
                <a:gd name="T30" fmla="*/ 131 w 184"/>
                <a:gd name="T31" fmla="*/ 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4" h="239">
                  <a:moveTo>
                    <a:pt x="52" y="239"/>
                  </a:moveTo>
                  <a:cubicBezTo>
                    <a:pt x="43" y="239"/>
                    <a:pt x="35" y="237"/>
                    <a:pt x="27" y="233"/>
                  </a:cubicBezTo>
                  <a:cubicBezTo>
                    <a:pt x="10" y="223"/>
                    <a:pt x="0" y="201"/>
                    <a:pt x="0" y="173"/>
                  </a:cubicBezTo>
                  <a:cubicBezTo>
                    <a:pt x="0" y="115"/>
                    <a:pt x="40" y="45"/>
                    <a:pt x="90" y="16"/>
                  </a:cubicBezTo>
                  <a:cubicBezTo>
                    <a:pt x="115" y="2"/>
                    <a:pt x="138" y="0"/>
                    <a:pt x="156" y="10"/>
                  </a:cubicBezTo>
                  <a:cubicBezTo>
                    <a:pt x="174" y="20"/>
                    <a:pt x="184" y="41"/>
                    <a:pt x="184" y="70"/>
                  </a:cubicBezTo>
                  <a:cubicBezTo>
                    <a:pt x="184" y="128"/>
                    <a:pt x="143" y="198"/>
                    <a:pt x="93" y="227"/>
                  </a:cubicBezTo>
                  <a:cubicBezTo>
                    <a:pt x="79" y="235"/>
                    <a:pt x="65" y="239"/>
                    <a:pt x="52" y="239"/>
                  </a:cubicBezTo>
                  <a:close/>
                  <a:moveTo>
                    <a:pt x="131" y="9"/>
                  </a:moveTo>
                  <a:cubicBezTo>
                    <a:pt x="120" y="9"/>
                    <a:pt x="107" y="13"/>
                    <a:pt x="93" y="21"/>
                  </a:cubicBezTo>
                  <a:cubicBezTo>
                    <a:pt x="45" y="49"/>
                    <a:pt x="6" y="117"/>
                    <a:pt x="6" y="173"/>
                  </a:cubicBezTo>
                  <a:cubicBezTo>
                    <a:pt x="6" y="199"/>
                    <a:pt x="14" y="219"/>
                    <a:pt x="30" y="228"/>
                  </a:cubicBezTo>
                  <a:cubicBezTo>
                    <a:pt x="46" y="237"/>
                    <a:pt x="67" y="235"/>
                    <a:pt x="90" y="222"/>
                  </a:cubicBezTo>
                  <a:cubicBezTo>
                    <a:pt x="138" y="194"/>
                    <a:pt x="178" y="126"/>
                    <a:pt x="178" y="70"/>
                  </a:cubicBezTo>
                  <a:cubicBezTo>
                    <a:pt x="178" y="44"/>
                    <a:pt x="169" y="24"/>
                    <a:pt x="153" y="15"/>
                  </a:cubicBezTo>
                  <a:cubicBezTo>
                    <a:pt x="147" y="11"/>
                    <a:pt x="139" y="9"/>
                    <a:pt x="131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8" name="Freeform 1523">
              <a:extLst>
                <a:ext uri="{FF2B5EF4-FFF2-40B4-BE49-F238E27FC236}">
                  <a16:creationId xmlns:a16="http://schemas.microsoft.com/office/drawing/2014/main" id="{1C7D2718-0771-444D-924E-EA897E7AC0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10907" y="4142693"/>
              <a:ext cx="649868" cy="847378"/>
            </a:xfrm>
            <a:custGeom>
              <a:avLst/>
              <a:gdLst>
                <a:gd name="T0" fmla="*/ 42 w 147"/>
                <a:gd name="T1" fmla="*/ 192 h 192"/>
                <a:gd name="T2" fmla="*/ 22 w 147"/>
                <a:gd name="T3" fmla="*/ 186 h 192"/>
                <a:gd name="T4" fmla="*/ 0 w 147"/>
                <a:gd name="T5" fmla="*/ 138 h 192"/>
                <a:gd name="T6" fmla="*/ 72 w 147"/>
                <a:gd name="T7" fmla="*/ 13 h 192"/>
                <a:gd name="T8" fmla="*/ 125 w 147"/>
                <a:gd name="T9" fmla="*/ 8 h 192"/>
                <a:gd name="T10" fmla="*/ 147 w 147"/>
                <a:gd name="T11" fmla="*/ 57 h 192"/>
                <a:gd name="T12" fmla="*/ 75 w 147"/>
                <a:gd name="T13" fmla="*/ 182 h 192"/>
                <a:gd name="T14" fmla="*/ 42 w 147"/>
                <a:gd name="T15" fmla="*/ 192 h 192"/>
                <a:gd name="T16" fmla="*/ 105 w 147"/>
                <a:gd name="T17" fmla="*/ 9 h 192"/>
                <a:gd name="T18" fmla="*/ 75 w 147"/>
                <a:gd name="T19" fmla="*/ 18 h 192"/>
                <a:gd name="T20" fmla="*/ 6 w 147"/>
                <a:gd name="T21" fmla="*/ 138 h 192"/>
                <a:gd name="T22" fmla="*/ 25 w 147"/>
                <a:gd name="T23" fmla="*/ 181 h 192"/>
                <a:gd name="T24" fmla="*/ 72 w 147"/>
                <a:gd name="T25" fmla="*/ 176 h 192"/>
                <a:gd name="T26" fmla="*/ 141 w 147"/>
                <a:gd name="T27" fmla="*/ 57 h 192"/>
                <a:gd name="T28" fmla="*/ 122 w 147"/>
                <a:gd name="T29" fmla="*/ 13 h 192"/>
                <a:gd name="T30" fmla="*/ 105 w 147"/>
                <a:gd name="T31" fmla="*/ 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7" h="192">
                  <a:moveTo>
                    <a:pt x="42" y="192"/>
                  </a:moveTo>
                  <a:cubicBezTo>
                    <a:pt x="35" y="192"/>
                    <a:pt x="28" y="190"/>
                    <a:pt x="22" y="186"/>
                  </a:cubicBezTo>
                  <a:cubicBezTo>
                    <a:pt x="8" y="178"/>
                    <a:pt x="0" y="161"/>
                    <a:pt x="0" y="138"/>
                  </a:cubicBezTo>
                  <a:cubicBezTo>
                    <a:pt x="0" y="92"/>
                    <a:pt x="32" y="36"/>
                    <a:pt x="72" y="13"/>
                  </a:cubicBezTo>
                  <a:cubicBezTo>
                    <a:pt x="92" y="2"/>
                    <a:pt x="111" y="0"/>
                    <a:pt x="125" y="8"/>
                  </a:cubicBezTo>
                  <a:cubicBezTo>
                    <a:pt x="139" y="17"/>
                    <a:pt x="147" y="34"/>
                    <a:pt x="147" y="57"/>
                  </a:cubicBezTo>
                  <a:cubicBezTo>
                    <a:pt x="147" y="103"/>
                    <a:pt x="115" y="159"/>
                    <a:pt x="75" y="182"/>
                  </a:cubicBezTo>
                  <a:cubicBezTo>
                    <a:pt x="64" y="188"/>
                    <a:pt x="52" y="192"/>
                    <a:pt x="42" y="192"/>
                  </a:cubicBezTo>
                  <a:close/>
                  <a:moveTo>
                    <a:pt x="105" y="9"/>
                  </a:moveTo>
                  <a:cubicBezTo>
                    <a:pt x="96" y="9"/>
                    <a:pt x="86" y="12"/>
                    <a:pt x="75" y="18"/>
                  </a:cubicBezTo>
                  <a:cubicBezTo>
                    <a:pt x="37" y="40"/>
                    <a:pt x="6" y="94"/>
                    <a:pt x="6" y="138"/>
                  </a:cubicBezTo>
                  <a:cubicBezTo>
                    <a:pt x="6" y="159"/>
                    <a:pt x="13" y="174"/>
                    <a:pt x="25" y="181"/>
                  </a:cubicBezTo>
                  <a:cubicBezTo>
                    <a:pt x="38" y="189"/>
                    <a:pt x="54" y="187"/>
                    <a:pt x="72" y="176"/>
                  </a:cubicBezTo>
                  <a:cubicBezTo>
                    <a:pt x="110" y="154"/>
                    <a:pt x="141" y="101"/>
                    <a:pt x="141" y="57"/>
                  </a:cubicBezTo>
                  <a:cubicBezTo>
                    <a:pt x="141" y="36"/>
                    <a:pt x="135" y="21"/>
                    <a:pt x="122" y="13"/>
                  </a:cubicBezTo>
                  <a:cubicBezTo>
                    <a:pt x="117" y="10"/>
                    <a:pt x="111" y="9"/>
                    <a:pt x="105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89" name="Freeform 1524">
              <a:extLst>
                <a:ext uri="{FF2B5EF4-FFF2-40B4-BE49-F238E27FC236}">
                  <a16:creationId xmlns:a16="http://schemas.microsoft.com/office/drawing/2014/main" id="{6CA39BDB-6000-4576-A8C1-80A068B711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847" y="4380553"/>
              <a:ext cx="450236" cy="384400"/>
            </a:xfrm>
            <a:custGeom>
              <a:avLst/>
              <a:gdLst>
                <a:gd name="T0" fmla="*/ 7 w 102"/>
                <a:gd name="T1" fmla="*/ 87 h 87"/>
                <a:gd name="T2" fmla="*/ 4 w 102"/>
                <a:gd name="T3" fmla="*/ 86 h 87"/>
                <a:gd name="T4" fmla="*/ 0 w 102"/>
                <a:gd name="T5" fmla="*/ 77 h 87"/>
                <a:gd name="T6" fmla="*/ 0 w 102"/>
                <a:gd name="T7" fmla="*/ 65 h 87"/>
                <a:gd name="T8" fmla="*/ 9 w 102"/>
                <a:gd name="T9" fmla="*/ 48 h 87"/>
                <a:gd name="T10" fmla="*/ 89 w 102"/>
                <a:gd name="T11" fmla="*/ 1 h 87"/>
                <a:gd name="T12" fmla="*/ 97 w 102"/>
                <a:gd name="T13" fmla="*/ 1 h 87"/>
                <a:gd name="T14" fmla="*/ 102 w 102"/>
                <a:gd name="T15" fmla="*/ 10 h 87"/>
                <a:gd name="T16" fmla="*/ 102 w 102"/>
                <a:gd name="T17" fmla="*/ 22 h 87"/>
                <a:gd name="T18" fmla="*/ 92 w 102"/>
                <a:gd name="T19" fmla="*/ 39 h 87"/>
                <a:gd name="T20" fmla="*/ 12 w 102"/>
                <a:gd name="T21" fmla="*/ 85 h 87"/>
                <a:gd name="T22" fmla="*/ 7 w 102"/>
                <a:gd name="T23" fmla="*/ 87 h 87"/>
                <a:gd name="T24" fmla="*/ 94 w 102"/>
                <a:gd name="T25" fmla="*/ 6 h 87"/>
                <a:gd name="T26" fmla="*/ 92 w 102"/>
                <a:gd name="T27" fmla="*/ 6 h 87"/>
                <a:gd name="T28" fmla="*/ 12 w 102"/>
                <a:gd name="T29" fmla="*/ 53 h 87"/>
                <a:gd name="T30" fmla="*/ 6 w 102"/>
                <a:gd name="T31" fmla="*/ 65 h 87"/>
                <a:gd name="T32" fmla="*/ 6 w 102"/>
                <a:gd name="T33" fmla="*/ 77 h 87"/>
                <a:gd name="T34" fmla="*/ 7 w 102"/>
                <a:gd name="T35" fmla="*/ 81 h 87"/>
                <a:gd name="T36" fmla="*/ 9 w 102"/>
                <a:gd name="T37" fmla="*/ 80 h 87"/>
                <a:gd name="T38" fmla="*/ 89 w 102"/>
                <a:gd name="T39" fmla="*/ 34 h 87"/>
                <a:gd name="T40" fmla="*/ 96 w 102"/>
                <a:gd name="T41" fmla="*/ 22 h 87"/>
                <a:gd name="T42" fmla="*/ 96 w 102"/>
                <a:gd name="T43" fmla="*/ 10 h 87"/>
                <a:gd name="T44" fmla="*/ 95 w 102"/>
                <a:gd name="T45" fmla="*/ 6 h 87"/>
                <a:gd name="T46" fmla="*/ 94 w 102"/>
                <a:gd name="T47" fmla="*/ 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87">
                  <a:moveTo>
                    <a:pt x="7" y="87"/>
                  </a:moveTo>
                  <a:cubicBezTo>
                    <a:pt x="6" y="87"/>
                    <a:pt x="5" y="86"/>
                    <a:pt x="4" y="86"/>
                  </a:cubicBezTo>
                  <a:cubicBezTo>
                    <a:pt x="1" y="84"/>
                    <a:pt x="0" y="81"/>
                    <a:pt x="0" y="77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58"/>
                    <a:pt x="4" y="51"/>
                    <a:pt x="9" y="48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2" y="0"/>
                    <a:pt x="95" y="0"/>
                    <a:pt x="97" y="1"/>
                  </a:cubicBezTo>
                  <a:cubicBezTo>
                    <a:pt x="100" y="2"/>
                    <a:pt x="102" y="6"/>
                    <a:pt x="102" y="10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8"/>
                    <a:pt x="98" y="36"/>
                    <a:pt x="92" y="39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0" y="86"/>
                    <a:pt x="9" y="87"/>
                    <a:pt x="7" y="87"/>
                  </a:cubicBezTo>
                  <a:close/>
                  <a:moveTo>
                    <a:pt x="94" y="6"/>
                  </a:moveTo>
                  <a:cubicBezTo>
                    <a:pt x="93" y="6"/>
                    <a:pt x="93" y="6"/>
                    <a:pt x="92" y="6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9" y="55"/>
                    <a:pt x="6" y="60"/>
                    <a:pt x="6" y="65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6" y="79"/>
                    <a:pt x="6" y="80"/>
                    <a:pt x="7" y="81"/>
                  </a:cubicBezTo>
                  <a:cubicBezTo>
                    <a:pt x="8" y="81"/>
                    <a:pt x="9" y="81"/>
                    <a:pt x="9" y="80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93" y="32"/>
                    <a:pt x="96" y="26"/>
                    <a:pt x="96" y="22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7"/>
                    <a:pt x="95" y="6"/>
                    <a:pt x="95" y="6"/>
                  </a:cubicBezTo>
                  <a:cubicBezTo>
                    <a:pt x="94" y="6"/>
                    <a:pt x="94" y="6"/>
                    <a:pt x="94" y="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0" name="Freeform 1525">
              <a:extLst>
                <a:ext uri="{FF2B5EF4-FFF2-40B4-BE49-F238E27FC236}">
                  <a16:creationId xmlns:a16="http://schemas.microsoft.com/office/drawing/2014/main" id="{90EB4D74-12D5-461E-A7D4-E9C284A308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95409" y="5157847"/>
              <a:ext cx="33980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1" name="Freeform 1526">
              <a:extLst>
                <a:ext uri="{FF2B5EF4-FFF2-40B4-BE49-F238E27FC236}">
                  <a16:creationId xmlns:a16="http://schemas.microsoft.com/office/drawing/2014/main" id="{9D219D25-D1C0-4E42-8A4D-F71713A33C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52751" y="5128114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2" name="Freeform 1527">
              <a:extLst>
                <a:ext uri="{FF2B5EF4-FFF2-40B4-BE49-F238E27FC236}">
                  <a16:creationId xmlns:a16="http://schemas.microsoft.com/office/drawing/2014/main" id="{5FED8B85-79DC-4986-B083-511ABD5E6C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05844" y="5096259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3" name="Freeform 1528">
              <a:extLst>
                <a:ext uri="{FF2B5EF4-FFF2-40B4-BE49-F238E27FC236}">
                  <a16:creationId xmlns:a16="http://schemas.microsoft.com/office/drawing/2014/main" id="{E2C61736-B889-4469-84BE-2EB69179A9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63186" y="506652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4" name="Freeform 1529">
              <a:extLst>
                <a:ext uri="{FF2B5EF4-FFF2-40B4-BE49-F238E27FC236}">
                  <a16:creationId xmlns:a16="http://schemas.microsoft.com/office/drawing/2014/main" id="{1269DC58-AA9B-4206-B18C-D041B8A323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316" y="5128114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5" name="Freeform 1530">
              <a:extLst>
                <a:ext uri="{FF2B5EF4-FFF2-40B4-BE49-F238E27FC236}">
                  <a16:creationId xmlns:a16="http://schemas.microsoft.com/office/drawing/2014/main" id="{552DCD5F-0273-4488-9384-AC776A75D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95409" y="5096259"/>
              <a:ext cx="33980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6" name="Freeform 1531">
              <a:extLst>
                <a:ext uri="{FF2B5EF4-FFF2-40B4-BE49-F238E27FC236}">
                  <a16:creationId xmlns:a16="http://schemas.microsoft.com/office/drawing/2014/main" id="{D7184796-31DA-4CAA-8DBE-F5968ADDB7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52751" y="506652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7" name="Freeform 1532">
              <a:extLst>
                <a:ext uri="{FF2B5EF4-FFF2-40B4-BE49-F238E27FC236}">
                  <a16:creationId xmlns:a16="http://schemas.microsoft.com/office/drawing/2014/main" id="{6BDE9CC2-3C49-4AF1-9EF0-8D1C68FE61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84974" y="5096259"/>
              <a:ext cx="33980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8" name="Freeform 1533">
              <a:extLst>
                <a:ext uri="{FF2B5EF4-FFF2-40B4-BE49-F238E27FC236}">
                  <a16:creationId xmlns:a16="http://schemas.microsoft.com/office/drawing/2014/main" id="{4453BADA-BA6E-401E-BDCC-B3B8164B07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316" y="506652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99" name="Freeform 1534">
              <a:extLst>
                <a:ext uri="{FF2B5EF4-FFF2-40B4-BE49-F238E27FC236}">
                  <a16:creationId xmlns:a16="http://schemas.microsoft.com/office/drawing/2014/main" id="{65DC9359-3C89-4751-A84C-75A59893A6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95409" y="5030422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7 w 8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0" name="Freeform 1535">
              <a:extLst>
                <a:ext uri="{FF2B5EF4-FFF2-40B4-BE49-F238E27FC236}">
                  <a16:creationId xmlns:a16="http://schemas.microsoft.com/office/drawing/2014/main" id="{E2CE9119-CFA0-4730-AD12-12CDECADE8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31881" y="506652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1" name="Freeform 1536">
              <a:extLst>
                <a:ext uri="{FF2B5EF4-FFF2-40B4-BE49-F238E27FC236}">
                  <a16:creationId xmlns:a16="http://schemas.microsoft.com/office/drawing/2014/main" id="{A7542280-40F2-41C5-9B85-B2877EB608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84974" y="5030422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2" name="Freeform 1537">
              <a:extLst>
                <a:ext uri="{FF2B5EF4-FFF2-40B4-BE49-F238E27FC236}">
                  <a16:creationId xmlns:a16="http://schemas.microsoft.com/office/drawing/2014/main" id="{673140CF-D94D-4952-91A8-531850BC35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74539" y="5030422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3" name="Freeform 1538">
              <a:extLst>
                <a:ext uri="{FF2B5EF4-FFF2-40B4-BE49-F238E27FC236}">
                  <a16:creationId xmlns:a16="http://schemas.microsoft.com/office/drawing/2014/main" id="{A3031BB9-C88D-436A-9D12-BE991028BF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31881" y="4998566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4" name="Freeform 1539">
              <a:extLst>
                <a:ext uri="{FF2B5EF4-FFF2-40B4-BE49-F238E27FC236}">
                  <a16:creationId xmlns:a16="http://schemas.microsoft.com/office/drawing/2014/main" id="{4A5443A4-95E1-4A6F-9265-D70AA2732B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21446" y="4998566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5" name="Freeform 1540">
              <a:extLst>
                <a:ext uri="{FF2B5EF4-FFF2-40B4-BE49-F238E27FC236}">
                  <a16:creationId xmlns:a16="http://schemas.microsoft.com/office/drawing/2014/main" id="{44AE4331-840E-44BD-8CD6-31C96B46D8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74539" y="4968833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6" name="Freeform 1541">
              <a:extLst>
                <a:ext uri="{FF2B5EF4-FFF2-40B4-BE49-F238E27FC236}">
                  <a16:creationId xmlns:a16="http://schemas.microsoft.com/office/drawing/2014/main" id="{847E5FE7-FFCE-4ED7-B2E6-3C823965DB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64104" y="4968833"/>
              <a:ext cx="33980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7" name="Freeform 1542">
              <a:extLst>
                <a:ext uri="{FF2B5EF4-FFF2-40B4-BE49-F238E27FC236}">
                  <a16:creationId xmlns:a16="http://schemas.microsoft.com/office/drawing/2014/main" id="{E4A16DB7-E3D6-45D2-AD47-2611D54292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21446" y="493697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8" name="Freeform 1543">
              <a:extLst>
                <a:ext uri="{FF2B5EF4-FFF2-40B4-BE49-F238E27FC236}">
                  <a16:creationId xmlns:a16="http://schemas.microsoft.com/office/drawing/2014/main" id="{66C01FFD-AE26-4502-A0C8-9AB2F62C96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1011" y="493697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09" name="Freeform 1544">
              <a:extLst>
                <a:ext uri="{FF2B5EF4-FFF2-40B4-BE49-F238E27FC236}">
                  <a16:creationId xmlns:a16="http://schemas.microsoft.com/office/drawing/2014/main" id="{0FBFAEA9-116C-41FE-971D-519B0A4AE2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64104" y="4902996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0" name="Freeform 1545">
              <a:extLst>
                <a:ext uri="{FF2B5EF4-FFF2-40B4-BE49-F238E27FC236}">
                  <a16:creationId xmlns:a16="http://schemas.microsoft.com/office/drawing/2014/main" id="{A00C2ED9-8C33-468A-B877-7FF8106D7F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53669" y="4902996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1" name="Freeform 1546">
              <a:extLst>
                <a:ext uri="{FF2B5EF4-FFF2-40B4-BE49-F238E27FC236}">
                  <a16:creationId xmlns:a16="http://schemas.microsoft.com/office/drawing/2014/main" id="{305C28D1-0CD4-4EBE-8DD5-21980139B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1011" y="4871141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2" name="Freeform 1547">
              <a:extLst>
                <a:ext uri="{FF2B5EF4-FFF2-40B4-BE49-F238E27FC236}">
                  <a16:creationId xmlns:a16="http://schemas.microsoft.com/office/drawing/2014/main" id="{0CB99020-AB18-41E9-B2E6-80F6A09161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0575" y="4871141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3" name="Freeform 1548">
              <a:extLst>
                <a:ext uri="{FF2B5EF4-FFF2-40B4-BE49-F238E27FC236}">
                  <a16:creationId xmlns:a16="http://schemas.microsoft.com/office/drawing/2014/main" id="{8087A927-0826-4D0B-AFAD-BAF8F3C012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53669" y="4841408"/>
              <a:ext cx="33980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4" name="Freeform 1549">
              <a:extLst>
                <a:ext uri="{FF2B5EF4-FFF2-40B4-BE49-F238E27FC236}">
                  <a16:creationId xmlns:a16="http://schemas.microsoft.com/office/drawing/2014/main" id="{EE680B5B-453B-4C25-B67B-4515ECF6F2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0575" y="4809551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5" name="Freeform 1550">
              <a:extLst>
                <a:ext uri="{FF2B5EF4-FFF2-40B4-BE49-F238E27FC236}">
                  <a16:creationId xmlns:a16="http://schemas.microsoft.com/office/drawing/2014/main" id="{A367C2F2-B7B9-4C55-8A26-85B23EE3D2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16279" y="5030422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6" name="Freeform 1551">
              <a:extLst>
                <a:ext uri="{FF2B5EF4-FFF2-40B4-BE49-F238E27FC236}">
                  <a16:creationId xmlns:a16="http://schemas.microsoft.com/office/drawing/2014/main" id="{079DC17A-69BE-49AE-9EF3-249075B908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73621" y="4998566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7" name="Freeform 1552">
              <a:extLst>
                <a:ext uri="{FF2B5EF4-FFF2-40B4-BE49-F238E27FC236}">
                  <a16:creationId xmlns:a16="http://schemas.microsoft.com/office/drawing/2014/main" id="{89E85308-3B70-4B34-BD40-A854BFF781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6715" y="4968833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8" name="Freeform 1553">
              <a:extLst>
                <a:ext uri="{FF2B5EF4-FFF2-40B4-BE49-F238E27FC236}">
                  <a16:creationId xmlns:a16="http://schemas.microsoft.com/office/drawing/2014/main" id="{3502FBB6-FAAD-46C7-975F-43CABD9A51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84057" y="493697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19" name="Freeform 1554">
              <a:extLst>
                <a:ext uri="{FF2B5EF4-FFF2-40B4-BE49-F238E27FC236}">
                  <a16:creationId xmlns:a16="http://schemas.microsoft.com/office/drawing/2014/main" id="{36AC857F-730B-449C-8877-423AEBF4A1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37150" y="4902996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0" name="Freeform 1555">
              <a:extLst>
                <a:ext uri="{FF2B5EF4-FFF2-40B4-BE49-F238E27FC236}">
                  <a16:creationId xmlns:a16="http://schemas.microsoft.com/office/drawing/2014/main" id="{DC58DCC7-8DFF-4602-BD86-B694DF91E3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94492" y="4871141"/>
              <a:ext cx="29733" cy="23362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1" name="Freeform 1556">
              <a:extLst>
                <a:ext uri="{FF2B5EF4-FFF2-40B4-BE49-F238E27FC236}">
                  <a16:creationId xmlns:a16="http://schemas.microsoft.com/office/drawing/2014/main" id="{EE066825-693E-4D24-857D-FC5DDD63F8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47585" y="4841408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2" name="Freeform 1557">
              <a:extLst>
                <a:ext uri="{FF2B5EF4-FFF2-40B4-BE49-F238E27FC236}">
                  <a16:creationId xmlns:a16="http://schemas.microsoft.com/office/drawing/2014/main" id="{FFDBCE98-D91A-44AD-987F-8563264F8B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4927" y="4809551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3" name="Freeform 1558">
              <a:extLst>
                <a:ext uri="{FF2B5EF4-FFF2-40B4-BE49-F238E27FC236}">
                  <a16:creationId xmlns:a16="http://schemas.microsoft.com/office/drawing/2014/main" id="{94CDF0A7-F14B-441C-B351-A88174983C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16279" y="4968833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6 w 8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4" name="Freeform 1559">
              <a:extLst>
                <a:ext uri="{FF2B5EF4-FFF2-40B4-BE49-F238E27FC236}">
                  <a16:creationId xmlns:a16="http://schemas.microsoft.com/office/drawing/2014/main" id="{EA8B4F33-9751-4D33-B3B4-9FA0321725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73621" y="493697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5" name="Freeform 1560">
              <a:extLst>
                <a:ext uri="{FF2B5EF4-FFF2-40B4-BE49-F238E27FC236}">
                  <a16:creationId xmlns:a16="http://schemas.microsoft.com/office/drawing/2014/main" id="{B7A0E97F-663E-403D-959B-58EF27580D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6715" y="4902996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6 w 8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6" name="Freeform 1561">
              <a:extLst>
                <a:ext uri="{FF2B5EF4-FFF2-40B4-BE49-F238E27FC236}">
                  <a16:creationId xmlns:a16="http://schemas.microsoft.com/office/drawing/2014/main" id="{DB3EA4CC-3B51-482C-B392-04F2C0C4D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47585" y="4779819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6 w 8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7" name="Freeform 1562">
              <a:extLst>
                <a:ext uri="{FF2B5EF4-FFF2-40B4-BE49-F238E27FC236}">
                  <a16:creationId xmlns:a16="http://schemas.microsoft.com/office/drawing/2014/main" id="{2FF0C002-0763-4006-88C6-C231EA1409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63186" y="5189704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8" name="Freeform 1563">
              <a:extLst>
                <a:ext uri="{FF2B5EF4-FFF2-40B4-BE49-F238E27FC236}">
                  <a16:creationId xmlns:a16="http://schemas.microsoft.com/office/drawing/2014/main" id="{535B9D6B-4F60-419E-999E-BDBD9093F9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16279" y="5157847"/>
              <a:ext cx="33980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29" name="Freeform 1564">
              <a:extLst>
                <a:ext uri="{FF2B5EF4-FFF2-40B4-BE49-F238E27FC236}">
                  <a16:creationId xmlns:a16="http://schemas.microsoft.com/office/drawing/2014/main" id="{777A7468-A46E-450C-98C1-52E298E62B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73621" y="5128114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0" name="Freeform 1565">
              <a:extLst>
                <a:ext uri="{FF2B5EF4-FFF2-40B4-BE49-F238E27FC236}">
                  <a16:creationId xmlns:a16="http://schemas.microsoft.com/office/drawing/2014/main" id="{A327C905-791C-4569-A3EA-B43B1E2F71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52751" y="5189704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1" name="Freeform 1566">
              <a:extLst>
                <a:ext uri="{FF2B5EF4-FFF2-40B4-BE49-F238E27FC236}">
                  <a16:creationId xmlns:a16="http://schemas.microsoft.com/office/drawing/2014/main" id="{FDCCD1E5-D418-44CB-8B27-1C1D16F3B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0092" y="5157847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2" name="Freeform 1567">
              <a:extLst>
                <a:ext uri="{FF2B5EF4-FFF2-40B4-BE49-F238E27FC236}">
                  <a16:creationId xmlns:a16="http://schemas.microsoft.com/office/drawing/2014/main" id="{C7C42C08-ADF7-43F2-A705-6B299E31BD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63186" y="5128114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3" name="Freeform 1568">
              <a:extLst>
                <a:ext uri="{FF2B5EF4-FFF2-40B4-BE49-F238E27FC236}">
                  <a16:creationId xmlns:a16="http://schemas.microsoft.com/office/drawing/2014/main" id="{A3310623-218E-49DD-9542-C7019DEA9C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16279" y="5092011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4" name="Freeform 1569">
              <a:extLst>
                <a:ext uri="{FF2B5EF4-FFF2-40B4-BE49-F238E27FC236}">
                  <a16:creationId xmlns:a16="http://schemas.microsoft.com/office/drawing/2014/main" id="{8B9D3144-D251-4C86-85E0-ED121F9FE7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6715" y="5092011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5" name="Freeform 1570">
              <a:extLst>
                <a:ext uri="{FF2B5EF4-FFF2-40B4-BE49-F238E27FC236}">
                  <a16:creationId xmlns:a16="http://schemas.microsoft.com/office/drawing/2014/main" id="{2CE0A64F-513C-4CEA-9643-680A6B97BA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84057" y="5062279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6" name="Freeform 1571">
              <a:extLst>
                <a:ext uri="{FF2B5EF4-FFF2-40B4-BE49-F238E27FC236}">
                  <a16:creationId xmlns:a16="http://schemas.microsoft.com/office/drawing/2014/main" id="{317B41D3-4EA3-4BD9-B23C-5B399482F4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37150" y="503042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7" name="Freeform 1572">
              <a:extLst>
                <a:ext uri="{FF2B5EF4-FFF2-40B4-BE49-F238E27FC236}">
                  <a16:creationId xmlns:a16="http://schemas.microsoft.com/office/drawing/2014/main" id="{33350F9F-EBD1-419B-90C8-29E845214A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94492" y="499856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8" name="Freeform 1573">
              <a:extLst>
                <a:ext uri="{FF2B5EF4-FFF2-40B4-BE49-F238E27FC236}">
                  <a16:creationId xmlns:a16="http://schemas.microsoft.com/office/drawing/2014/main" id="{990ED0A9-8201-4721-B7DC-B3F6831C0B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47585" y="4968833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39" name="Freeform 1574">
              <a:extLst>
                <a:ext uri="{FF2B5EF4-FFF2-40B4-BE49-F238E27FC236}">
                  <a16:creationId xmlns:a16="http://schemas.microsoft.com/office/drawing/2014/main" id="{B8331385-D698-4E47-9C9F-2316CE7309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4927" y="4932729"/>
              <a:ext cx="29733" cy="23362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0" name="Freeform 1575">
              <a:extLst>
                <a:ext uri="{FF2B5EF4-FFF2-40B4-BE49-F238E27FC236}">
                  <a16:creationId xmlns:a16="http://schemas.microsoft.com/office/drawing/2014/main" id="{18AD8C4A-545A-4A40-AF19-3515F5FDAF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58020" y="4902996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1" name="Freeform 1576">
              <a:extLst>
                <a:ext uri="{FF2B5EF4-FFF2-40B4-BE49-F238E27FC236}">
                  <a16:creationId xmlns:a16="http://schemas.microsoft.com/office/drawing/2014/main" id="{B413E09B-F2EC-4931-88E4-23D43802B4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73621" y="5062279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2" name="Freeform 1577">
              <a:extLst>
                <a:ext uri="{FF2B5EF4-FFF2-40B4-BE49-F238E27FC236}">
                  <a16:creationId xmlns:a16="http://schemas.microsoft.com/office/drawing/2014/main" id="{AB0F6CF0-6FB2-4D03-9F23-184B421823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6715" y="5030422"/>
              <a:ext cx="33980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3" name="Freeform 1578">
              <a:extLst>
                <a:ext uri="{FF2B5EF4-FFF2-40B4-BE49-F238E27FC236}">
                  <a16:creationId xmlns:a16="http://schemas.microsoft.com/office/drawing/2014/main" id="{5E3D48FC-2B96-4CA3-9E0B-4203AF87F2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84057" y="499856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4" name="Freeform 1579">
              <a:extLst>
                <a:ext uri="{FF2B5EF4-FFF2-40B4-BE49-F238E27FC236}">
                  <a16:creationId xmlns:a16="http://schemas.microsoft.com/office/drawing/2014/main" id="{51EAE753-F641-455A-B77D-9502DB487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37150" y="4968833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5" name="Freeform 1580">
              <a:extLst>
                <a:ext uri="{FF2B5EF4-FFF2-40B4-BE49-F238E27FC236}">
                  <a16:creationId xmlns:a16="http://schemas.microsoft.com/office/drawing/2014/main" id="{2FA48430-1A24-46A3-AC80-D01D62BE82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94492" y="4932729"/>
              <a:ext cx="29733" cy="23362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6" name="Freeform 1581">
              <a:extLst>
                <a:ext uri="{FF2B5EF4-FFF2-40B4-BE49-F238E27FC236}">
                  <a16:creationId xmlns:a16="http://schemas.microsoft.com/office/drawing/2014/main" id="{626F1955-9F6E-4B1B-A741-E498CE60DA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47585" y="4902996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7" name="Freeform 1582">
              <a:extLst>
                <a:ext uri="{FF2B5EF4-FFF2-40B4-BE49-F238E27FC236}">
                  <a16:creationId xmlns:a16="http://schemas.microsoft.com/office/drawing/2014/main" id="{D3286E2F-C09D-4F66-83A7-39D348B299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4927" y="4871141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8" name="Freeform 1583">
              <a:extLst>
                <a:ext uri="{FF2B5EF4-FFF2-40B4-BE49-F238E27FC236}">
                  <a16:creationId xmlns:a16="http://schemas.microsoft.com/office/drawing/2014/main" id="{AB1F7EAC-06F3-418D-99CB-90C6CF90C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58020" y="4841408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49" name="Freeform 1584">
              <a:extLst>
                <a:ext uri="{FF2B5EF4-FFF2-40B4-BE49-F238E27FC236}">
                  <a16:creationId xmlns:a16="http://schemas.microsoft.com/office/drawing/2014/main" id="{CD828F05-F264-4C26-8A53-68C32620D0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45174" y="4620538"/>
              <a:ext cx="1059753" cy="441741"/>
            </a:xfrm>
            <a:custGeom>
              <a:avLst/>
              <a:gdLst>
                <a:gd name="T0" fmla="*/ 0 w 240"/>
                <a:gd name="T1" fmla="*/ 29 h 100"/>
                <a:gd name="T2" fmla="*/ 0 w 240"/>
                <a:gd name="T3" fmla="*/ 29 h 100"/>
                <a:gd name="T4" fmla="*/ 1 w 240"/>
                <a:gd name="T5" fmla="*/ 0 h 100"/>
                <a:gd name="T6" fmla="*/ 240 w 240"/>
                <a:gd name="T7" fmla="*/ 0 h 100"/>
                <a:gd name="T8" fmla="*/ 240 w 240"/>
                <a:gd name="T9" fmla="*/ 28 h 100"/>
                <a:gd name="T10" fmla="*/ 240 w 240"/>
                <a:gd name="T11" fmla="*/ 29 h 100"/>
                <a:gd name="T12" fmla="*/ 240 w 240"/>
                <a:gd name="T13" fmla="*/ 29 h 100"/>
                <a:gd name="T14" fmla="*/ 240 w 240"/>
                <a:gd name="T15" fmla="*/ 29 h 100"/>
                <a:gd name="T16" fmla="*/ 230 w 240"/>
                <a:gd name="T17" fmla="*/ 41 h 100"/>
                <a:gd name="T18" fmla="*/ 141 w 240"/>
                <a:gd name="T19" fmla="*/ 93 h 100"/>
                <a:gd name="T20" fmla="*/ 100 w 240"/>
                <a:gd name="T21" fmla="*/ 94 h 100"/>
                <a:gd name="T22" fmla="*/ 7 w 240"/>
                <a:gd name="T23" fmla="*/ 40 h 100"/>
                <a:gd name="T24" fmla="*/ 0 w 240"/>
                <a:gd name="T25" fmla="*/ 2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0" h="100"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40" y="29"/>
                    <a:pt x="240" y="28"/>
                    <a:pt x="240" y="29"/>
                  </a:cubicBezTo>
                  <a:cubicBezTo>
                    <a:pt x="240" y="29"/>
                    <a:pt x="240" y="29"/>
                    <a:pt x="240" y="29"/>
                  </a:cubicBezTo>
                  <a:cubicBezTo>
                    <a:pt x="240" y="29"/>
                    <a:pt x="240" y="29"/>
                    <a:pt x="240" y="29"/>
                  </a:cubicBezTo>
                  <a:cubicBezTo>
                    <a:pt x="239" y="33"/>
                    <a:pt x="236" y="38"/>
                    <a:pt x="230" y="41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29" y="100"/>
                    <a:pt x="111" y="100"/>
                    <a:pt x="100" y="94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2" y="37"/>
                    <a:pt x="0" y="33"/>
                    <a:pt x="0" y="2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0" name="Freeform 1585">
              <a:extLst>
                <a:ext uri="{FF2B5EF4-FFF2-40B4-BE49-F238E27FC236}">
                  <a16:creationId xmlns:a16="http://schemas.microsoft.com/office/drawing/2014/main" id="{280A830C-B3B7-40B4-9C36-35BD85D3AB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45174" y="4620538"/>
              <a:ext cx="1059753" cy="441741"/>
            </a:xfrm>
            <a:custGeom>
              <a:avLst/>
              <a:gdLst>
                <a:gd name="T0" fmla="*/ 0 w 240"/>
                <a:gd name="T1" fmla="*/ 29 h 100"/>
                <a:gd name="T2" fmla="*/ 0 w 240"/>
                <a:gd name="T3" fmla="*/ 29 h 100"/>
                <a:gd name="T4" fmla="*/ 1 w 240"/>
                <a:gd name="T5" fmla="*/ 0 h 100"/>
                <a:gd name="T6" fmla="*/ 240 w 240"/>
                <a:gd name="T7" fmla="*/ 0 h 100"/>
                <a:gd name="T8" fmla="*/ 240 w 240"/>
                <a:gd name="T9" fmla="*/ 28 h 100"/>
                <a:gd name="T10" fmla="*/ 240 w 240"/>
                <a:gd name="T11" fmla="*/ 29 h 100"/>
                <a:gd name="T12" fmla="*/ 240 w 240"/>
                <a:gd name="T13" fmla="*/ 29 h 100"/>
                <a:gd name="T14" fmla="*/ 240 w 240"/>
                <a:gd name="T15" fmla="*/ 29 h 100"/>
                <a:gd name="T16" fmla="*/ 230 w 240"/>
                <a:gd name="T17" fmla="*/ 41 h 100"/>
                <a:gd name="T18" fmla="*/ 141 w 240"/>
                <a:gd name="T19" fmla="*/ 93 h 100"/>
                <a:gd name="T20" fmla="*/ 100 w 240"/>
                <a:gd name="T21" fmla="*/ 94 h 100"/>
                <a:gd name="T22" fmla="*/ 7 w 240"/>
                <a:gd name="T23" fmla="*/ 40 h 100"/>
                <a:gd name="T24" fmla="*/ 0 w 240"/>
                <a:gd name="T25" fmla="*/ 2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0" h="100"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40" y="29"/>
                    <a:pt x="240" y="28"/>
                    <a:pt x="240" y="29"/>
                  </a:cubicBezTo>
                  <a:cubicBezTo>
                    <a:pt x="240" y="29"/>
                    <a:pt x="240" y="29"/>
                    <a:pt x="240" y="29"/>
                  </a:cubicBezTo>
                  <a:cubicBezTo>
                    <a:pt x="240" y="29"/>
                    <a:pt x="240" y="29"/>
                    <a:pt x="240" y="29"/>
                  </a:cubicBezTo>
                  <a:cubicBezTo>
                    <a:pt x="239" y="33"/>
                    <a:pt x="236" y="38"/>
                    <a:pt x="230" y="41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29" y="100"/>
                    <a:pt x="111" y="100"/>
                    <a:pt x="100" y="94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2" y="37"/>
                    <a:pt x="0" y="33"/>
                    <a:pt x="0" y="2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1" name="Freeform 1586">
              <a:extLst>
                <a:ext uri="{FF2B5EF4-FFF2-40B4-BE49-F238E27FC236}">
                  <a16:creationId xmlns:a16="http://schemas.microsoft.com/office/drawing/2014/main" id="{C8174518-CA35-4D37-8328-E02BED5D9F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4555" y="4616290"/>
              <a:ext cx="1078866" cy="445988"/>
            </a:xfrm>
            <a:custGeom>
              <a:avLst/>
              <a:gdLst>
                <a:gd name="T0" fmla="*/ 120 w 244"/>
                <a:gd name="T1" fmla="*/ 101 h 101"/>
                <a:gd name="T2" fmla="*/ 102 w 244"/>
                <a:gd name="T3" fmla="*/ 97 h 101"/>
                <a:gd name="T4" fmla="*/ 9 w 244"/>
                <a:gd name="T5" fmla="*/ 43 h 101"/>
                <a:gd name="T6" fmla="*/ 1 w 244"/>
                <a:gd name="T7" fmla="*/ 30 h 101"/>
                <a:gd name="T8" fmla="*/ 1 w 244"/>
                <a:gd name="T9" fmla="*/ 2 h 101"/>
                <a:gd name="T10" fmla="*/ 244 w 244"/>
                <a:gd name="T11" fmla="*/ 0 h 101"/>
                <a:gd name="T12" fmla="*/ 243 w 244"/>
                <a:gd name="T13" fmla="*/ 29 h 101"/>
                <a:gd name="T14" fmla="*/ 243 w 244"/>
                <a:gd name="T15" fmla="*/ 30 h 101"/>
                <a:gd name="T16" fmla="*/ 233 w 244"/>
                <a:gd name="T17" fmla="*/ 43 h 101"/>
                <a:gd name="T18" fmla="*/ 143 w 244"/>
                <a:gd name="T19" fmla="*/ 95 h 101"/>
                <a:gd name="T20" fmla="*/ 120 w 244"/>
                <a:gd name="T21" fmla="*/ 101 h 101"/>
                <a:gd name="T22" fmla="*/ 5 w 244"/>
                <a:gd name="T23" fmla="*/ 3 h 101"/>
                <a:gd name="T24" fmla="*/ 4 w 244"/>
                <a:gd name="T25" fmla="*/ 30 h 101"/>
                <a:gd name="T26" fmla="*/ 10 w 244"/>
                <a:gd name="T27" fmla="*/ 40 h 101"/>
                <a:gd name="T28" fmla="*/ 103 w 244"/>
                <a:gd name="T29" fmla="*/ 94 h 101"/>
                <a:gd name="T30" fmla="*/ 142 w 244"/>
                <a:gd name="T31" fmla="*/ 92 h 101"/>
                <a:gd name="T32" fmla="*/ 231 w 244"/>
                <a:gd name="T33" fmla="*/ 41 h 101"/>
                <a:gd name="T34" fmla="*/ 240 w 244"/>
                <a:gd name="T35" fmla="*/ 30 h 101"/>
                <a:gd name="T36" fmla="*/ 240 w 244"/>
                <a:gd name="T37" fmla="*/ 29 h 101"/>
                <a:gd name="T38" fmla="*/ 240 w 244"/>
                <a:gd name="T39" fmla="*/ 29 h 101"/>
                <a:gd name="T40" fmla="*/ 241 w 244"/>
                <a:gd name="T41" fmla="*/ 3 h 101"/>
                <a:gd name="T42" fmla="*/ 5 w 244"/>
                <a:gd name="T43" fmla="*/ 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101">
                  <a:moveTo>
                    <a:pt x="120" y="101"/>
                  </a:moveTo>
                  <a:cubicBezTo>
                    <a:pt x="113" y="101"/>
                    <a:pt x="107" y="99"/>
                    <a:pt x="102" y="97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3" y="40"/>
                    <a:pt x="0" y="35"/>
                    <a:pt x="1" y="3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3" y="29"/>
                    <a:pt x="243" y="29"/>
                    <a:pt x="243" y="29"/>
                  </a:cubicBezTo>
                  <a:cubicBezTo>
                    <a:pt x="243" y="30"/>
                    <a:pt x="243" y="30"/>
                    <a:pt x="243" y="30"/>
                  </a:cubicBezTo>
                  <a:cubicBezTo>
                    <a:pt x="243" y="35"/>
                    <a:pt x="239" y="40"/>
                    <a:pt x="233" y="43"/>
                  </a:cubicBezTo>
                  <a:cubicBezTo>
                    <a:pt x="143" y="95"/>
                    <a:pt x="143" y="95"/>
                    <a:pt x="143" y="95"/>
                  </a:cubicBezTo>
                  <a:cubicBezTo>
                    <a:pt x="137" y="99"/>
                    <a:pt x="128" y="101"/>
                    <a:pt x="120" y="101"/>
                  </a:cubicBezTo>
                  <a:close/>
                  <a:moveTo>
                    <a:pt x="5" y="3"/>
                  </a:moveTo>
                  <a:cubicBezTo>
                    <a:pt x="4" y="30"/>
                    <a:pt x="4" y="30"/>
                    <a:pt x="4" y="30"/>
                  </a:cubicBezTo>
                  <a:cubicBezTo>
                    <a:pt x="4" y="34"/>
                    <a:pt x="6" y="38"/>
                    <a:pt x="10" y="40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13" y="100"/>
                    <a:pt x="130" y="99"/>
                    <a:pt x="142" y="92"/>
                  </a:cubicBezTo>
                  <a:cubicBezTo>
                    <a:pt x="231" y="41"/>
                    <a:pt x="231" y="41"/>
                    <a:pt x="231" y="41"/>
                  </a:cubicBezTo>
                  <a:cubicBezTo>
                    <a:pt x="236" y="38"/>
                    <a:pt x="240" y="34"/>
                    <a:pt x="240" y="30"/>
                  </a:cubicBezTo>
                  <a:cubicBezTo>
                    <a:pt x="240" y="30"/>
                    <a:pt x="240" y="30"/>
                    <a:pt x="240" y="29"/>
                  </a:cubicBezTo>
                  <a:cubicBezTo>
                    <a:pt x="240" y="29"/>
                    <a:pt x="240" y="29"/>
                    <a:pt x="240" y="29"/>
                  </a:cubicBezTo>
                  <a:cubicBezTo>
                    <a:pt x="241" y="3"/>
                    <a:pt x="241" y="3"/>
                    <a:pt x="241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2" name="Freeform 1587">
              <a:extLst>
                <a:ext uri="{FF2B5EF4-FFF2-40B4-BE49-F238E27FC236}">
                  <a16:creationId xmlns:a16="http://schemas.microsoft.com/office/drawing/2014/main" id="{DADB73AE-F08E-4AB9-BA10-E11F51AE76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0308" y="4310470"/>
              <a:ext cx="1091609" cy="626508"/>
            </a:xfrm>
            <a:custGeom>
              <a:avLst/>
              <a:gdLst>
                <a:gd name="T0" fmla="*/ 11 w 247"/>
                <a:gd name="T1" fmla="*/ 82 h 142"/>
                <a:gd name="T2" fmla="*/ 104 w 247"/>
                <a:gd name="T3" fmla="*/ 136 h 142"/>
                <a:gd name="T4" fmla="*/ 144 w 247"/>
                <a:gd name="T5" fmla="*/ 134 h 142"/>
                <a:gd name="T6" fmla="*/ 233 w 247"/>
                <a:gd name="T7" fmla="*/ 83 h 142"/>
                <a:gd name="T8" fmla="*/ 236 w 247"/>
                <a:gd name="T9" fmla="*/ 60 h 142"/>
                <a:gd name="T10" fmla="*/ 143 w 247"/>
                <a:gd name="T11" fmla="*/ 6 h 142"/>
                <a:gd name="T12" fmla="*/ 103 w 247"/>
                <a:gd name="T13" fmla="*/ 7 h 142"/>
                <a:gd name="T14" fmla="*/ 14 w 247"/>
                <a:gd name="T15" fmla="*/ 59 h 142"/>
                <a:gd name="T16" fmla="*/ 11 w 247"/>
                <a:gd name="T17" fmla="*/ 8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142">
                  <a:moveTo>
                    <a:pt x="11" y="82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4" y="142"/>
                    <a:pt x="132" y="141"/>
                    <a:pt x="144" y="134"/>
                  </a:cubicBezTo>
                  <a:cubicBezTo>
                    <a:pt x="233" y="83"/>
                    <a:pt x="233" y="83"/>
                    <a:pt x="233" y="83"/>
                  </a:cubicBezTo>
                  <a:cubicBezTo>
                    <a:pt x="245" y="76"/>
                    <a:pt x="247" y="65"/>
                    <a:pt x="236" y="60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33" y="0"/>
                    <a:pt x="115" y="0"/>
                    <a:pt x="103" y="7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2" y="66"/>
                    <a:pt x="0" y="76"/>
                    <a:pt x="11" y="8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3" name="Freeform 1588">
              <a:extLst>
                <a:ext uri="{FF2B5EF4-FFF2-40B4-BE49-F238E27FC236}">
                  <a16:creationId xmlns:a16="http://schemas.microsoft.com/office/drawing/2014/main" id="{B3BE596D-FC13-40C9-8CF1-A4BD36B71E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26060" y="4359316"/>
              <a:ext cx="1091609" cy="626508"/>
            </a:xfrm>
            <a:custGeom>
              <a:avLst/>
              <a:gdLst>
                <a:gd name="T0" fmla="*/ 11 w 247"/>
                <a:gd name="T1" fmla="*/ 82 h 142"/>
                <a:gd name="T2" fmla="*/ 104 w 247"/>
                <a:gd name="T3" fmla="*/ 136 h 142"/>
                <a:gd name="T4" fmla="*/ 144 w 247"/>
                <a:gd name="T5" fmla="*/ 134 h 142"/>
                <a:gd name="T6" fmla="*/ 233 w 247"/>
                <a:gd name="T7" fmla="*/ 83 h 142"/>
                <a:gd name="T8" fmla="*/ 236 w 247"/>
                <a:gd name="T9" fmla="*/ 59 h 142"/>
                <a:gd name="T10" fmla="*/ 143 w 247"/>
                <a:gd name="T11" fmla="*/ 5 h 142"/>
                <a:gd name="T12" fmla="*/ 103 w 247"/>
                <a:gd name="T13" fmla="*/ 7 h 142"/>
                <a:gd name="T14" fmla="*/ 14 w 247"/>
                <a:gd name="T15" fmla="*/ 59 h 142"/>
                <a:gd name="T16" fmla="*/ 11 w 247"/>
                <a:gd name="T17" fmla="*/ 8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142">
                  <a:moveTo>
                    <a:pt x="11" y="82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4" y="142"/>
                    <a:pt x="132" y="141"/>
                    <a:pt x="144" y="134"/>
                  </a:cubicBezTo>
                  <a:cubicBezTo>
                    <a:pt x="233" y="83"/>
                    <a:pt x="233" y="83"/>
                    <a:pt x="233" y="83"/>
                  </a:cubicBezTo>
                  <a:cubicBezTo>
                    <a:pt x="245" y="76"/>
                    <a:pt x="247" y="65"/>
                    <a:pt x="236" y="59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33" y="0"/>
                    <a:pt x="115" y="0"/>
                    <a:pt x="103" y="7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2" y="66"/>
                    <a:pt x="0" y="76"/>
                    <a:pt x="11" y="82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4" name="Freeform 1589">
              <a:extLst>
                <a:ext uri="{FF2B5EF4-FFF2-40B4-BE49-F238E27FC236}">
                  <a16:creationId xmlns:a16="http://schemas.microsoft.com/office/drawing/2014/main" id="{4D3BAEB9-B118-47B6-83B6-C82E4ED59A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8803" y="4301975"/>
              <a:ext cx="1074619" cy="635003"/>
            </a:xfrm>
            <a:custGeom>
              <a:avLst/>
              <a:gdLst>
                <a:gd name="T0" fmla="*/ 119 w 243"/>
                <a:gd name="T1" fmla="*/ 144 h 144"/>
                <a:gd name="T2" fmla="*/ 101 w 243"/>
                <a:gd name="T3" fmla="*/ 139 h 144"/>
                <a:gd name="T4" fmla="*/ 8 w 243"/>
                <a:gd name="T5" fmla="*/ 86 h 144"/>
                <a:gd name="T6" fmla="*/ 0 w 243"/>
                <a:gd name="T7" fmla="*/ 74 h 144"/>
                <a:gd name="T8" fmla="*/ 11 w 243"/>
                <a:gd name="T9" fmla="*/ 60 h 144"/>
                <a:gd name="T10" fmla="*/ 100 w 243"/>
                <a:gd name="T11" fmla="*/ 8 h 144"/>
                <a:gd name="T12" fmla="*/ 142 w 243"/>
                <a:gd name="T13" fmla="*/ 6 h 144"/>
                <a:gd name="T14" fmla="*/ 235 w 243"/>
                <a:gd name="T15" fmla="*/ 60 h 144"/>
                <a:gd name="T16" fmla="*/ 243 w 243"/>
                <a:gd name="T17" fmla="*/ 72 h 144"/>
                <a:gd name="T18" fmla="*/ 232 w 243"/>
                <a:gd name="T19" fmla="*/ 86 h 144"/>
                <a:gd name="T20" fmla="*/ 143 w 243"/>
                <a:gd name="T21" fmla="*/ 138 h 144"/>
                <a:gd name="T22" fmla="*/ 119 w 243"/>
                <a:gd name="T23" fmla="*/ 144 h 144"/>
                <a:gd name="T24" fmla="*/ 124 w 243"/>
                <a:gd name="T25" fmla="*/ 5 h 144"/>
                <a:gd name="T26" fmla="*/ 102 w 243"/>
                <a:gd name="T27" fmla="*/ 11 h 144"/>
                <a:gd name="T28" fmla="*/ 12 w 243"/>
                <a:gd name="T29" fmla="*/ 62 h 144"/>
                <a:gd name="T30" fmla="*/ 3 w 243"/>
                <a:gd name="T31" fmla="*/ 74 h 144"/>
                <a:gd name="T32" fmla="*/ 9 w 243"/>
                <a:gd name="T33" fmla="*/ 83 h 144"/>
                <a:gd name="T34" fmla="*/ 103 w 243"/>
                <a:gd name="T35" fmla="*/ 137 h 144"/>
                <a:gd name="T36" fmla="*/ 141 w 243"/>
                <a:gd name="T37" fmla="*/ 135 h 144"/>
                <a:gd name="T38" fmla="*/ 231 w 243"/>
                <a:gd name="T39" fmla="*/ 83 h 144"/>
                <a:gd name="T40" fmla="*/ 240 w 243"/>
                <a:gd name="T41" fmla="*/ 72 h 144"/>
                <a:gd name="T42" fmla="*/ 233 w 243"/>
                <a:gd name="T43" fmla="*/ 63 h 144"/>
                <a:gd name="T44" fmla="*/ 140 w 243"/>
                <a:gd name="T45" fmla="*/ 9 h 144"/>
                <a:gd name="T46" fmla="*/ 124 w 243"/>
                <a:gd name="T47" fmla="*/ 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44">
                  <a:moveTo>
                    <a:pt x="119" y="144"/>
                  </a:moveTo>
                  <a:cubicBezTo>
                    <a:pt x="112" y="144"/>
                    <a:pt x="106" y="142"/>
                    <a:pt x="101" y="139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3" y="83"/>
                    <a:pt x="0" y="79"/>
                    <a:pt x="0" y="74"/>
                  </a:cubicBezTo>
                  <a:cubicBezTo>
                    <a:pt x="0" y="69"/>
                    <a:pt x="4" y="63"/>
                    <a:pt x="11" y="60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12" y="1"/>
                    <a:pt x="131" y="0"/>
                    <a:pt x="142" y="6"/>
                  </a:cubicBezTo>
                  <a:cubicBezTo>
                    <a:pt x="235" y="60"/>
                    <a:pt x="235" y="60"/>
                    <a:pt x="235" y="60"/>
                  </a:cubicBezTo>
                  <a:cubicBezTo>
                    <a:pt x="240" y="63"/>
                    <a:pt x="243" y="67"/>
                    <a:pt x="243" y="72"/>
                  </a:cubicBezTo>
                  <a:cubicBezTo>
                    <a:pt x="243" y="77"/>
                    <a:pt x="239" y="82"/>
                    <a:pt x="232" y="86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36" y="142"/>
                    <a:pt x="127" y="144"/>
                    <a:pt x="119" y="144"/>
                  </a:cubicBezTo>
                  <a:close/>
                  <a:moveTo>
                    <a:pt x="124" y="5"/>
                  </a:moveTo>
                  <a:cubicBezTo>
                    <a:pt x="116" y="5"/>
                    <a:pt x="108" y="7"/>
                    <a:pt x="102" y="11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7" y="66"/>
                    <a:pt x="3" y="70"/>
                    <a:pt x="3" y="74"/>
                  </a:cubicBezTo>
                  <a:cubicBezTo>
                    <a:pt x="3" y="77"/>
                    <a:pt x="5" y="81"/>
                    <a:pt x="9" y="8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12" y="142"/>
                    <a:pt x="130" y="142"/>
                    <a:pt x="141" y="135"/>
                  </a:cubicBezTo>
                  <a:cubicBezTo>
                    <a:pt x="231" y="83"/>
                    <a:pt x="231" y="83"/>
                    <a:pt x="231" y="83"/>
                  </a:cubicBezTo>
                  <a:cubicBezTo>
                    <a:pt x="236" y="80"/>
                    <a:pt x="240" y="76"/>
                    <a:pt x="240" y="72"/>
                  </a:cubicBezTo>
                  <a:cubicBezTo>
                    <a:pt x="240" y="68"/>
                    <a:pt x="237" y="65"/>
                    <a:pt x="233" y="63"/>
                  </a:cubicBezTo>
                  <a:cubicBezTo>
                    <a:pt x="140" y="9"/>
                    <a:pt x="140" y="9"/>
                    <a:pt x="140" y="9"/>
                  </a:cubicBezTo>
                  <a:cubicBezTo>
                    <a:pt x="136" y="6"/>
                    <a:pt x="130" y="5"/>
                    <a:pt x="124" y="5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5" name="Freeform 1590">
              <a:extLst>
                <a:ext uri="{FF2B5EF4-FFF2-40B4-BE49-F238E27FC236}">
                  <a16:creationId xmlns:a16="http://schemas.microsoft.com/office/drawing/2014/main" id="{35AD68B4-89F6-45E0-B3C7-CEA6FEFF61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73989" y="4620538"/>
              <a:ext cx="530938" cy="431122"/>
            </a:xfrm>
            <a:custGeom>
              <a:avLst/>
              <a:gdLst>
                <a:gd name="T0" fmla="*/ 0 w 250"/>
                <a:gd name="T1" fmla="*/ 145 h 203"/>
                <a:gd name="T2" fmla="*/ 0 w 250"/>
                <a:gd name="T3" fmla="*/ 203 h 203"/>
                <a:gd name="T4" fmla="*/ 27 w 250"/>
                <a:gd name="T5" fmla="*/ 199 h 203"/>
                <a:gd name="T6" fmla="*/ 62 w 250"/>
                <a:gd name="T7" fmla="*/ 183 h 203"/>
                <a:gd name="T8" fmla="*/ 239 w 250"/>
                <a:gd name="T9" fmla="*/ 79 h 203"/>
                <a:gd name="T10" fmla="*/ 250 w 250"/>
                <a:gd name="T11" fmla="*/ 64 h 203"/>
                <a:gd name="T12" fmla="*/ 250 w 250"/>
                <a:gd name="T13" fmla="*/ 0 h 203"/>
                <a:gd name="T14" fmla="*/ 243 w 250"/>
                <a:gd name="T15" fmla="*/ 18 h 203"/>
                <a:gd name="T16" fmla="*/ 204 w 250"/>
                <a:gd name="T17" fmla="*/ 41 h 203"/>
                <a:gd name="T18" fmla="*/ 27 w 250"/>
                <a:gd name="T19" fmla="*/ 141 h 203"/>
                <a:gd name="T20" fmla="*/ 0 w 250"/>
                <a:gd name="T21" fmla="*/ 14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203">
                  <a:moveTo>
                    <a:pt x="0" y="145"/>
                  </a:moveTo>
                  <a:lnTo>
                    <a:pt x="0" y="203"/>
                  </a:lnTo>
                  <a:lnTo>
                    <a:pt x="27" y="199"/>
                  </a:lnTo>
                  <a:lnTo>
                    <a:pt x="62" y="183"/>
                  </a:lnTo>
                  <a:lnTo>
                    <a:pt x="239" y="79"/>
                  </a:lnTo>
                  <a:lnTo>
                    <a:pt x="250" y="64"/>
                  </a:lnTo>
                  <a:lnTo>
                    <a:pt x="250" y="0"/>
                  </a:lnTo>
                  <a:lnTo>
                    <a:pt x="243" y="18"/>
                  </a:lnTo>
                  <a:lnTo>
                    <a:pt x="204" y="41"/>
                  </a:lnTo>
                  <a:lnTo>
                    <a:pt x="27" y="141"/>
                  </a:lnTo>
                  <a:lnTo>
                    <a:pt x="0" y="145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6" name="Freeform 1591">
              <a:extLst>
                <a:ext uri="{FF2B5EF4-FFF2-40B4-BE49-F238E27FC236}">
                  <a16:creationId xmlns:a16="http://schemas.microsoft.com/office/drawing/2014/main" id="{C3CF28F7-A8AB-44A6-8A6B-EB95738996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99657" y="4915739"/>
              <a:ext cx="29733" cy="135920"/>
            </a:xfrm>
            <a:custGeom>
              <a:avLst/>
              <a:gdLst>
                <a:gd name="T0" fmla="*/ 14 w 14"/>
                <a:gd name="T1" fmla="*/ 4 h 64"/>
                <a:gd name="T2" fmla="*/ 14 w 14"/>
                <a:gd name="T3" fmla="*/ 64 h 64"/>
                <a:gd name="T4" fmla="*/ 0 w 14"/>
                <a:gd name="T5" fmla="*/ 58 h 64"/>
                <a:gd name="T6" fmla="*/ 0 w 14"/>
                <a:gd name="T7" fmla="*/ 0 h 64"/>
                <a:gd name="T8" fmla="*/ 14 w 14"/>
                <a:gd name="T9" fmla="*/ 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4">
                  <a:moveTo>
                    <a:pt x="14" y="4"/>
                  </a:moveTo>
                  <a:lnTo>
                    <a:pt x="14" y="64"/>
                  </a:lnTo>
                  <a:lnTo>
                    <a:pt x="0" y="58"/>
                  </a:lnTo>
                  <a:lnTo>
                    <a:pt x="0" y="0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7" name="Freeform 1592">
              <a:extLst>
                <a:ext uri="{FF2B5EF4-FFF2-40B4-BE49-F238E27FC236}">
                  <a16:creationId xmlns:a16="http://schemas.microsoft.com/office/drawing/2014/main" id="{60C8B50D-E1A7-4702-AE11-40704C6778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8803" y="4629033"/>
              <a:ext cx="31857" cy="163530"/>
            </a:xfrm>
            <a:custGeom>
              <a:avLst/>
              <a:gdLst>
                <a:gd name="T0" fmla="*/ 15 w 15"/>
                <a:gd name="T1" fmla="*/ 21 h 77"/>
                <a:gd name="T2" fmla="*/ 15 w 15"/>
                <a:gd name="T3" fmla="*/ 77 h 77"/>
                <a:gd name="T4" fmla="*/ 7 w 15"/>
                <a:gd name="T5" fmla="*/ 71 h 77"/>
                <a:gd name="T6" fmla="*/ 0 w 15"/>
                <a:gd name="T7" fmla="*/ 31 h 77"/>
                <a:gd name="T8" fmla="*/ 3 w 15"/>
                <a:gd name="T9" fmla="*/ 0 h 77"/>
                <a:gd name="T10" fmla="*/ 15 w 15"/>
                <a:gd name="T11" fmla="*/ 21 h 77"/>
                <a:gd name="T12" fmla="*/ 15 w 15"/>
                <a:gd name="T13" fmla="*/ 2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7">
                  <a:moveTo>
                    <a:pt x="15" y="21"/>
                  </a:moveTo>
                  <a:lnTo>
                    <a:pt x="15" y="77"/>
                  </a:lnTo>
                  <a:lnTo>
                    <a:pt x="7" y="71"/>
                  </a:lnTo>
                  <a:lnTo>
                    <a:pt x="0" y="31"/>
                  </a:lnTo>
                  <a:lnTo>
                    <a:pt x="3" y="0"/>
                  </a:lnTo>
                  <a:lnTo>
                    <a:pt x="15" y="21"/>
                  </a:lnTo>
                  <a:lnTo>
                    <a:pt x="15" y="21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8" name="Freeform 1593">
              <a:extLst>
                <a:ext uri="{FF2B5EF4-FFF2-40B4-BE49-F238E27FC236}">
                  <a16:creationId xmlns:a16="http://schemas.microsoft.com/office/drawing/2014/main" id="{76ED3EBF-7029-429E-ADED-C6EB15472C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316" y="4505855"/>
              <a:ext cx="388647" cy="220870"/>
            </a:xfrm>
            <a:custGeom>
              <a:avLst/>
              <a:gdLst>
                <a:gd name="T0" fmla="*/ 52 w 183"/>
                <a:gd name="T1" fmla="*/ 104 h 104"/>
                <a:gd name="T2" fmla="*/ 0 w 183"/>
                <a:gd name="T3" fmla="*/ 74 h 104"/>
                <a:gd name="T4" fmla="*/ 120 w 183"/>
                <a:gd name="T5" fmla="*/ 0 h 104"/>
                <a:gd name="T6" fmla="*/ 183 w 183"/>
                <a:gd name="T7" fmla="*/ 35 h 104"/>
                <a:gd name="T8" fmla="*/ 52 w 183"/>
                <a:gd name="T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04">
                  <a:moveTo>
                    <a:pt x="52" y="104"/>
                  </a:moveTo>
                  <a:lnTo>
                    <a:pt x="0" y="74"/>
                  </a:lnTo>
                  <a:lnTo>
                    <a:pt x="120" y="0"/>
                  </a:lnTo>
                  <a:lnTo>
                    <a:pt x="183" y="35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59" name="Freeform 1594">
              <a:extLst>
                <a:ext uri="{FF2B5EF4-FFF2-40B4-BE49-F238E27FC236}">
                  <a16:creationId xmlns:a16="http://schemas.microsoft.com/office/drawing/2014/main" id="{F40CB670-DD8A-4A22-82C5-81F61B79FA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27449" y="4457008"/>
              <a:ext cx="420503" cy="242108"/>
            </a:xfrm>
            <a:custGeom>
              <a:avLst/>
              <a:gdLst>
                <a:gd name="T0" fmla="*/ 59 w 198"/>
                <a:gd name="T1" fmla="*/ 114 h 114"/>
                <a:gd name="T2" fmla="*/ 0 w 198"/>
                <a:gd name="T3" fmla="*/ 81 h 114"/>
                <a:gd name="T4" fmla="*/ 127 w 198"/>
                <a:gd name="T5" fmla="*/ 0 h 114"/>
                <a:gd name="T6" fmla="*/ 198 w 198"/>
                <a:gd name="T7" fmla="*/ 41 h 114"/>
                <a:gd name="T8" fmla="*/ 59 w 198"/>
                <a:gd name="T9" fmla="*/ 114 h 114"/>
                <a:gd name="T10" fmla="*/ 15 w 198"/>
                <a:gd name="T11" fmla="*/ 81 h 114"/>
                <a:gd name="T12" fmla="*/ 59 w 198"/>
                <a:gd name="T13" fmla="*/ 106 h 114"/>
                <a:gd name="T14" fmla="*/ 183 w 198"/>
                <a:gd name="T15" fmla="*/ 41 h 114"/>
                <a:gd name="T16" fmla="*/ 127 w 198"/>
                <a:gd name="T17" fmla="*/ 8 h 114"/>
                <a:gd name="T18" fmla="*/ 15 w 198"/>
                <a:gd name="T19" fmla="*/ 8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114">
                  <a:moveTo>
                    <a:pt x="59" y="114"/>
                  </a:moveTo>
                  <a:lnTo>
                    <a:pt x="0" y="81"/>
                  </a:lnTo>
                  <a:lnTo>
                    <a:pt x="127" y="0"/>
                  </a:lnTo>
                  <a:lnTo>
                    <a:pt x="198" y="41"/>
                  </a:lnTo>
                  <a:lnTo>
                    <a:pt x="59" y="114"/>
                  </a:lnTo>
                  <a:close/>
                  <a:moveTo>
                    <a:pt x="15" y="81"/>
                  </a:moveTo>
                  <a:lnTo>
                    <a:pt x="59" y="106"/>
                  </a:lnTo>
                  <a:lnTo>
                    <a:pt x="183" y="41"/>
                  </a:lnTo>
                  <a:lnTo>
                    <a:pt x="127" y="8"/>
                  </a:lnTo>
                  <a:lnTo>
                    <a:pt x="15" y="81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0" name="Freeform 1595">
              <a:extLst>
                <a:ext uri="{FF2B5EF4-FFF2-40B4-BE49-F238E27FC236}">
                  <a16:creationId xmlns:a16="http://schemas.microsoft.com/office/drawing/2014/main" id="{FD0A8B4A-E859-47BB-A146-68AAB1A6FB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3386" y="4694869"/>
              <a:ext cx="176272" cy="101940"/>
            </a:xfrm>
            <a:custGeom>
              <a:avLst/>
              <a:gdLst>
                <a:gd name="T0" fmla="*/ 49 w 83"/>
                <a:gd name="T1" fmla="*/ 48 h 48"/>
                <a:gd name="T2" fmla="*/ 0 w 83"/>
                <a:gd name="T3" fmla="*/ 19 h 48"/>
                <a:gd name="T4" fmla="*/ 31 w 83"/>
                <a:gd name="T5" fmla="*/ 0 h 48"/>
                <a:gd name="T6" fmla="*/ 83 w 83"/>
                <a:gd name="T7" fmla="*/ 29 h 48"/>
                <a:gd name="T8" fmla="*/ 49 w 8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48">
                  <a:moveTo>
                    <a:pt x="49" y="48"/>
                  </a:moveTo>
                  <a:lnTo>
                    <a:pt x="0" y="19"/>
                  </a:lnTo>
                  <a:lnTo>
                    <a:pt x="31" y="0"/>
                  </a:lnTo>
                  <a:lnTo>
                    <a:pt x="83" y="29"/>
                  </a:lnTo>
                  <a:lnTo>
                    <a:pt x="49" y="4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1" name="Freeform 1596">
              <a:extLst>
                <a:ext uri="{FF2B5EF4-FFF2-40B4-BE49-F238E27FC236}">
                  <a16:creationId xmlns:a16="http://schemas.microsoft.com/office/drawing/2014/main" id="{07154667-5130-4F1D-9E72-6FC5640097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04271" y="4650271"/>
              <a:ext cx="208128" cy="118930"/>
            </a:xfrm>
            <a:custGeom>
              <a:avLst/>
              <a:gdLst>
                <a:gd name="T0" fmla="*/ 58 w 98"/>
                <a:gd name="T1" fmla="*/ 56 h 56"/>
                <a:gd name="T2" fmla="*/ 0 w 98"/>
                <a:gd name="T3" fmla="*/ 23 h 56"/>
                <a:gd name="T4" fmla="*/ 40 w 98"/>
                <a:gd name="T5" fmla="*/ 0 h 56"/>
                <a:gd name="T6" fmla="*/ 98 w 98"/>
                <a:gd name="T7" fmla="*/ 33 h 56"/>
                <a:gd name="T8" fmla="*/ 58 w 98"/>
                <a:gd name="T9" fmla="*/ 56 h 56"/>
                <a:gd name="T10" fmla="*/ 15 w 98"/>
                <a:gd name="T11" fmla="*/ 23 h 56"/>
                <a:gd name="T12" fmla="*/ 58 w 98"/>
                <a:gd name="T13" fmla="*/ 48 h 56"/>
                <a:gd name="T14" fmla="*/ 83 w 98"/>
                <a:gd name="T15" fmla="*/ 33 h 56"/>
                <a:gd name="T16" fmla="*/ 40 w 98"/>
                <a:gd name="T17" fmla="*/ 9 h 56"/>
                <a:gd name="T18" fmla="*/ 15 w 98"/>
                <a:gd name="T19" fmla="*/ 2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" h="56">
                  <a:moveTo>
                    <a:pt x="58" y="56"/>
                  </a:moveTo>
                  <a:lnTo>
                    <a:pt x="0" y="23"/>
                  </a:lnTo>
                  <a:lnTo>
                    <a:pt x="40" y="0"/>
                  </a:lnTo>
                  <a:lnTo>
                    <a:pt x="98" y="33"/>
                  </a:lnTo>
                  <a:lnTo>
                    <a:pt x="58" y="56"/>
                  </a:lnTo>
                  <a:close/>
                  <a:moveTo>
                    <a:pt x="15" y="23"/>
                  </a:moveTo>
                  <a:lnTo>
                    <a:pt x="58" y="48"/>
                  </a:lnTo>
                  <a:lnTo>
                    <a:pt x="83" y="33"/>
                  </a:lnTo>
                  <a:lnTo>
                    <a:pt x="40" y="9"/>
                  </a:lnTo>
                  <a:lnTo>
                    <a:pt x="15" y="23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2" name="Freeform 1597">
              <a:extLst>
                <a:ext uri="{FF2B5EF4-FFF2-40B4-BE49-F238E27FC236}">
                  <a16:creationId xmlns:a16="http://schemas.microsoft.com/office/drawing/2014/main" id="{45499352-A9B9-4940-9F77-7759B0E9B4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53461" y="5397832"/>
              <a:ext cx="679601" cy="422627"/>
            </a:xfrm>
            <a:custGeom>
              <a:avLst/>
              <a:gdLst>
                <a:gd name="T0" fmla="*/ 154 w 154"/>
                <a:gd name="T1" fmla="*/ 16 h 96"/>
                <a:gd name="T2" fmla="*/ 147 w 154"/>
                <a:gd name="T3" fmla="*/ 18 h 96"/>
                <a:gd name="T4" fmla="*/ 139 w 154"/>
                <a:gd name="T5" fmla="*/ 12 h 96"/>
                <a:gd name="T6" fmla="*/ 139 w 154"/>
                <a:gd name="T7" fmla="*/ 12 h 96"/>
                <a:gd name="T8" fmla="*/ 80 w 154"/>
                <a:gd name="T9" fmla="*/ 9 h 96"/>
                <a:gd name="T10" fmla="*/ 19 w 154"/>
                <a:gd name="T11" fmla="*/ 45 h 96"/>
                <a:gd name="T12" fmla="*/ 0 w 154"/>
                <a:gd name="T13" fmla="*/ 51 h 96"/>
                <a:gd name="T14" fmla="*/ 0 w 154"/>
                <a:gd name="T15" fmla="*/ 65 h 96"/>
                <a:gd name="T16" fmla="*/ 0 w 154"/>
                <a:gd name="T17" fmla="*/ 65 h 96"/>
                <a:gd name="T18" fmla="*/ 14 w 154"/>
                <a:gd name="T19" fmla="*/ 84 h 96"/>
                <a:gd name="T20" fmla="*/ 73 w 154"/>
                <a:gd name="T21" fmla="*/ 87 h 96"/>
                <a:gd name="T22" fmla="*/ 144 w 154"/>
                <a:gd name="T23" fmla="*/ 46 h 96"/>
                <a:gd name="T24" fmla="*/ 154 w 154"/>
                <a:gd name="T25" fmla="*/ 31 h 96"/>
                <a:gd name="T26" fmla="*/ 154 w 154"/>
                <a:gd name="T27" fmla="*/ 31 h 96"/>
                <a:gd name="T28" fmla="*/ 154 w 154"/>
                <a:gd name="T29" fmla="*/ 1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96">
                  <a:moveTo>
                    <a:pt x="154" y="16"/>
                  </a:moveTo>
                  <a:cubicBezTo>
                    <a:pt x="147" y="18"/>
                    <a:pt x="147" y="18"/>
                    <a:pt x="147" y="18"/>
                  </a:cubicBezTo>
                  <a:cubicBezTo>
                    <a:pt x="145" y="16"/>
                    <a:pt x="142" y="13"/>
                    <a:pt x="139" y="12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22" y="1"/>
                    <a:pt x="95" y="0"/>
                    <a:pt x="80" y="9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2"/>
                    <a:pt x="5" y="79"/>
                    <a:pt x="14" y="84"/>
                  </a:cubicBezTo>
                  <a:cubicBezTo>
                    <a:pt x="32" y="95"/>
                    <a:pt x="58" y="96"/>
                    <a:pt x="73" y="87"/>
                  </a:cubicBezTo>
                  <a:cubicBezTo>
                    <a:pt x="144" y="46"/>
                    <a:pt x="144" y="46"/>
                    <a:pt x="144" y="46"/>
                  </a:cubicBezTo>
                  <a:cubicBezTo>
                    <a:pt x="150" y="42"/>
                    <a:pt x="154" y="37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lnTo>
                    <a:pt x="154" y="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3" name="Freeform 1598">
              <a:extLst>
                <a:ext uri="{FF2B5EF4-FFF2-40B4-BE49-F238E27FC236}">
                  <a16:creationId xmlns:a16="http://schemas.microsoft.com/office/drawing/2014/main" id="{DE94BD42-BE1F-409E-ACD7-732AC6D099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844966" y="5387212"/>
              <a:ext cx="698715" cy="428998"/>
            </a:xfrm>
            <a:custGeom>
              <a:avLst/>
              <a:gdLst>
                <a:gd name="T0" fmla="*/ 50 w 158"/>
                <a:gd name="T1" fmla="*/ 97 h 97"/>
                <a:gd name="T2" fmla="*/ 15 w 158"/>
                <a:gd name="T3" fmla="*/ 88 h 97"/>
                <a:gd name="T4" fmla="*/ 0 w 158"/>
                <a:gd name="T5" fmla="*/ 70 h 97"/>
                <a:gd name="T6" fmla="*/ 0 w 158"/>
                <a:gd name="T7" fmla="*/ 70 h 97"/>
                <a:gd name="T8" fmla="*/ 0 w 158"/>
                <a:gd name="T9" fmla="*/ 67 h 97"/>
                <a:gd name="T10" fmla="*/ 0 w 158"/>
                <a:gd name="T11" fmla="*/ 51 h 97"/>
                <a:gd name="T12" fmla="*/ 20 w 158"/>
                <a:gd name="T13" fmla="*/ 45 h 97"/>
                <a:gd name="T14" fmla="*/ 81 w 158"/>
                <a:gd name="T15" fmla="*/ 9 h 97"/>
                <a:gd name="T16" fmla="*/ 142 w 158"/>
                <a:gd name="T17" fmla="*/ 12 h 97"/>
                <a:gd name="T18" fmla="*/ 150 w 158"/>
                <a:gd name="T19" fmla="*/ 17 h 97"/>
                <a:gd name="T20" fmla="*/ 158 w 158"/>
                <a:gd name="T21" fmla="*/ 18 h 97"/>
                <a:gd name="T22" fmla="*/ 158 w 158"/>
                <a:gd name="T23" fmla="*/ 35 h 97"/>
                <a:gd name="T24" fmla="*/ 147 w 158"/>
                <a:gd name="T25" fmla="*/ 50 h 97"/>
                <a:gd name="T26" fmla="*/ 76 w 158"/>
                <a:gd name="T27" fmla="*/ 91 h 97"/>
                <a:gd name="T28" fmla="*/ 50 w 158"/>
                <a:gd name="T29" fmla="*/ 97 h 97"/>
                <a:gd name="T30" fmla="*/ 4 w 158"/>
                <a:gd name="T31" fmla="*/ 67 h 97"/>
                <a:gd name="T32" fmla="*/ 4 w 158"/>
                <a:gd name="T33" fmla="*/ 67 h 97"/>
                <a:gd name="T34" fmla="*/ 17 w 158"/>
                <a:gd name="T35" fmla="*/ 85 h 97"/>
                <a:gd name="T36" fmla="*/ 74 w 158"/>
                <a:gd name="T37" fmla="*/ 87 h 97"/>
                <a:gd name="T38" fmla="*/ 144 w 158"/>
                <a:gd name="T39" fmla="*/ 46 h 97"/>
                <a:gd name="T40" fmla="*/ 154 w 158"/>
                <a:gd name="T41" fmla="*/ 33 h 97"/>
                <a:gd name="T42" fmla="*/ 154 w 158"/>
                <a:gd name="T43" fmla="*/ 33 h 97"/>
                <a:gd name="T44" fmla="*/ 154 w 158"/>
                <a:gd name="T45" fmla="*/ 21 h 97"/>
                <a:gd name="T46" fmla="*/ 149 w 158"/>
                <a:gd name="T47" fmla="*/ 22 h 97"/>
                <a:gd name="T48" fmla="*/ 148 w 158"/>
                <a:gd name="T49" fmla="*/ 21 h 97"/>
                <a:gd name="T50" fmla="*/ 140 w 158"/>
                <a:gd name="T51" fmla="*/ 15 h 97"/>
                <a:gd name="T52" fmla="*/ 83 w 158"/>
                <a:gd name="T53" fmla="*/ 13 h 97"/>
                <a:gd name="T54" fmla="*/ 21 w 158"/>
                <a:gd name="T55" fmla="*/ 49 h 97"/>
                <a:gd name="T56" fmla="*/ 4 w 158"/>
                <a:gd name="T57" fmla="*/ 54 h 97"/>
                <a:gd name="T58" fmla="*/ 4 w 158"/>
                <a:gd name="T59" fmla="*/ 6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8" h="97">
                  <a:moveTo>
                    <a:pt x="50" y="97"/>
                  </a:moveTo>
                  <a:cubicBezTo>
                    <a:pt x="38" y="97"/>
                    <a:pt x="25" y="94"/>
                    <a:pt x="15" y="88"/>
                  </a:cubicBezTo>
                  <a:cubicBezTo>
                    <a:pt x="7" y="83"/>
                    <a:pt x="1" y="77"/>
                    <a:pt x="0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97" y="0"/>
                    <a:pt x="124" y="1"/>
                    <a:pt x="142" y="12"/>
                  </a:cubicBezTo>
                  <a:cubicBezTo>
                    <a:pt x="145" y="13"/>
                    <a:pt x="148" y="15"/>
                    <a:pt x="150" y="17"/>
                  </a:cubicBezTo>
                  <a:cubicBezTo>
                    <a:pt x="158" y="18"/>
                    <a:pt x="158" y="18"/>
                    <a:pt x="158" y="18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7" y="41"/>
                    <a:pt x="153" y="46"/>
                    <a:pt x="147" y="50"/>
                  </a:cubicBezTo>
                  <a:cubicBezTo>
                    <a:pt x="76" y="91"/>
                    <a:pt x="76" y="91"/>
                    <a:pt x="76" y="91"/>
                  </a:cubicBezTo>
                  <a:cubicBezTo>
                    <a:pt x="69" y="95"/>
                    <a:pt x="60" y="97"/>
                    <a:pt x="50" y="97"/>
                  </a:cubicBezTo>
                  <a:close/>
                  <a:moveTo>
                    <a:pt x="4" y="67"/>
                  </a:moveTo>
                  <a:cubicBezTo>
                    <a:pt x="4" y="67"/>
                    <a:pt x="4" y="67"/>
                    <a:pt x="4" y="67"/>
                  </a:cubicBezTo>
                  <a:cubicBezTo>
                    <a:pt x="4" y="73"/>
                    <a:pt x="9" y="80"/>
                    <a:pt x="17" y="85"/>
                  </a:cubicBezTo>
                  <a:cubicBezTo>
                    <a:pt x="34" y="94"/>
                    <a:pt x="60" y="96"/>
                    <a:pt x="74" y="87"/>
                  </a:cubicBezTo>
                  <a:cubicBezTo>
                    <a:pt x="144" y="46"/>
                    <a:pt x="144" y="46"/>
                    <a:pt x="144" y="46"/>
                  </a:cubicBezTo>
                  <a:cubicBezTo>
                    <a:pt x="150" y="43"/>
                    <a:pt x="154" y="38"/>
                    <a:pt x="154" y="33"/>
                  </a:cubicBezTo>
                  <a:cubicBezTo>
                    <a:pt x="154" y="33"/>
                    <a:pt x="154" y="33"/>
                    <a:pt x="154" y="33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46" y="19"/>
                    <a:pt x="143" y="17"/>
                    <a:pt x="140" y="15"/>
                  </a:cubicBezTo>
                  <a:cubicBezTo>
                    <a:pt x="123" y="6"/>
                    <a:pt x="98" y="4"/>
                    <a:pt x="83" y="13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4" y="54"/>
                    <a:pt x="4" y="54"/>
                    <a:pt x="4" y="54"/>
                  </a:cubicBezTo>
                  <a:lnTo>
                    <a:pt x="4" y="67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4" name="Freeform 1599">
              <a:extLst>
                <a:ext uri="{FF2B5EF4-FFF2-40B4-BE49-F238E27FC236}">
                  <a16:creationId xmlns:a16="http://schemas.microsoft.com/office/drawing/2014/main" id="{B5B57CCF-1FBD-4D25-99B0-82E11D9CDD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32223" y="5329871"/>
              <a:ext cx="724200" cy="424751"/>
            </a:xfrm>
            <a:custGeom>
              <a:avLst/>
              <a:gdLst>
                <a:gd name="T0" fmla="*/ 149 w 164"/>
                <a:gd name="T1" fmla="*/ 46 h 96"/>
                <a:gd name="T2" fmla="*/ 78 w 164"/>
                <a:gd name="T3" fmla="*/ 87 h 96"/>
                <a:gd name="T4" fmla="*/ 19 w 164"/>
                <a:gd name="T5" fmla="*/ 85 h 96"/>
                <a:gd name="T6" fmla="*/ 19 w 164"/>
                <a:gd name="T7" fmla="*/ 85 h 96"/>
                <a:gd name="T8" fmla="*/ 15 w 164"/>
                <a:gd name="T9" fmla="*/ 50 h 96"/>
                <a:gd name="T10" fmla="*/ 85 w 164"/>
                <a:gd name="T11" fmla="*/ 9 h 96"/>
                <a:gd name="T12" fmla="*/ 144 w 164"/>
                <a:gd name="T13" fmla="*/ 12 h 96"/>
                <a:gd name="T14" fmla="*/ 144 w 164"/>
                <a:gd name="T15" fmla="*/ 12 h 96"/>
                <a:gd name="T16" fmla="*/ 149 w 164"/>
                <a:gd name="T17" fmla="*/ 4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96">
                  <a:moveTo>
                    <a:pt x="149" y="46"/>
                  </a:moveTo>
                  <a:cubicBezTo>
                    <a:pt x="78" y="87"/>
                    <a:pt x="78" y="87"/>
                    <a:pt x="78" y="87"/>
                  </a:cubicBezTo>
                  <a:cubicBezTo>
                    <a:pt x="63" y="96"/>
                    <a:pt x="37" y="95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2" y="74"/>
                    <a:pt x="0" y="59"/>
                    <a:pt x="15" y="50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100" y="0"/>
                    <a:pt x="127" y="2"/>
                    <a:pt x="144" y="12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62" y="22"/>
                    <a:pt x="164" y="37"/>
                    <a:pt x="149" y="4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5" name="Freeform 1600">
              <a:extLst>
                <a:ext uri="{FF2B5EF4-FFF2-40B4-BE49-F238E27FC236}">
                  <a16:creationId xmlns:a16="http://schemas.microsoft.com/office/drawing/2014/main" id="{F89BF3FE-20C7-4F10-8F5B-8EDC537CF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53461" y="5370222"/>
              <a:ext cx="675353" cy="384400"/>
            </a:xfrm>
            <a:custGeom>
              <a:avLst/>
              <a:gdLst>
                <a:gd name="T0" fmla="*/ 139 w 153"/>
                <a:gd name="T1" fmla="*/ 11 h 87"/>
                <a:gd name="T2" fmla="*/ 80 w 153"/>
                <a:gd name="T3" fmla="*/ 8 h 87"/>
                <a:gd name="T4" fmla="*/ 10 w 153"/>
                <a:gd name="T5" fmla="*/ 49 h 87"/>
                <a:gd name="T6" fmla="*/ 0 w 153"/>
                <a:gd name="T7" fmla="*/ 60 h 87"/>
                <a:gd name="T8" fmla="*/ 14 w 153"/>
                <a:gd name="T9" fmla="*/ 76 h 87"/>
                <a:gd name="T10" fmla="*/ 73 w 153"/>
                <a:gd name="T11" fmla="*/ 78 h 87"/>
                <a:gd name="T12" fmla="*/ 144 w 153"/>
                <a:gd name="T13" fmla="*/ 37 h 87"/>
                <a:gd name="T14" fmla="*/ 153 w 153"/>
                <a:gd name="T15" fmla="*/ 26 h 87"/>
                <a:gd name="T16" fmla="*/ 139 w 153"/>
                <a:gd name="T17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87">
                  <a:moveTo>
                    <a:pt x="139" y="11"/>
                  </a:moveTo>
                  <a:cubicBezTo>
                    <a:pt x="122" y="1"/>
                    <a:pt x="95" y="0"/>
                    <a:pt x="80" y="8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5" y="52"/>
                    <a:pt x="2" y="56"/>
                    <a:pt x="0" y="60"/>
                  </a:cubicBezTo>
                  <a:cubicBezTo>
                    <a:pt x="2" y="66"/>
                    <a:pt x="7" y="71"/>
                    <a:pt x="14" y="76"/>
                  </a:cubicBezTo>
                  <a:cubicBezTo>
                    <a:pt x="32" y="86"/>
                    <a:pt x="58" y="87"/>
                    <a:pt x="73" y="78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9" y="34"/>
                    <a:pt x="152" y="30"/>
                    <a:pt x="153" y="26"/>
                  </a:cubicBezTo>
                  <a:cubicBezTo>
                    <a:pt x="152" y="21"/>
                    <a:pt x="147" y="15"/>
                    <a:pt x="139" y="11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6" name="Freeform 1601">
              <a:extLst>
                <a:ext uri="{FF2B5EF4-FFF2-40B4-BE49-F238E27FC236}">
                  <a16:creationId xmlns:a16="http://schemas.microsoft.com/office/drawing/2014/main" id="{EB8036E1-125C-49A8-9B12-612AEF3EDB4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844966" y="5321376"/>
              <a:ext cx="698715" cy="428998"/>
            </a:xfrm>
            <a:custGeom>
              <a:avLst/>
              <a:gdLst>
                <a:gd name="T0" fmla="*/ 50 w 158"/>
                <a:gd name="T1" fmla="*/ 97 h 97"/>
                <a:gd name="T2" fmla="*/ 15 w 158"/>
                <a:gd name="T3" fmla="*/ 88 h 97"/>
                <a:gd name="T4" fmla="*/ 0 w 158"/>
                <a:gd name="T5" fmla="*/ 67 h 97"/>
                <a:gd name="T6" fmla="*/ 11 w 158"/>
                <a:gd name="T7" fmla="*/ 50 h 97"/>
                <a:gd name="T8" fmla="*/ 81 w 158"/>
                <a:gd name="T9" fmla="*/ 9 h 97"/>
                <a:gd name="T10" fmla="*/ 142 w 158"/>
                <a:gd name="T11" fmla="*/ 12 h 97"/>
                <a:gd name="T12" fmla="*/ 158 w 158"/>
                <a:gd name="T13" fmla="*/ 33 h 97"/>
                <a:gd name="T14" fmla="*/ 147 w 158"/>
                <a:gd name="T15" fmla="*/ 50 h 97"/>
                <a:gd name="T16" fmla="*/ 147 w 158"/>
                <a:gd name="T17" fmla="*/ 50 h 97"/>
                <a:gd name="T18" fmla="*/ 76 w 158"/>
                <a:gd name="T19" fmla="*/ 91 h 97"/>
                <a:gd name="T20" fmla="*/ 50 w 158"/>
                <a:gd name="T21" fmla="*/ 97 h 97"/>
                <a:gd name="T22" fmla="*/ 108 w 158"/>
                <a:gd name="T23" fmla="*/ 7 h 97"/>
                <a:gd name="T24" fmla="*/ 83 w 158"/>
                <a:gd name="T25" fmla="*/ 13 h 97"/>
                <a:gd name="T26" fmla="*/ 13 w 158"/>
                <a:gd name="T27" fmla="*/ 54 h 97"/>
                <a:gd name="T28" fmla="*/ 4 w 158"/>
                <a:gd name="T29" fmla="*/ 67 h 97"/>
                <a:gd name="T30" fmla="*/ 17 w 158"/>
                <a:gd name="T31" fmla="*/ 85 h 97"/>
                <a:gd name="T32" fmla="*/ 74 w 158"/>
                <a:gd name="T33" fmla="*/ 87 h 97"/>
                <a:gd name="T34" fmla="*/ 144 w 158"/>
                <a:gd name="T35" fmla="*/ 46 h 97"/>
                <a:gd name="T36" fmla="*/ 154 w 158"/>
                <a:gd name="T37" fmla="*/ 33 h 97"/>
                <a:gd name="T38" fmla="*/ 140 w 158"/>
                <a:gd name="T39" fmla="*/ 16 h 97"/>
                <a:gd name="T40" fmla="*/ 108 w 158"/>
                <a:gd name="T41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97">
                  <a:moveTo>
                    <a:pt x="50" y="97"/>
                  </a:moveTo>
                  <a:cubicBezTo>
                    <a:pt x="38" y="97"/>
                    <a:pt x="25" y="94"/>
                    <a:pt x="15" y="88"/>
                  </a:cubicBezTo>
                  <a:cubicBezTo>
                    <a:pt x="5" y="83"/>
                    <a:pt x="0" y="75"/>
                    <a:pt x="0" y="67"/>
                  </a:cubicBezTo>
                  <a:cubicBezTo>
                    <a:pt x="0" y="60"/>
                    <a:pt x="4" y="55"/>
                    <a:pt x="11" y="50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97" y="0"/>
                    <a:pt x="124" y="1"/>
                    <a:pt x="142" y="12"/>
                  </a:cubicBezTo>
                  <a:cubicBezTo>
                    <a:pt x="152" y="18"/>
                    <a:pt x="158" y="25"/>
                    <a:pt x="158" y="33"/>
                  </a:cubicBezTo>
                  <a:cubicBezTo>
                    <a:pt x="158" y="40"/>
                    <a:pt x="154" y="46"/>
                    <a:pt x="147" y="50"/>
                  </a:cubicBezTo>
                  <a:cubicBezTo>
                    <a:pt x="147" y="50"/>
                    <a:pt x="147" y="50"/>
                    <a:pt x="147" y="50"/>
                  </a:cubicBezTo>
                  <a:cubicBezTo>
                    <a:pt x="76" y="91"/>
                    <a:pt x="76" y="91"/>
                    <a:pt x="76" y="91"/>
                  </a:cubicBezTo>
                  <a:cubicBezTo>
                    <a:pt x="69" y="95"/>
                    <a:pt x="60" y="97"/>
                    <a:pt x="50" y="97"/>
                  </a:cubicBezTo>
                  <a:close/>
                  <a:moveTo>
                    <a:pt x="108" y="7"/>
                  </a:moveTo>
                  <a:cubicBezTo>
                    <a:pt x="99" y="7"/>
                    <a:pt x="90" y="9"/>
                    <a:pt x="83" y="13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7" y="57"/>
                    <a:pt x="4" y="62"/>
                    <a:pt x="4" y="67"/>
                  </a:cubicBezTo>
                  <a:cubicBezTo>
                    <a:pt x="4" y="73"/>
                    <a:pt x="9" y="80"/>
                    <a:pt x="17" y="85"/>
                  </a:cubicBezTo>
                  <a:cubicBezTo>
                    <a:pt x="34" y="95"/>
                    <a:pt x="60" y="96"/>
                    <a:pt x="74" y="87"/>
                  </a:cubicBezTo>
                  <a:cubicBezTo>
                    <a:pt x="144" y="46"/>
                    <a:pt x="144" y="46"/>
                    <a:pt x="144" y="46"/>
                  </a:cubicBezTo>
                  <a:cubicBezTo>
                    <a:pt x="150" y="43"/>
                    <a:pt x="154" y="38"/>
                    <a:pt x="154" y="33"/>
                  </a:cubicBezTo>
                  <a:cubicBezTo>
                    <a:pt x="154" y="27"/>
                    <a:pt x="149" y="21"/>
                    <a:pt x="140" y="16"/>
                  </a:cubicBezTo>
                  <a:cubicBezTo>
                    <a:pt x="131" y="10"/>
                    <a:pt x="119" y="7"/>
                    <a:pt x="108" y="7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7" name="Freeform 1602">
              <a:extLst>
                <a:ext uri="{FF2B5EF4-FFF2-40B4-BE49-F238E27FC236}">
                  <a16:creationId xmlns:a16="http://schemas.microsoft.com/office/drawing/2014/main" id="{B3A8803C-5068-4B52-BEF2-392AD5C288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63529" y="5410574"/>
              <a:ext cx="316440" cy="184767"/>
            </a:xfrm>
            <a:custGeom>
              <a:avLst/>
              <a:gdLst>
                <a:gd name="T0" fmla="*/ 59 w 72"/>
                <a:gd name="T1" fmla="*/ 8 h 42"/>
                <a:gd name="T2" fmla="*/ 59 w 72"/>
                <a:gd name="T3" fmla="*/ 35 h 42"/>
                <a:gd name="T4" fmla="*/ 13 w 72"/>
                <a:gd name="T5" fmla="*/ 35 h 42"/>
                <a:gd name="T6" fmla="*/ 13 w 72"/>
                <a:gd name="T7" fmla="*/ 8 h 42"/>
                <a:gd name="T8" fmla="*/ 59 w 72"/>
                <a:gd name="T9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42">
                  <a:moveTo>
                    <a:pt x="59" y="8"/>
                  </a:moveTo>
                  <a:cubicBezTo>
                    <a:pt x="72" y="15"/>
                    <a:pt x="72" y="27"/>
                    <a:pt x="59" y="35"/>
                  </a:cubicBezTo>
                  <a:cubicBezTo>
                    <a:pt x="47" y="42"/>
                    <a:pt x="26" y="42"/>
                    <a:pt x="13" y="35"/>
                  </a:cubicBezTo>
                  <a:cubicBezTo>
                    <a:pt x="0" y="27"/>
                    <a:pt x="0" y="15"/>
                    <a:pt x="13" y="8"/>
                  </a:cubicBezTo>
                  <a:cubicBezTo>
                    <a:pt x="26" y="0"/>
                    <a:pt x="47" y="0"/>
                    <a:pt x="59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8" name="Freeform 1603">
              <a:extLst>
                <a:ext uri="{FF2B5EF4-FFF2-40B4-BE49-F238E27FC236}">
                  <a16:creationId xmlns:a16="http://schemas.microsoft.com/office/drawing/2014/main" id="{BA0C6890-5D23-45CB-8EB5-793220FE7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67776" y="5361727"/>
              <a:ext cx="307945" cy="193262"/>
            </a:xfrm>
            <a:custGeom>
              <a:avLst/>
              <a:gdLst>
                <a:gd name="T0" fmla="*/ 35 w 70"/>
                <a:gd name="T1" fmla="*/ 44 h 44"/>
                <a:gd name="T2" fmla="*/ 11 w 70"/>
                <a:gd name="T3" fmla="*/ 39 h 44"/>
                <a:gd name="T4" fmla="*/ 0 w 70"/>
                <a:gd name="T5" fmla="*/ 23 h 44"/>
                <a:gd name="T6" fmla="*/ 11 w 70"/>
                <a:gd name="T7" fmla="*/ 8 h 44"/>
                <a:gd name="T8" fmla="*/ 60 w 70"/>
                <a:gd name="T9" fmla="*/ 8 h 44"/>
                <a:gd name="T10" fmla="*/ 60 w 70"/>
                <a:gd name="T11" fmla="*/ 8 h 44"/>
                <a:gd name="T12" fmla="*/ 70 w 70"/>
                <a:gd name="T13" fmla="*/ 23 h 44"/>
                <a:gd name="T14" fmla="*/ 60 w 70"/>
                <a:gd name="T15" fmla="*/ 39 h 44"/>
                <a:gd name="T16" fmla="*/ 35 w 70"/>
                <a:gd name="T17" fmla="*/ 44 h 44"/>
                <a:gd name="T18" fmla="*/ 35 w 70"/>
                <a:gd name="T19" fmla="*/ 6 h 44"/>
                <a:gd name="T20" fmla="*/ 13 w 70"/>
                <a:gd name="T21" fmla="*/ 12 h 44"/>
                <a:gd name="T22" fmla="*/ 5 w 70"/>
                <a:gd name="T23" fmla="*/ 23 h 44"/>
                <a:gd name="T24" fmla="*/ 13 w 70"/>
                <a:gd name="T25" fmla="*/ 35 h 44"/>
                <a:gd name="T26" fmla="*/ 57 w 70"/>
                <a:gd name="T27" fmla="*/ 35 h 44"/>
                <a:gd name="T28" fmla="*/ 66 w 70"/>
                <a:gd name="T29" fmla="*/ 23 h 44"/>
                <a:gd name="T30" fmla="*/ 57 w 70"/>
                <a:gd name="T31" fmla="*/ 12 h 44"/>
                <a:gd name="T32" fmla="*/ 57 w 70"/>
                <a:gd name="T33" fmla="*/ 12 h 44"/>
                <a:gd name="T34" fmla="*/ 35 w 70"/>
                <a:gd name="T35" fmla="*/ 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0" h="44">
                  <a:moveTo>
                    <a:pt x="35" y="44"/>
                  </a:moveTo>
                  <a:cubicBezTo>
                    <a:pt x="27" y="44"/>
                    <a:pt x="18" y="42"/>
                    <a:pt x="11" y="39"/>
                  </a:cubicBezTo>
                  <a:cubicBezTo>
                    <a:pt x="4" y="35"/>
                    <a:pt x="0" y="29"/>
                    <a:pt x="0" y="23"/>
                  </a:cubicBezTo>
                  <a:cubicBezTo>
                    <a:pt x="0" y="17"/>
                    <a:pt x="4" y="12"/>
                    <a:pt x="11" y="8"/>
                  </a:cubicBezTo>
                  <a:cubicBezTo>
                    <a:pt x="24" y="0"/>
                    <a:pt x="46" y="0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6" y="12"/>
                    <a:pt x="70" y="17"/>
                    <a:pt x="70" y="23"/>
                  </a:cubicBezTo>
                  <a:cubicBezTo>
                    <a:pt x="70" y="29"/>
                    <a:pt x="66" y="35"/>
                    <a:pt x="60" y="39"/>
                  </a:cubicBezTo>
                  <a:cubicBezTo>
                    <a:pt x="53" y="42"/>
                    <a:pt x="44" y="44"/>
                    <a:pt x="35" y="44"/>
                  </a:cubicBezTo>
                  <a:close/>
                  <a:moveTo>
                    <a:pt x="35" y="6"/>
                  </a:moveTo>
                  <a:cubicBezTo>
                    <a:pt x="27" y="6"/>
                    <a:pt x="19" y="8"/>
                    <a:pt x="13" y="12"/>
                  </a:cubicBezTo>
                  <a:cubicBezTo>
                    <a:pt x="8" y="15"/>
                    <a:pt x="5" y="19"/>
                    <a:pt x="5" y="23"/>
                  </a:cubicBezTo>
                  <a:cubicBezTo>
                    <a:pt x="5" y="28"/>
                    <a:pt x="8" y="32"/>
                    <a:pt x="13" y="35"/>
                  </a:cubicBezTo>
                  <a:cubicBezTo>
                    <a:pt x="25" y="42"/>
                    <a:pt x="45" y="42"/>
                    <a:pt x="57" y="35"/>
                  </a:cubicBezTo>
                  <a:cubicBezTo>
                    <a:pt x="63" y="32"/>
                    <a:pt x="66" y="28"/>
                    <a:pt x="66" y="23"/>
                  </a:cubicBezTo>
                  <a:cubicBezTo>
                    <a:pt x="66" y="19"/>
                    <a:pt x="63" y="15"/>
                    <a:pt x="57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1" y="8"/>
                    <a:pt x="43" y="6"/>
                    <a:pt x="35" y="6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69" name="Freeform 1604">
              <a:extLst>
                <a:ext uri="{FF2B5EF4-FFF2-40B4-BE49-F238E27FC236}">
                  <a16:creationId xmlns:a16="http://schemas.microsoft.com/office/drawing/2014/main" id="{7D2A71D5-4AB3-44A5-9E12-361B8FAA4F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14683" y="5493400"/>
              <a:ext cx="422627" cy="310068"/>
            </a:xfrm>
            <a:custGeom>
              <a:avLst/>
              <a:gdLst>
                <a:gd name="T0" fmla="*/ 0 w 199"/>
                <a:gd name="T1" fmla="*/ 117 h 146"/>
                <a:gd name="T2" fmla="*/ 0 w 199"/>
                <a:gd name="T3" fmla="*/ 146 h 146"/>
                <a:gd name="T4" fmla="*/ 25 w 199"/>
                <a:gd name="T5" fmla="*/ 137 h 146"/>
                <a:gd name="T6" fmla="*/ 187 w 199"/>
                <a:gd name="T7" fmla="*/ 42 h 146"/>
                <a:gd name="T8" fmla="*/ 199 w 199"/>
                <a:gd name="T9" fmla="*/ 21 h 146"/>
                <a:gd name="T10" fmla="*/ 195 w 199"/>
                <a:gd name="T11" fmla="*/ 0 h 146"/>
                <a:gd name="T12" fmla="*/ 37 w 199"/>
                <a:gd name="T13" fmla="*/ 100 h 146"/>
                <a:gd name="T14" fmla="*/ 0 w 199"/>
                <a:gd name="T15" fmla="*/ 11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9" h="146">
                  <a:moveTo>
                    <a:pt x="0" y="117"/>
                  </a:moveTo>
                  <a:lnTo>
                    <a:pt x="0" y="146"/>
                  </a:lnTo>
                  <a:lnTo>
                    <a:pt x="25" y="137"/>
                  </a:lnTo>
                  <a:lnTo>
                    <a:pt x="187" y="42"/>
                  </a:lnTo>
                  <a:lnTo>
                    <a:pt x="199" y="21"/>
                  </a:lnTo>
                  <a:lnTo>
                    <a:pt x="195" y="0"/>
                  </a:lnTo>
                  <a:lnTo>
                    <a:pt x="37" y="100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70" name="Freeform 1605">
              <a:extLst>
                <a:ext uri="{FF2B5EF4-FFF2-40B4-BE49-F238E27FC236}">
                  <a16:creationId xmlns:a16="http://schemas.microsoft.com/office/drawing/2014/main" id="{288C0661-8030-402B-9BF7-752738628B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6990" y="5737632"/>
              <a:ext cx="44599" cy="70085"/>
            </a:xfrm>
            <a:custGeom>
              <a:avLst/>
              <a:gdLst>
                <a:gd name="T0" fmla="*/ 21 w 21"/>
                <a:gd name="T1" fmla="*/ 2 h 33"/>
                <a:gd name="T2" fmla="*/ 21 w 21"/>
                <a:gd name="T3" fmla="*/ 33 h 33"/>
                <a:gd name="T4" fmla="*/ 0 w 21"/>
                <a:gd name="T5" fmla="*/ 33 h 33"/>
                <a:gd name="T6" fmla="*/ 0 w 21"/>
                <a:gd name="T7" fmla="*/ 0 h 33"/>
                <a:gd name="T8" fmla="*/ 21 w 21"/>
                <a:gd name="T9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3">
                  <a:moveTo>
                    <a:pt x="21" y="2"/>
                  </a:moveTo>
                  <a:lnTo>
                    <a:pt x="21" y="33"/>
                  </a:lnTo>
                  <a:lnTo>
                    <a:pt x="0" y="33"/>
                  </a:lnTo>
                  <a:lnTo>
                    <a:pt x="0" y="0"/>
                  </a:lnTo>
                  <a:lnTo>
                    <a:pt x="21" y="2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2" name="任意多边形: 形状 1611">
            <a:extLst>
              <a:ext uri="{FF2B5EF4-FFF2-40B4-BE49-F238E27FC236}">
                <a16:creationId xmlns:a16="http://schemas.microsoft.com/office/drawing/2014/main" id="{E238399C-8487-4CC6-B529-EFC5EA696F33}"/>
              </a:ext>
            </a:extLst>
          </p:cNvPr>
          <p:cNvSpPr/>
          <p:nvPr userDrawn="1"/>
        </p:nvSpPr>
        <p:spPr>
          <a:xfrm>
            <a:off x="6371771" y="1566613"/>
            <a:ext cx="5820229" cy="5291387"/>
          </a:xfrm>
          <a:custGeom>
            <a:avLst/>
            <a:gdLst>
              <a:gd name="connsiteX0" fmla="*/ 5820229 w 5820229"/>
              <a:gd name="connsiteY0" fmla="*/ 0 h 5291387"/>
              <a:gd name="connsiteX1" fmla="*/ 5820229 w 5820229"/>
              <a:gd name="connsiteY1" fmla="*/ 5291387 h 5291387"/>
              <a:gd name="connsiteX2" fmla="*/ 3490032 w 5820229"/>
              <a:gd name="connsiteY2" fmla="*/ 5291387 h 5291387"/>
              <a:gd name="connsiteX3" fmla="*/ 0 w 5820229"/>
              <a:gd name="connsiteY3" fmla="*/ 3307865 h 529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0229" h="5291387">
                <a:moveTo>
                  <a:pt x="5820229" y="0"/>
                </a:moveTo>
                <a:lnTo>
                  <a:pt x="5820229" y="5291387"/>
                </a:lnTo>
                <a:lnTo>
                  <a:pt x="3490032" y="5291387"/>
                </a:lnTo>
                <a:lnTo>
                  <a:pt x="0" y="3307865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786743" y="3455919"/>
            <a:ext cx="4931375" cy="895350"/>
          </a:xfrm>
        </p:spPr>
        <p:txBody>
          <a:bodyPr anchor="b">
            <a:normAutofit/>
          </a:bodyPr>
          <a:lstStyle>
            <a:lvl1pPr algn="l">
              <a:defRPr sz="2400" b="1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787859" y="4437328"/>
            <a:ext cx="493137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 i="1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7FF5149F-77FE-4124-BF5C-19E38875798B}"/>
              </a:ext>
            </a:extLst>
          </p:cNvPr>
          <p:cNvGrpSpPr/>
          <p:nvPr userDrawn="1"/>
        </p:nvGrpSpPr>
        <p:grpSpPr>
          <a:xfrm>
            <a:off x="7718117" y="3157222"/>
            <a:ext cx="3896159" cy="2503349"/>
            <a:chOff x="5126872" y="1298887"/>
            <a:chExt cx="6243834" cy="4011770"/>
          </a:xfrm>
        </p:grpSpPr>
        <p:sp>
          <p:nvSpPr>
            <p:cNvPr id="120" name="Freeform 118">
              <a:extLst>
                <a:ext uri="{FF2B5EF4-FFF2-40B4-BE49-F238E27FC236}">
                  <a16:creationId xmlns:a16="http://schemas.microsoft.com/office/drawing/2014/main" id="{CE557F39-F1AF-4FB4-9627-6B5C985197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2309" y="4601324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" name="Freeform 119">
              <a:extLst>
                <a:ext uri="{FF2B5EF4-FFF2-40B4-BE49-F238E27FC236}">
                  <a16:creationId xmlns:a16="http://schemas.microsoft.com/office/drawing/2014/main" id="{502D3E35-8B63-4988-9654-BCC04A8BEB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9650" y="4565220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2" name="Freeform 120">
              <a:extLst>
                <a:ext uri="{FF2B5EF4-FFF2-40B4-BE49-F238E27FC236}">
                  <a16:creationId xmlns:a16="http://schemas.microsoft.com/office/drawing/2014/main" id="{C0B6703E-252A-4542-ADD3-B2D0DDDAC3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992" y="453548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3" name="Freeform 121">
              <a:extLst>
                <a:ext uri="{FF2B5EF4-FFF2-40B4-BE49-F238E27FC236}">
                  <a16:creationId xmlns:a16="http://schemas.microsoft.com/office/drawing/2014/main" id="{77B2F011-69AA-46E6-A174-C72F1E2E76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4333" y="449938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4" name="Freeform 122">
              <a:extLst>
                <a:ext uri="{FF2B5EF4-FFF2-40B4-BE49-F238E27FC236}">
                  <a16:creationId xmlns:a16="http://schemas.microsoft.com/office/drawing/2014/main" id="{DECFFA1A-292E-402D-88BC-07A4B3AFF7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1674" y="446752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5" name="Freeform 123">
              <a:extLst>
                <a:ext uri="{FF2B5EF4-FFF2-40B4-BE49-F238E27FC236}">
                  <a16:creationId xmlns:a16="http://schemas.microsoft.com/office/drawing/2014/main" id="{0FB649E5-DAED-47CC-A246-3AB9C98337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59016" y="443354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6" name="Freeform 124">
              <a:extLst>
                <a:ext uri="{FF2B5EF4-FFF2-40B4-BE49-F238E27FC236}">
                  <a16:creationId xmlns:a16="http://schemas.microsoft.com/office/drawing/2014/main" id="{0229FEB6-5215-4131-8838-B1F62FC87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16357" y="440169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7" name="Freeform 125">
              <a:extLst>
                <a:ext uri="{FF2B5EF4-FFF2-40B4-BE49-F238E27FC236}">
                  <a16:creationId xmlns:a16="http://schemas.microsoft.com/office/drawing/2014/main" id="{49029541-2881-4189-9ED2-F801BCEE0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73698" y="436771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8" name="Freeform 126">
              <a:extLst>
                <a:ext uri="{FF2B5EF4-FFF2-40B4-BE49-F238E27FC236}">
                  <a16:creationId xmlns:a16="http://schemas.microsoft.com/office/drawing/2014/main" id="{F99C8E79-5AC6-4CEA-9282-4AC5819689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1040" y="433585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9" name="Freeform 127">
              <a:extLst>
                <a:ext uri="{FF2B5EF4-FFF2-40B4-BE49-F238E27FC236}">
                  <a16:creationId xmlns:a16="http://schemas.microsoft.com/office/drawing/2014/main" id="{7469B43D-7841-4A4E-B43E-F4148DE3A0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0505" y="4299751"/>
              <a:ext cx="33980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0" name="Freeform 128">
              <a:extLst>
                <a:ext uri="{FF2B5EF4-FFF2-40B4-BE49-F238E27FC236}">
                  <a16:creationId xmlns:a16="http://schemas.microsoft.com/office/drawing/2014/main" id="{F2513BF8-AF86-4F62-8104-4B7ABD9139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4968" y="4565220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1" name="Freeform 129">
              <a:extLst>
                <a:ext uri="{FF2B5EF4-FFF2-40B4-BE49-F238E27FC236}">
                  <a16:creationId xmlns:a16="http://schemas.microsoft.com/office/drawing/2014/main" id="{50028303-EEA0-4700-9D0F-AE56DB2F62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2309" y="453548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2" name="Freeform 130">
              <a:extLst>
                <a:ext uri="{FF2B5EF4-FFF2-40B4-BE49-F238E27FC236}">
                  <a16:creationId xmlns:a16="http://schemas.microsoft.com/office/drawing/2014/main" id="{C6E5470A-A94C-4C94-A8C6-85EA31BC91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9650" y="449938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3" name="Freeform 131">
              <a:extLst>
                <a:ext uri="{FF2B5EF4-FFF2-40B4-BE49-F238E27FC236}">
                  <a16:creationId xmlns:a16="http://schemas.microsoft.com/office/drawing/2014/main" id="{037B2BC7-F629-4F37-B54C-EE7BE9B2B8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992" y="446752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4" name="Freeform 132">
              <a:extLst>
                <a:ext uri="{FF2B5EF4-FFF2-40B4-BE49-F238E27FC236}">
                  <a16:creationId xmlns:a16="http://schemas.microsoft.com/office/drawing/2014/main" id="{26308DB9-A5F9-4E2D-B403-7AECD3B736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4333" y="443354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5" name="Freeform 133">
              <a:extLst>
                <a:ext uri="{FF2B5EF4-FFF2-40B4-BE49-F238E27FC236}">
                  <a16:creationId xmlns:a16="http://schemas.microsoft.com/office/drawing/2014/main" id="{AD4A91F4-8813-41A3-ADF9-41D6BBE105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1674" y="440169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6" name="Freeform 134">
              <a:extLst>
                <a:ext uri="{FF2B5EF4-FFF2-40B4-BE49-F238E27FC236}">
                  <a16:creationId xmlns:a16="http://schemas.microsoft.com/office/drawing/2014/main" id="{24366E76-851C-410C-BA5D-BF9E31BB62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59016" y="436771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7" name="Freeform 135">
              <a:extLst>
                <a:ext uri="{FF2B5EF4-FFF2-40B4-BE49-F238E27FC236}">
                  <a16:creationId xmlns:a16="http://schemas.microsoft.com/office/drawing/2014/main" id="{6E6B66ED-43AA-4DDE-AABB-14BB2BECB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16357" y="433585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8" name="Freeform 136">
              <a:extLst>
                <a:ext uri="{FF2B5EF4-FFF2-40B4-BE49-F238E27FC236}">
                  <a16:creationId xmlns:a16="http://schemas.microsoft.com/office/drawing/2014/main" id="{74A84901-3F72-4C68-A101-F9CCF2AEC7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73698" y="429975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9" name="Freeform 137">
              <a:extLst>
                <a:ext uri="{FF2B5EF4-FFF2-40B4-BE49-F238E27FC236}">
                  <a16:creationId xmlns:a16="http://schemas.microsoft.com/office/drawing/2014/main" id="{0B986E94-7146-484E-A8C6-6C0626785F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1040" y="427001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0" name="Freeform 138">
              <a:extLst>
                <a:ext uri="{FF2B5EF4-FFF2-40B4-BE49-F238E27FC236}">
                  <a16:creationId xmlns:a16="http://schemas.microsoft.com/office/drawing/2014/main" id="{8411A3AE-6D00-4FBF-88AA-D37B656CAC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57626" y="453548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1" name="Freeform 139">
              <a:extLst>
                <a:ext uri="{FF2B5EF4-FFF2-40B4-BE49-F238E27FC236}">
                  <a16:creationId xmlns:a16="http://schemas.microsoft.com/office/drawing/2014/main" id="{7FB76445-B0EA-47EB-8C3D-C5D4C7D967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4968" y="449938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2" name="Freeform 140">
              <a:extLst>
                <a:ext uri="{FF2B5EF4-FFF2-40B4-BE49-F238E27FC236}">
                  <a16:creationId xmlns:a16="http://schemas.microsoft.com/office/drawing/2014/main" id="{A11EEC19-F342-45D8-AD44-08AF75F95D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2309" y="446752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3" name="Freeform 141">
              <a:extLst>
                <a:ext uri="{FF2B5EF4-FFF2-40B4-BE49-F238E27FC236}">
                  <a16:creationId xmlns:a16="http://schemas.microsoft.com/office/drawing/2014/main" id="{E89B4BC7-EF1A-465E-B268-73BEDCF1C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9650" y="443354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4" name="Freeform 142">
              <a:extLst>
                <a:ext uri="{FF2B5EF4-FFF2-40B4-BE49-F238E27FC236}">
                  <a16:creationId xmlns:a16="http://schemas.microsoft.com/office/drawing/2014/main" id="{25872EDA-0E9C-4FFA-BAC7-3C30F9F5C4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992" y="440169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5" name="Freeform 143">
              <a:extLst>
                <a:ext uri="{FF2B5EF4-FFF2-40B4-BE49-F238E27FC236}">
                  <a16:creationId xmlns:a16="http://schemas.microsoft.com/office/drawing/2014/main" id="{9C131A55-C321-4671-8FA8-E94F0E0C9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4333" y="436771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6" name="Freeform 144">
              <a:extLst>
                <a:ext uri="{FF2B5EF4-FFF2-40B4-BE49-F238E27FC236}">
                  <a16:creationId xmlns:a16="http://schemas.microsoft.com/office/drawing/2014/main" id="{C67FB841-EB39-4DE2-9D64-BB85E517D4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1674" y="433585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7" name="Freeform 145">
              <a:extLst>
                <a:ext uri="{FF2B5EF4-FFF2-40B4-BE49-F238E27FC236}">
                  <a16:creationId xmlns:a16="http://schemas.microsoft.com/office/drawing/2014/main" id="{31D23302-B250-4CB8-AA89-781C8872F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59016" y="429975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8" name="Freeform 146">
              <a:extLst>
                <a:ext uri="{FF2B5EF4-FFF2-40B4-BE49-F238E27FC236}">
                  <a16:creationId xmlns:a16="http://schemas.microsoft.com/office/drawing/2014/main" id="{3E463AD5-4EF8-4F98-AE3F-4F84DF77EC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16357" y="427001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9" name="Freeform 147">
              <a:extLst>
                <a:ext uri="{FF2B5EF4-FFF2-40B4-BE49-F238E27FC236}">
                  <a16:creationId xmlns:a16="http://schemas.microsoft.com/office/drawing/2014/main" id="{3BAFD21C-3530-4DDF-BA97-BF3A5816D8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0285" y="449938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0" name="Freeform 148">
              <a:extLst>
                <a:ext uri="{FF2B5EF4-FFF2-40B4-BE49-F238E27FC236}">
                  <a16:creationId xmlns:a16="http://schemas.microsoft.com/office/drawing/2014/main" id="{9D1AEB9A-29C2-41D2-A425-1439B8C2D6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57626" y="446752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1" name="Freeform 149">
              <a:extLst>
                <a:ext uri="{FF2B5EF4-FFF2-40B4-BE49-F238E27FC236}">
                  <a16:creationId xmlns:a16="http://schemas.microsoft.com/office/drawing/2014/main" id="{A3BB1E8A-20DB-40E0-9EF6-CDF0AE3ACE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4968" y="443354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2" name="Freeform 150">
              <a:extLst>
                <a:ext uri="{FF2B5EF4-FFF2-40B4-BE49-F238E27FC236}">
                  <a16:creationId xmlns:a16="http://schemas.microsoft.com/office/drawing/2014/main" id="{57251285-D7EB-4230-98B6-3373C658A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2309" y="440169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3" name="Freeform 151">
              <a:extLst>
                <a:ext uri="{FF2B5EF4-FFF2-40B4-BE49-F238E27FC236}">
                  <a16:creationId xmlns:a16="http://schemas.microsoft.com/office/drawing/2014/main" id="{27EF94ED-7A05-4068-98B7-E4C84C7AB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9650" y="436771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4" name="Freeform 152">
              <a:extLst>
                <a:ext uri="{FF2B5EF4-FFF2-40B4-BE49-F238E27FC236}">
                  <a16:creationId xmlns:a16="http://schemas.microsoft.com/office/drawing/2014/main" id="{4D9D855D-ABE5-4657-8769-3118E5FA1C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992" y="433585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5" name="Freeform 153">
              <a:extLst>
                <a:ext uri="{FF2B5EF4-FFF2-40B4-BE49-F238E27FC236}">
                  <a16:creationId xmlns:a16="http://schemas.microsoft.com/office/drawing/2014/main" id="{1B0B1145-71A9-46B8-91ED-A232D8E6F3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4333" y="429975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6" name="Freeform 154">
              <a:extLst>
                <a:ext uri="{FF2B5EF4-FFF2-40B4-BE49-F238E27FC236}">
                  <a16:creationId xmlns:a16="http://schemas.microsoft.com/office/drawing/2014/main" id="{BA0EEB44-2508-4F8D-9FEA-5C5E943DB0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1674" y="427001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7" name="Freeform 155">
              <a:extLst>
                <a:ext uri="{FF2B5EF4-FFF2-40B4-BE49-F238E27FC236}">
                  <a16:creationId xmlns:a16="http://schemas.microsoft.com/office/drawing/2014/main" id="{CB8C36BB-A7FF-4129-984B-CB047A78D5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59016" y="423391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8" name="Freeform 156">
              <a:extLst>
                <a:ext uri="{FF2B5EF4-FFF2-40B4-BE49-F238E27FC236}">
                  <a16:creationId xmlns:a16="http://schemas.microsoft.com/office/drawing/2014/main" id="{84C33AE2-052C-4A70-B352-85668C33ED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2944" y="446752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9" name="Freeform 157">
              <a:extLst>
                <a:ext uri="{FF2B5EF4-FFF2-40B4-BE49-F238E27FC236}">
                  <a16:creationId xmlns:a16="http://schemas.microsoft.com/office/drawing/2014/main" id="{EC76F19D-A48C-416F-B7D8-3628A9CDC6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0285" y="443354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0" name="Freeform 158">
              <a:extLst>
                <a:ext uri="{FF2B5EF4-FFF2-40B4-BE49-F238E27FC236}">
                  <a16:creationId xmlns:a16="http://schemas.microsoft.com/office/drawing/2014/main" id="{C17E7D03-B346-46C5-89D7-31D7D7B942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57626" y="440169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1" name="Freeform 159">
              <a:extLst>
                <a:ext uri="{FF2B5EF4-FFF2-40B4-BE49-F238E27FC236}">
                  <a16:creationId xmlns:a16="http://schemas.microsoft.com/office/drawing/2014/main" id="{FACC08A9-8132-441E-AB86-F91858B37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4968" y="436771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2" name="Freeform 160">
              <a:extLst>
                <a:ext uri="{FF2B5EF4-FFF2-40B4-BE49-F238E27FC236}">
                  <a16:creationId xmlns:a16="http://schemas.microsoft.com/office/drawing/2014/main" id="{D6050773-E23D-4BFE-9F76-26B8A26BA8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2309" y="433585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3" name="Freeform 161">
              <a:extLst>
                <a:ext uri="{FF2B5EF4-FFF2-40B4-BE49-F238E27FC236}">
                  <a16:creationId xmlns:a16="http://schemas.microsoft.com/office/drawing/2014/main" id="{3EA7378C-77C9-42A7-A459-25BDD573A2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9650" y="429975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4" name="Freeform 162">
              <a:extLst>
                <a:ext uri="{FF2B5EF4-FFF2-40B4-BE49-F238E27FC236}">
                  <a16:creationId xmlns:a16="http://schemas.microsoft.com/office/drawing/2014/main" id="{52DD209E-ADC1-481A-9ECB-32EFFDAF4D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992" y="427001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5" name="Freeform 163">
              <a:extLst>
                <a:ext uri="{FF2B5EF4-FFF2-40B4-BE49-F238E27FC236}">
                  <a16:creationId xmlns:a16="http://schemas.microsoft.com/office/drawing/2014/main" id="{C1E89919-A85D-41CD-834F-FEC8AE584B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4333" y="423391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6" name="Freeform 164">
              <a:extLst>
                <a:ext uri="{FF2B5EF4-FFF2-40B4-BE49-F238E27FC236}">
                  <a16:creationId xmlns:a16="http://schemas.microsoft.com/office/drawing/2014/main" id="{580A053F-8BC6-4A75-A7BC-B840EDA0B5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1674" y="4204182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  <a:gd name="T10" fmla="*/ 7 w 8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8" y="1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7" name="Freeform 165">
              <a:extLst>
                <a:ext uri="{FF2B5EF4-FFF2-40B4-BE49-F238E27FC236}">
                  <a16:creationId xmlns:a16="http://schemas.microsoft.com/office/drawing/2014/main" id="{099B2DE1-728F-45F6-838F-8F3A9C273A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5602" y="4433547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8" name="Freeform 166">
              <a:extLst>
                <a:ext uri="{FF2B5EF4-FFF2-40B4-BE49-F238E27FC236}">
                  <a16:creationId xmlns:a16="http://schemas.microsoft.com/office/drawing/2014/main" id="{80F5DF7F-5E5D-4B58-8475-8952002A67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2944" y="440169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9" name="Freeform 167">
              <a:extLst>
                <a:ext uri="{FF2B5EF4-FFF2-40B4-BE49-F238E27FC236}">
                  <a16:creationId xmlns:a16="http://schemas.microsoft.com/office/drawing/2014/main" id="{F4BE5373-B5AE-4409-B3AD-3516B81682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0285" y="436771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0" name="Freeform 168">
              <a:extLst>
                <a:ext uri="{FF2B5EF4-FFF2-40B4-BE49-F238E27FC236}">
                  <a16:creationId xmlns:a16="http://schemas.microsoft.com/office/drawing/2014/main" id="{EA6E0AB9-3A02-4CAA-B164-CC2AA14815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57626" y="4335855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1" name="Freeform 169">
              <a:extLst>
                <a:ext uri="{FF2B5EF4-FFF2-40B4-BE49-F238E27FC236}">
                  <a16:creationId xmlns:a16="http://schemas.microsoft.com/office/drawing/2014/main" id="{FF8F7DCA-9417-4ADD-936F-FA80A83BAA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4968" y="429975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2" name="Freeform 170">
              <a:extLst>
                <a:ext uri="{FF2B5EF4-FFF2-40B4-BE49-F238E27FC236}">
                  <a16:creationId xmlns:a16="http://schemas.microsoft.com/office/drawing/2014/main" id="{758BB12A-C742-4107-9472-815A4AB6C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2309" y="4270018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3" name="Freeform 171">
              <a:extLst>
                <a:ext uri="{FF2B5EF4-FFF2-40B4-BE49-F238E27FC236}">
                  <a16:creationId xmlns:a16="http://schemas.microsoft.com/office/drawing/2014/main" id="{C0C4F03B-8381-4DBC-995B-B03094AA3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9650" y="423391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4" name="Freeform 172">
              <a:extLst>
                <a:ext uri="{FF2B5EF4-FFF2-40B4-BE49-F238E27FC236}">
                  <a16:creationId xmlns:a16="http://schemas.microsoft.com/office/drawing/2014/main" id="{DC532FCA-FF77-4505-A4C5-67CA3E4F35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992" y="420418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5" name="Freeform 173">
              <a:extLst>
                <a:ext uri="{FF2B5EF4-FFF2-40B4-BE49-F238E27FC236}">
                  <a16:creationId xmlns:a16="http://schemas.microsoft.com/office/drawing/2014/main" id="{F2096C58-7DE2-4F2A-A8D3-49F1F95970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4333" y="4168078"/>
              <a:ext cx="36104" cy="21238"/>
            </a:xfrm>
            <a:custGeom>
              <a:avLst/>
              <a:gdLst>
                <a:gd name="T0" fmla="*/ 7 w 8"/>
                <a:gd name="T1" fmla="*/ 4 h 5"/>
                <a:gd name="T2" fmla="*/ 2 w 8"/>
                <a:gd name="T3" fmla="*/ 4 h 5"/>
                <a:gd name="T4" fmla="*/ 2 w 8"/>
                <a:gd name="T5" fmla="*/ 1 h 5"/>
                <a:gd name="T6" fmla="*/ 7 w 8"/>
                <a:gd name="T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8" y="3"/>
                    <a:pt x="7" y="4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6" name="Freeform 174">
              <a:extLst>
                <a:ext uri="{FF2B5EF4-FFF2-40B4-BE49-F238E27FC236}">
                  <a16:creationId xmlns:a16="http://schemas.microsoft.com/office/drawing/2014/main" id="{D0F57C54-836E-457F-BC0B-E6613AF23A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8261" y="440169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7" name="Freeform 175">
              <a:extLst>
                <a:ext uri="{FF2B5EF4-FFF2-40B4-BE49-F238E27FC236}">
                  <a16:creationId xmlns:a16="http://schemas.microsoft.com/office/drawing/2014/main" id="{7368F5DB-7917-40DB-80CC-A73CD47031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5602" y="4367711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8" name="Freeform 176">
              <a:extLst>
                <a:ext uri="{FF2B5EF4-FFF2-40B4-BE49-F238E27FC236}">
                  <a16:creationId xmlns:a16="http://schemas.microsoft.com/office/drawing/2014/main" id="{176001E9-C16A-4BA7-80A7-1BE94E308D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2944" y="4335855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9" name="Freeform 177">
              <a:extLst>
                <a:ext uri="{FF2B5EF4-FFF2-40B4-BE49-F238E27FC236}">
                  <a16:creationId xmlns:a16="http://schemas.microsoft.com/office/drawing/2014/main" id="{D63FCEAA-46FE-4821-8404-0EF3F2466F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0285" y="429975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0" name="Freeform 178">
              <a:extLst>
                <a:ext uri="{FF2B5EF4-FFF2-40B4-BE49-F238E27FC236}">
                  <a16:creationId xmlns:a16="http://schemas.microsoft.com/office/drawing/2014/main" id="{BF18B011-5225-4203-8BD2-4453F84229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57626" y="4270018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1" name="Freeform 179">
              <a:extLst>
                <a:ext uri="{FF2B5EF4-FFF2-40B4-BE49-F238E27FC236}">
                  <a16:creationId xmlns:a16="http://schemas.microsoft.com/office/drawing/2014/main" id="{CFEF45A7-2F1F-4D34-BDF9-DC06C3A349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4968" y="423391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2" name="Freeform 180">
              <a:extLst>
                <a:ext uri="{FF2B5EF4-FFF2-40B4-BE49-F238E27FC236}">
                  <a16:creationId xmlns:a16="http://schemas.microsoft.com/office/drawing/2014/main" id="{B25C74F0-2789-449F-901D-A50D7B741D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2309" y="420418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3" name="Freeform 181">
              <a:extLst>
                <a:ext uri="{FF2B5EF4-FFF2-40B4-BE49-F238E27FC236}">
                  <a16:creationId xmlns:a16="http://schemas.microsoft.com/office/drawing/2014/main" id="{48309570-85D4-4036-BA1C-A87385F9BA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9650" y="4168078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4" name="Freeform 182">
              <a:extLst>
                <a:ext uri="{FF2B5EF4-FFF2-40B4-BE49-F238E27FC236}">
                  <a16:creationId xmlns:a16="http://schemas.microsoft.com/office/drawing/2014/main" id="{F8BFE65B-7D48-4F29-BAF3-010599C918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0920" y="4367711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5" name="Freeform 183">
              <a:extLst>
                <a:ext uri="{FF2B5EF4-FFF2-40B4-BE49-F238E27FC236}">
                  <a16:creationId xmlns:a16="http://schemas.microsoft.com/office/drawing/2014/main" id="{C882951D-0B35-4704-9488-33D3E42FF3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8261" y="4335855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6" name="Freeform 184">
              <a:extLst>
                <a:ext uri="{FF2B5EF4-FFF2-40B4-BE49-F238E27FC236}">
                  <a16:creationId xmlns:a16="http://schemas.microsoft.com/office/drawing/2014/main" id="{33EC646C-C1AA-4917-A349-B1CC2C46D5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5602" y="4299751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7" name="Freeform 185">
              <a:extLst>
                <a:ext uri="{FF2B5EF4-FFF2-40B4-BE49-F238E27FC236}">
                  <a16:creationId xmlns:a16="http://schemas.microsoft.com/office/drawing/2014/main" id="{0CD7E63B-D09F-4175-B416-606A03794E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2944" y="4270018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8" name="Freeform 186">
              <a:extLst>
                <a:ext uri="{FF2B5EF4-FFF2-40B4-BE49-F238E27FC236}">
                  <a16:creationId xmlns:a16="http://schemas.microsoft.com/office/drawing/2014/main" id="{F4250104-FD48-4D08-B8AC-78955B000C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0285" y="423391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9" name="Freeform 187">
              <a:extLst>
                <a:ext uri="{FF2B5EF4-FFF2-40B4-BE49-F238E27FC236}">
                  <a16:creationId xmlns:a16="http://schemas.microsoft.com/office/drawing/2014/main" id="{45A4B1BE-AE11-4C6D-8DDD-221A6AB1A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57626" y="420418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0" name="Freeform 188">
              <a:extLst>
                <a:ext uri="{FF2B5EF4-FFF2-40B4-BE49-F238E27FC236}">
                  <a16:creationId xmlns:a16="http://schemas.microsoft.com/office/drawing/2014/main" id="{ACCE254A-BF0F-4A60-B04F-A4B27EDFA9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4968" y="4168078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1" name="Freeform 189">
              <a:extLst>
                <a:ext uri="{FF2B5EF4-FFF2-40B4-BE49-F238E27FC236}">
                  <a16:creationId xmlns:a16="http://schemas.microsoft.com/office/drawing/2014/main" id="{F5913C58-A327-4BC6-8D6D-59603C5240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2309" y="4136222"/>
              <a:ext cx="36104" cy="19114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2" name="Freeform 190">
              <a:extLst>
                <a:ext uri="{FF2B5EF4-FFF2-40B4-BE49-F238E27FC236}">
                  <a16:creationId xmlns:a16="http://schemas.microsoft.com/office/drawing/2014/main" id="{3ABD6E8B-7F5E-4546-A292-EAA51A290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13578" y="4335855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3" name="Freeform 191">
              <a:extLst>
                <a:ext uri="{FF2B5EF4-FFF2-40B4-BE49-F238E27FC236}">
                  <a16:creationId xmlns:a16="http://schemas.microsoft.com/office/drawing/2014/main" id="{87959726-A7C9-47F7-A4A7-381D3315B4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0920" y="4299751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4" name="Freeform 192">
              <a:extLst>
                <a:ext uri="{FF2B5EF4-FFF2-40B4-BE49-F238E27FC236}">
                  <a16:creationId xmlns:a16="http://schemas.microsoft.com/office/drawing/2014/main" id="{3728F736-3A56-4AC5-AE97-F56715A4B7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8261" y="4270018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5" name="Freeform 193">
              <a:extLst>
                <a:ext uri="{FF2B5EF4-FFF2-40B4-BE49-F238E27FC236}">
                  <a16:creationId xmlns:a16="http://schemas.microsoft.com/office/drawing/2014/main" id="{CD9A1B48-AA2C-40B8-A100-A588C9BDDD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5602" y="4233915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6" name="Freeform 194">
              <a:extLst>
                <a:ext uri="{FF2B5EF4-FFF2-40B4-BE49-F238E27FC236}">
                  <a16:creationId xmlns:a16="http://schemas.microsoft.com/office/drawing/2014/main" id="{EB8B68FF-74A3-413F-9172-52F0735EF5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2944" y="4204182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7" name="Freeform 195">
              <a:extLst>
                <a:ext uri="{FF2B5EF4-FFF2-40B4-BE49-F238E27FC236}">
                  <a16:creationId xmlns:a16="http://schemas.microsoft.com/office/drawing/2014/main" id="{A643FD3F-2F78-4418-B46E-CCF1DBA3E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0285" y="4168078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8" name="Freeform 196">
              <a:extLst>
                <a:ext uri="{FF2B5EF4-FFF2-40B4-BE49-F238E27FC236}">
                  <a16:creationId xmlns:a16="http://schemas.microsoft.com/office/drawing/2014/main" id="{D946E3F2-3F21-4942-A201-1DD88D19EC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57626" y="4136222"/>
              <a:ext cx="36104" cy="19114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9" name="Freeform 197">
              <a:extLst>
                <a:ext uri="{FF2B5EF4-FFF2-40B4-BE49-F238E27FC236}">
                  <a16:creationId xmlns:a16="http://schemas.microsoft.com/office/drawing/2014/main" id="{D4BE8886-84FA-410E-8E6F-6EE3107D72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4968" y="4102242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0" name="Freeform 198">
              <a:extLst>
                <a:ext uri="{FF2B5EF4-FFF2-40B4-BE49-F238E27FC236}">
                  <a16:creationId xmlns:a16="http://schemas.microsoft.com/office/drawing/2014/main" id="{63987DE6-7242-4B76-8582-5175CD94ED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6237" y="4299751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1" name="Freeform 199">
              <a:extLst>
                <a:ext uri="{FF2B5EF4-FFF2-40B4-BE49-F238E27FC236}">
                  <a16:creationId xmlns:a16="http://schemas.microsoft.com/office/drawing/2014/main" id="{8C079793-5980-4850-B903-07D6D6ABA4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13578" y="4270018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2" name="Freeform 200">
              <a:extLst>
                <a:ext uri="{FF2B5EF4-FFF2-40B4-BE49-F238E27FC236}">
                  <a16:creationId xmlns:a16="http://schemas.microsoft.com/office/drawing/2014/main" id="{8EF88392-F25D-42C5-9116-D1EFB400A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0920" y="4233915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3" name="Freeform 201">
              <a:extLst>
                <a:ext uri="{FF2B5EF4-FFF2-40B4-BE49-F238E27FC236}">
                  <a16:creationId xmlns:a16="http://schemas.microsoft.com/office/drawing/2014/main" id="{1A0A423B-FCAC-42AC-AF0E-8C7D6A0829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28261" y="4204182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4" name="Freeform 202">
              <a:extLst>
                <a:ext uri="{FF2B5EF4-FFF2-40B4-BE49-F238E27FC236}">
                  <a16:creationId xmlns:a16="http://schemas.microsoft.com/office/drawing/2014/main" id="{11D92557-314E-4EFC-9FC4-BBF5D3BED0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5602" y="4168078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5" name="Freeform 203">
              <a:extLst>
                <a:ext uri="{FF2B5EF4-FFF2-40B4-BE49-F238E27FC236}">
                  <a16:creationId xmlns:a16="http://schemas.microsoft.com/office/drawing/2014/main" id="{E4F295AB-CFCD-4E47-A6B7-7C878ADFFE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2944" y="4136222"/>
              <a:ext cx="36104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6" name="Freeform 204">
              <a:extLst>
                <a:ext uri="{FF2B5EF4-FFF2-40B4-BE49-F238E27FC236}">
                  <a16:creationId xmlns:a16="http://schemas.microsoft.com/office/drawing/2014/main" id="{521DE0B9-D026-44E3-87BE-15883004B6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0285" y="4102242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207" name="Group 406">
              <a:extLst>
                <a:ext uri="{FF2B5EF4-FFF2-40B4-BE49-F238E27FC236}">
                  <a16:creationId xmlns:a16="http://schemas.microsoft.com/office/drawing/2014/main" id="{B1518625-28FF-4B69-B3AF-B432E766FCCF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5126872" y="3902608"/>
              <a:ext cx="2565493" cy="1276376"/>
              <a:chOff x="3899" y="2181"/>
              <a:chExt cx="1208" cy="601"/>
            </a:xfrm>
          </p:grpSpPr>
          <p:sp>
            <p:nvSpPr>
              <p:cNvPr id="1407" name="Freeform 206">
                <a:extLst>
                  <a:ext uri="{FF2B5EF4-FFF2-40B4-BE49-F238E27FC236}">
                    <a16:creationId xmlns:a16="http://schemas.microsoft.com/office/drawing/2014/main" id="{D28731B7-4B06-4915-A632-6EA16757B2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96" y="226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8" name="Freeform 207">
                <a:extLst>
                  <a:ext uri="{FF2B5EF4-FFF2-40B4-BE49-F238E27FC236}">
                    <a16:creationId xmlns:a16="http://schemas.microsoft.com/office/drawing/2014/main" id="{CFB7B262-6339-47CF-A7BA-AFAC6A0D3D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35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9" name="Freeform 208">
                <a:extLst>
                  <a:ext uri="{FF2B5EF4-FFF2-40B4-BE49-F238E27FC236}">
                    <a16:creationId xmlns:a16="http://schemas.microsoft.com/office/drawing/2014/main" id="{0FB6CA88-1F24-4DFF-BDD8-1EFF49D0D9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33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0" name="Freeform 209">
                <a:extLst>
                  <a:ext uri="{FF2B5EF4-FFF2-40B4-BE49-F238E27FC236}">
                    <a16:creationId xmlns:a16="http://schemas.microsoft.com/office/drawing/2014/main" id="{2C23D090-C7F9-4C2C-B64B-993A86111A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323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1" name="Freeform 210">
                <a:extLst>
                  <a:ext uri="{FF2B5EF4-FFF2-40B4-BE49-F238E27FC236}">
                    <a16:creationId xmlns:a16="http://schemas.microsoft.com/office/drawing/2014/main" id="{645F95AE-9217-4202-84F0-8CE77CA12C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30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2" name="Freeform 211">
                <a:extLst>
                  <a:ext uri="{FF2B5EF4-FFF2-40B4-BE49-F238E27FC236}">
                    <a16:creationId xmlns:a16="http://schemas.microsoft.com/office/drawing/2014/main" id="{EAAC96C6-BC8E-4913-8556-AE0E997AA2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88" y="2291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3" name="Freeform 212">
                <a:extLst>
                  <a:ext uri="{FF2B5EF4-FFF2-40B4-BE49-F238E27FC236}">
                    <a16:creationId xmlns:a16="http://schemas.microsoft.com/office/drawing/2014/main" id="{1F15B7C4-A039-4432-A6BA-8CC955017F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5" y="227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4" name="Freeform 213">
                <a:extLst>
                  <a:ext uri="{FF2B5EF4-FFF2-40B4-BE49-F238E27FC236}">
                    <a16:creationId xmlns:a16="http://schemas.microsoft.com/office/drawing/2014/main" id="{DF8CD8D7-12F9-4D21-9A22-7D54804B59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42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5" name="Freeform 214">
                <a:extLst>
                  <a:ext uri="{FF2B5EF4-FFF2-40B4-BE49-F238E27FC236}">
                    <a16:creationId xmlns:a16="http://schemas.microsoft.com/office/drawing/2014/main" id="{A1094A6D-8D3E-42F2-8176-F02CF26438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69" y="224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6" name="Freeform 215">
                <a:extLst>
                  <a:ext uri="{FF2B5EF4-FFF2-40B4-BE49-F238E27FC236}">
                    <a16:creationId xmlns:a16="http://schemas.microsoft.com/office/drawing/2014/main" id="{B80F683F-C0C9-4C26-9817-B0CBF3D054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33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7" name="Freeform 216">
                <a:extLst>
                  <a:ext uri="{FF2B5EF4-FFF2-40B4-BE49-F238E27FC236}">
                    <a16:creationId xmlns:a16="http://schemas.microsoft.com/office/drawing/2014/main" id="{C720897D-5675-4D71-9D0D-34161D4716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323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8" name="Freeform 217">
                <a:extLst>
                  <a:ext uri="{FF2B5EF4-FFF2-40B4-BE49-F238E27FC236}">
                    <a16:creationId xmlns:a16="http://schemas.microsoft.com/office/drawing/2014/main" id="{17C3D10F-5BBC-4F2B-A0D1-3CD4BA8906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30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9" name="Freeform 218">
                <a:extLst>
                  <a:ext uri="{FF2B5EF4-FFF2-40B4-BE49-F238E27FC236}">
                    <a16:creationId xmlns:a16="http://schemas.microsoft.com/office/drawing/2014/main" id="{914ECB41-B06D-4989-93EF-DD8D82EF97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291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0" name="Freeform 219">
                <a:extLst>
                  <a:ext uri="{FF2B5EF4-FFF2-40B4-BE49-F238E27FC236}">
                    <a16:creationId xmlns:a16="http://schemas.microsoft.com/office/drawing/2014/main" id="{6EA1074A-EAE6-4FE2-8D10-84D1DDB93A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27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1" name="Freeform 220">
                <a:extLst>
                  <a:ext uri="{FF2B5EF4-FFF2-40B4-BE49-F238E27FC236}">
                    <a16:creationId xmlns:a16="http://schemas.microsoft.com/office/drawing/2014/main" id="{0834E88F-BFFC-47D9-98E8-5143E5C924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88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2" name="Freeform 221">
                <a:extLst>
                  <a:ext uri="{FF2B5EF4-FFF2-40B4-BE49-F238E27FC236}">
                    <a16:creationId xmlns:a16="http://schemas.microsoft.com/office/drawing/2014/main" id="{919E1A87-09C2-4CC2-9BC0-0B507B67D5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5" y="224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3" name="Freeform 222">
                <a:extLst>
                  <a:ext uri="{FF2B5EF4-FFF2-40B4-BE49-F238E27FC236}">
                    <a16:creationId xmlns:a16="http://schemas.microsoft.com/office/drawing/2014/main" id="{75614DA1-EEF2-480D-ADBC-1847242554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42" y="222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  <a:gd name="T10" fmla="*/ 6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4" name="Freeform 223">
                <a:extLst>
                  <a:ext uri="{FF2B5EF4-FFF2-40B4-BE49-F238E27FC236}">
                    <a16:creationId xmlns:a16="http://schemas.microsoft.com/office/drawing/2014/main" id="{DFB75C68-FC54-4D04-9298-03FFEF145E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323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5" name="Freeform 224">
                <a:extLst>
                  <a:ext uri="{FF2B5EF4-FFF2-40B4-BE49-F238E27FC236}">
                    <a16:creationId xmlns:a16="http://schemas.microsoft.com/office/drawing/2014/main" id="{27B1D03B-5D75-4168-A3DB-F0340F8D36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30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6" name="Freeform 225">
                <a:extLst>
                  <a:ext uri="{FF2B5EF4-FFF2-40B4-BE49-F238E27FC236}">
                    <a16:creationId xmlns:a16="http://schemas.microsoft.com/office/drawing/2014/main" id="{196A8573-3CCE-4606-B464-F48CB70E24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291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7" name="Freeform 226">
                <a:extLst>
                  <a:ext uri="{FF2B5EF4-FFF2-40B4-BE49-F238E27FC236}">
                    <a16:creationId xmlns:a16="http://schemas.microsoft.com/office/drawing/2014/main" id="{ABEC8B74-A109-4FD2-A2A7-D01C06CFCB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27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8" name="Freeform 227">
                <a:extLst>
                  <a:ext uri="{FF2B5EF4-FFF2-40B4-BE49-F238E27FC236}">
                    <a16:creationId xmlns:a16="http://schemas.microsoft.com/office/drawing/2014/main" id="{B7B4FE62-1092-40CA-A276-F97AEE9D6E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9" name="Freeform 228">
                <a:extLst>
                  <a:ext uri="{FF2B5EF4-FFF2-40B4-BE49-F238E27FC236}">
                    <a16:creationId xmlns:a16="http://schemas.microsoft.com/office/drawing/2014/main" id="{16FC6CA1-34C4-41DF-A655-17D61332ED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24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0" name="Freeform 229">
                <a:extLst>
                  <a:ext uri="{FF2B5EF4-FFF2-40B4-BE49-F238E27FC236}">
                    <a16:creationId xmlns:a16="http://schemas.microsoft.com/office/drawing/2014/main" id="{D61B0F27-37DA-4571-81A2-B2DC8300E2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88" y="222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1" name="Freeform 230">
                <a:extLst>
                  <a:ext uri="{FF2B5EF4-FFF2-40B4-BE49-F238E27FC236}">
                    <a16:creationId xmlns:a16="http://schemas.microsoft.com/office/drawing/2014/main" id="{CD08A5D2-F571-4FB0-982F-0F3AEFCDD7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5" y="2212"/>
                <a:ext cx="17" cy="11"/>
              </a:xfrm>
              <a:custGeom>
                <a:avLst/>
                <a:gdLst>
                  <a:gd name="T0" fmla="*/ 6 w 8"/>
                  <a:gd name="T1" fmla="*/ 4 h 5"/>
                  <a:gd name="T2" fmla="*/ 2 w 8"/>
                  <a:gd name="T3" fmla="*/ 4 h 5"/>
                  <a:gd name="T4" fmla="*/ 2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2" name="Freeform 231">
                <a:extLst>
                  <a:ext uri="{FF2B5EF4-FFF2-40B4-BE49-F238E27FC236}">
                    <a16:creationId xmlns:a16="http://schemas.microsoft.com/office/drawing/2014/main" id="{2B93FD35-435B-4126-BF43-422555216A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99" y="230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3" name="Freeform 232">
                <a:extLst>
                  <a:ext uri="{FF2B5EF4-FFF2-40B4-BE49-F238E27FC236}">
                    <a16:creationId xmlns:a16="http://schemas.microsoft.com/office/drawing/2014/main" id="{04BC4798-3C26-494D-A74C-EE1E62A51E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291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4" name="Freeform 233">
                <a:extLst>
                  <a:ext uri="{FF2B5EF4-FFF2-40B4-BE49-F238E27FC236}">
                    <a16:creationId xmlns:a16="http://schemas.microsoft.com/office/drawing/2014/main" id="{8D872D42-065B-4537-8314-4519CC1CB4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27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5" name="Freeform 234">
                <a:extLst>
                  <a:ext uri="{FF2B5EF4-FFF2-40B4-BE49-F238E27FC236}">
                    <a16:creationId xmlns:a16="http://schemas.microsoft.com/office/drawing/2014/main" id="{635AC151-E5DB-4AA3-B834-7A59CA7E52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6" name="Freeform 235">
                <a:extLst>
                  <a:ext uri="{FF2B5EF4-FFF2-40B4-BE49-F238E27FC236}">
                    <a16:creationId xmlns:a16="http://schemas.microsoft.com/office/drawing/2014/main" id="{96E6025B-EF34-435C-BDB9-492702197B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24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7" name="Freeform 236">
                <a:extLst>
                  <a:ext uri="{FF2B5EF4-FFF2-40B4-BE49-F238E27FC236}">
                    <a16:creationId xmlns:a16="http://schemas.microsoft.com/office/drawing/2014/main" id="{67424364-6C9F-41B0-966F-121B607C41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227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8" name="Freeform 237">
                <a:extLst>
                  <a:ext uri="{FF2B5EF4-FFF2-40B4-BE49-F238E27FC236}">
                    <a16:creationId xmlns:a16="http://schemas.microsoft.com/office/drawing/2014/main" id="{99C25A0B-18C8-44E2-A4CB-45E421220B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212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9" name="Freeform 238">
                <a:extLst>
                  <a:ext uri="{FF2B5EF4-FFF2-40B4-BE49-F238E27FC236}">
                    <a16:creationId xmlns:a16="http://schemas.microsoft.com/office/drawing/2014/main" id="{65C84AD6-C1E5-48A1-ADBA-376828C329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99" y="227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0" name="Freeform 239">
                <a:extLst>
                  <a:ext uri="{FF2B5EF4-FFF2-40B4-BE49-F238E27FC236}">
                    <a16:creationId xmlns:a16="http://schemas.microsoft.com/office/drawing/2014/main" id="{E5CBE369-8C6A-4E93-AE18-E679E0E194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260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1" name="Freeform 240">
                <a:extLst>
                  <a:ext uri="{FF2B5EF4-FFF2-40B4-BE49-F238E27FC236}">
                    <a16:creationId xmlns:a16="http://schemas.microsoft.com/office/drawing/2014/main" id="{D8A3CD69-D1B5-4D39-A181-1D6AC26C3E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24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2" name="Freeform 241">
                <a:extLst>
                  <a:ext uri="{FF2B5EF4-FFF2-40B4-BE49-F238E27FC236}">
                    <a16:creationId xmlns:a16="http://schemas.microsoft.com/office/drawing/2014/main" id="{FC3D5B8D-596D-4461-974E-8FD25C583E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227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3" name="Freeform 242">
                <a:extLst>
                  <a:ext uri="{FF2B5EF4-FFF2-40B4-BE49-F238E27FC236}">
                    <a16:creationId xmlns:a16="http://schemas.microsoft.com/office/drawing/2014/main" id="{640105CA-6CFA-4C11-A3DA-0FD8F42413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212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4" name="Freeform 243">
                <a:extLst>
                  <a:ext uri="{FF2B5EF4-FFF2-40B4-BE49-F238E27FC236}">
                    <a16:creationId xmlns:a16="http://schemas.microsoft.com/office/drawing/2014/main" id="{1B1D4626-544A-4586-9FEC-9ADB5B6C8F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19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5" name="Freeform 244">
                <a:extLst>
                  <a:ext uri="{FF2B5EF4-FFF2-40B4-BE49-F238E27FC236}">
                    <a16:creationId xmlns:a16="http://schemas.microsoft.com/office/drawing/2014/main" id="{8C3492E7-5DA2-4BFE-9D50-3E53F45B56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99" y="224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6" name="Freeform 245">
                <a:extLst>
                  <a:ext uri="{FF2B5EF4-FFF2-40B4-BE49-F238E27FC236}">
                    <a16:creationId xmlns:a16="http://schemas.microsoft.com/office/drawing/2014/main" id="{7A83B6BC-5DAB-4F51-B711-F62CD63E57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22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7" name="Freeform 246">
                <a:extLst>
                  <a:ext uri="{FF2B5EF4-FFF2-40B4-BE49-F238E27FC236}">
                    <a16:creationId xmlns:a16="http://schemas.microsoft.com/office/drawing/2014/main" id="{EF849BCC-62D4-4E14-983A-C50484B568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212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8" name="Freeform 247">
                <a:extLst>
                  <a:ext uri="{FF2B5EF4-FFF2-40B4-BE49-F238E27FC236}">
                    <a16:creationId xmlns:a16="http://schemas.microsoft.com/office/drawing/2014/main" id="{976709F3-4778-46A8-81DD-954FBA339B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19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9" name="Freeform 248">
                <a:extLst>
                  <a:ext uri="{FF2B5EF4-FFF2-40B4-BE49-F238E27FC236}">
                    <a16:creationId xmlns:a16="http://schemas.microsoft.com/office/drawing/2014/main" id="{B4C445CF-BCF3-478F-86E3-E338E8EF3C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181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0" name="Freeform 249">
                <a:extLst>
                  <a:ext uri="{FF2B5EF4-FFF2-40B4-BE49-F238E27FC236}">
                    <a16:creationId xmlns:a16="http://schemas.microsoft.com/office/drawing/2014/main" id="{F8F09907-D8CA-4EFE-B06A-875E7C026D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772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1" name="Freeform 250">
                <a:extLst>
                  <a:ext uri="{FF2B5EF4-FFF2-40B4-BE49-F238E27FC236}">
                    <a16:creationId xmlns:a16="http://schemas.microsoft.com/office/drawing/2014/main" id="{32A45D18-785F-49AB-9E49-36BA117E05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757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2" name="Freeform 251">
                <a:extLst>
                  <a:ext uri="{FF2B5EF4-FFF2-40B4-BE49-F238E27FC236}">
                    <a16:creationId xmlns:a16="http://schemas.microsoft.com/office/drawing/2014/main" id="{611FDF10-A559-4502-958D-9629A5A6CF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3" name="Freeform 252">
                <a:extLst>
                  <a:ext uri="{FF2B5EF4-FFF2-40B4-BE49-F238E27FC236}">
                    <a16:creationId xmlns:a16="http://schemas.microsoft.com/office/drawing/2014/main" id="{B5295792-25E2-4D6F-98C1-4B885B2C75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72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4" name="Freeform 253">
                <a:extLst>
                  <a:ext uri="{FF2B5EF4-FFF2-40B4-BE49-F238E27FC236}">
                    <a16:creationId xmlns:a16="http://schemas.microsoft.com/office/drawing/2014/main" id="{1F7B4C86-1BF3-4587-AF58-8F72862960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5" name="Freeform 254">
                <a:extLst>
                  <a:ext uri="{FF2B5EF4-FFF2-40B4-BE49-F238E27FC236}">
                    <a16:creationId xmlns:a16="http://schemas.microsoft.com/office/drawing/2014/main" id="{2E9A6DE5-6C16-4903-9C63-05332C148A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9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6" name="Freeform 255">
                <a:extLst>
                  <a:ext uri="{FF2B5EF4-FFF2-40B4-BE49-F238E27FC236}">
                    <a16:creationId xmlns:a16="http://schemas.microsoft.com/office/drawing/2014/main" id="{3CFB5CE9-6AAE-42C2-B43C-ADAE02B9B9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7" name="Freeform 256">
                <a:extLst>
                  <a:ext uri="{FF2B5EF4-FFF2-40B4-BE49-F238E27FC236}">
                    <a16:creationId xmlns:a16="http://schemas.microsoft.com/office/drawing/2014/main" id="{0FDB9757-D130-44E9-864A-32DC693D65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8" name="Freeform 257">
                <a:extLst>
                  <a:ext uri="{FF2B5EF4-FFF2-40B4-BE49-F238E27FC236}">
                    <a16:creationId xmlns:a16="http://schemas.microsoft.com/office/drawing/2014/main" id="{EDCC5ED3-0CC1-4661-B11F-0E9B066CA8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9" name="Freeform 258">
                <a:extLst>
                  <a:ext uri="{FF2B5EF4-FFF2-40B4-BE49-F238E27FC236}">
                    <a16:creationId xmlns:a16="http://schemas.microsoft.com/office/drawing/2014/main" id="{B63DA437-68CF-45B1-BD63-6334DCFC6F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0" name="Freeform 259">
                <a:extLst>
                  <a:ext uri="{FF2B5EF4-FFF2-40B4-BE49-F238E27FC236}">
                    <a16:creationId xmlns:a16="http://schemas.microsoft.com/office/drawing/2014/main" id="{5DBDFB8D-4F5F-456E-A87A-E65084C12B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1" name="Freeform 260">
                <a:extLst>
                  <a:ext uri="{FF2B5EF4-FFF2-40B4-BE49-F238E27FC236}">
                    <a16:creationId xmlns:a16="http://schemas.microsoft.com/office/drawing/2014/main" id="{DAD84428-4107-46C4-8CB9-A47A4554FC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2" name="Freeform 261">
                <a:extLst>
                  <a:ext uri="{FF2B5EF4-FFF2-40B4-BE49-F238E27FC236}">
                    <a16:creationId xmlns:a16="http://schemas.microsoft.com/office/drawing/2014/main" id="{17CBAF5A-5C48-43FD-B7AA-4B9187D0FD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3" name="Freeform 262">
                <a:extLst>
                  <a:ext uri="{FF2B5EF4-FFF2-40B4-BE49-F238E27FC236}">
                    <a16:creationId xmlns:a16="http://schemas.microsoft.com/office/drawing/2014/main" id="{00ED0752-3D1C-4074-9C07-41119EE936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4" name="Freeform 263">
                <a:extLst>
                  <a:ext uri="{FF2B5EF4-FFF2-40B4-BE49-F238E27FC236}">
                    <a16:creationId xmlns:a16="http://schemas.microsoft.com/office/drawing/2014/main" id="{2172BCEF-DB88-4B67-856E-02846CC875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5" name="Freeform 264">
                <a:extLst>
                  <a:ext uri="{FF2B5EF4-FFF2-40B4-BE49-F238E27FC236}">
                    <a16:creationId xmlns:a16="http://schemas.microsoft.com/office/drawing/2014/main" id="{AADEAADB-21A7-4245-8945-EC1BA9EACF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757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6" name="Freeform 265">
                <a:extLst>
                  <a:ext uri="{FF2B5EF4-FFF2-40B4-BE49-F238E27FC236}">
                    <a16:creationId xmlns:a16="http://schemas.microsoft.com/office/drawing/2014/main" id="{E42FFDA4-797C-4B5E-B4AE-C50FA1F94F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74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7" name="Freeform 266">
                <a:extLst>
                  <a:ext uri="{FF2B5EF4-FFF2-40B4-BE49-F238E27FC236}">
                    <a16:creationId xmlns:a16="http://schemas.microsoft.com/office/drawing/2014/main" id="{5877F5F6-26E5-40FB-AE2B-ADC2D9AA35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72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8" name="Freeform 267">
                <a:extLst>
                  <a:ext uri="{FF2B5EF4-FFF2-40B4-BE49-F238E27FC236}">
                    <a16:creationId xmlns:a16="http://schemas.microsoft.com/office/drawing/2014/main" id="{D557B539-5A55-490C-A9E9-5187F6B17B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9" name="Freeform 268">
                <a:extLst>
                  <a:ext uri="{FF2B5EF4-FFF2-40B4-BE49-F238E27FC236}">
                    <a16:creationId xmlns:a16="http://schemas.microsoft.com/office/drawing/2014/main" id="{442A9389-13F9-41D7-B974-A557C85563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9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0" name="Freeform 269">
                <a:extLst>
                  <a:ext uri="{FF2B5EF4-FFF2-40B4-BE49-F238E27FC236}">
                    <a16:creationId xmlns:a16="http://schemas.microsoft.com/office/drawing/2014/main" id="{BB8A3578-C732-4223-A1A3-68778B060D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1" name="Freeform 270">
                <a:extLst>
                  <a:ext uri="{FF2B5EF4-FFF2-40B4-BE49-F238E27FC236}">
                    <a16:creationId xmlns:a16="http://schemas.microsoft.com/office/drawing/2014/main" id="{B0332F0E-85BB-4571-AF99-33C25F555C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2" name="Freeform 271">
                <a:extLst>
                  <a:ext uri="{FF2B5EF4-FFF2-40B4-BE49-F238E27FC236}">
                    <a16:creationId xmlns:a16="http://schemas.microsoft.com/office/drawing/2014/main" id="{85FA7E66-F99A-46F4-B877-7AC838B41E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3" name="Freeform 272">
                <a:extLst>
                  <a:ext uri="{FF2B5EF4-FFF2-40B4-BE49-F238E27FC236}">
                    <a16:creationId xmlns:a16="http://schemas.microsoft.com/office/drawing/2014/main" id="{78AE461F-4A8E-4511-9BA3-1999481314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4" name="Freeform 273">
                <a:extLst>
                  <a:ext uri="{FF2B5EF4-FFF2-40B4-BE49-F238E27FC236}">
                    <a16:creationId xmlns:a16="http://schemas.microsoft.com/office/drawing/2014/main" id="{DB22E065-9927-4B87-BD9F-6C65D4B551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5" name="Freeform 274">
                <a:extLst>
                  <a:ext uri="{FF2B5EF4-FFF2-40B4-BE49-F238E27FC236}">
                    <a16:creationId xmlns:a16="http://schemas.microsoft.com/office/drawing/2014/main" id="{1B92977A-4CDE-4CB8-88D0-3C8D7126B4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6" name="Freeform 275">
                <a:extLst>
                  <a:ext uri="{FF2B5EF4-FFF2-40B4-BE49-F238E27FC236}">
                    <a16:creationId xmlns:a16="http://schemas.microsoft.com/office/drawing/2014/main" id="{3647DCD4-F9C3-4654-9D31-D759269EC5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7" name="Freeform 276">
                <a:extLst>
                  <a:ext uri="{FF2B5EF4-FFF2-40B4-BE49-F238E27FC236}">
                    <a16:creationId xmlns:a16="http://schemas.microsoft.com/office/drawing/2014/main" id="{A7824A6F-D22B-4094-AD90-38CBF84D30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8" name="Freeform 277">
                <a:extLst>
                  <a:ext uri="{FF2B5EF4-FFF2-40B4-BE49-F238E27FC236}">
                    <a16:creationId xmlns:a16="http://schemas.microsoft.com/office/drawing/2014/main" id="{8EA9197D-43B1-4B9B-B094-1DB783BA94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9" name="Freeform 278">
                <a:extLst>
                  <a:ext uri="{FF2B5EF4-FFF2-40B4-BE49-F238E27FC236}">
                    <a16:creationId xmlns:a16="http://schemas.microsoft.com/office/drawing/2014/main" id="{C3BA13A7-A7FC-4280-A536-7852DFDB61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0" name="Freeform 279">
                <a:extLst>
                  <a:ext uri="{FF2B5EF4-FFF2-40B4-BE49-F238E27FC236}">
                    <a16:creationId xmlns:a16="http://schemas.microsoft.com/office/drawing/2014/main" id="{410A2850-963E-437F-B222-D3ED7443DA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74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1" name="Freeform 280">
                <a:extLst>
                  <a:ext uri="{FF2B5EF4-FFF2-40B4-BE49-F238E27FC236}">
                    <a16:creationId xmlns:a16="http://schemas.microsoft.com/office/drawing/2014/main" id="{A754037A-98D6-4F00-97DB-729200157F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726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2" name="Freeform 281">
                <a:extLst>
                  <a:ext uri="{FF2B5EF4-FFF2-40B4-BE49-F238E27FC236}">
                    <a16:creationId xmlns:a16="http://schemas.microsoft.com/office/drawing/2014/main" id="{A93B937C-AE52-4A46-9F67-428772EB7C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709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3" name="Freeform 282">
                <a:extLst>
                  <a:ext uri="{FF2B5EF4-FFF2-40B4-BE49-F238E27FC236}">
                    <a16:creationId xmlns:a16="http://schemas.microsoft.com/office/drawing/2014/main" id="{E1F95862-75D6-49CC-8643-1CC243BC4B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9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4" name="Freeform 283">
                <a:extLst>
                  <a:ext uri="{FF2B5EF4-FFF2-40B4-BE49-F238E27FC236}">
                    <a16:creationId xmlns:a16="http://schemas.microsoft.com/office/drawing/2014/main" id="{D1A4BFA7-16CE-485A-B14B-8BF844CA2C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5" name="Freeform 284">
                <a:extLst>
                  <a:ext uri="{FF2B5EF4-FFF2-40B4-BE49-F238E27FC236}">
                    <a16:creationId xmlns:a16="http://schemas.microsoft.com/office/drawing/2014/main" id="{BCFAC4C0-F107-445E-B111-53410C99AA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6" name="Freeform 285">
                <a:extLst>
                  <a:ext uri="{FF2B5EF4-FFF2-40B4-BE49-F238E27FC236}">
                    <a16:creationId xmlns:a16="http://schemas.microsoft.com/office/drawing/2014/main" id="{1CAA9527-06E6-4DB0-BE50-2D89C687C5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7" name="Freeform 286">
                <a:extLst>
                  <a:ext uri="{FF2B5EF4-FFF2-40B4-BE49-F238E27FC236}">
                    <a16:creationId xmlns:a16="http://schemas.microsoft.com/office/drawing/2014/main" id="{F857743C-5F53-4278-940B-D5BE7AB60A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8" name="Freeform 287">
                <a:extLst>
                  <a:ext uri="{FF2B5EF4-FFF2-40B4-BE49-F238E27FC236}">
                    <a16:creationId xmlns:a16="http://schemas.microsoft.com/office/drawing/2014/main" id="{6368AB78-95E6-4260-8AF8-2C48384F38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9" name="Freeform 288">
                <a:extLst>
                  <a:ext uri="{FF2B5EF4-FFF2-40B4-BE49-F238E27FC236}">
                    <a16:creationId xmlns:a16="http://schemas.microsoft.com/office/drawing/2014/main" id="{5DF8EDB1-521C-47F8-9D06-E09F95EA20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0" name="Freeform 289">
                <a:extLst>
                  <a:ext uri="{FF2B5EF4-FFF2-40B4-BE49-F238E27FC236}">
                    <a16:creationId xmlns:a16="http://schemas.microsoft.com/office/drawing/2014/main" id="{25B92B61-69A1-454E-83A5-2A603D1067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1" name="Freeform 290">
                <a:extLst>
                  <a:ext uri="{FF2B5EF4-FFF2-40B4-BE49-F238E27FC236}">
                    <a16:creationId xmlns:a16="http://schemas.microsoft.com/office/drawing/2014/main" id="{1DC6633A-EF3A-4F61-8254-B3DDFD8C21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2" name="Freeform 291">
                <a:extLst>
                  <a:ext uri="{FF2B5EF4-FFF2-40B4-BE49-F238E27FC236}">
                    <a16:creationId xmlns:a16="http://schemas.microsoft.com/office/drawing/2014/main" id="{50FFB3EA-FB2C-439A-B2DB-C17A2CBA98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3" name="Freeform 292">
                <a:extLst>
                  <a:ext uri="{FF2B5EF4-FFF2-40B4-BE49-F238E27FC236}">
                    <a16:creationId xmlns:a16="http://schemas.microsoft.com/office/drawing/2014/main" id="{5D98A7F2-CCB7-471B-829B-A2AE87FC44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4" name="Freeform 293">
                <a:extLst>
                  <a:ext uri="{FF2B5EF4-FFF2-40B4-BE49-F238E27FC236}">
                    <a16:creationId xmlns:a16="http://schemas.microsoft.com/office/drawing/2014/main" id="{08C52075-7751-498D-AADC-D718630E39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5" name="Freeform 294">
                <a:extLst>
                  <a:ext uri="{FF2B5EF4-FFF2-40B4-BE49-F238E27FC236}">
                    <a16:creationId xmlns:a16="http://schemas.microsoft.com/office/drawing/2014/main" id="{9D6AB285-ED3F-4687-96F3-4DAE872174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726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6" name="Freeform 295">
                <a:extLst>
                  <a:ext uri="{FF2B5EF4-FFF2-40B4-BE49-F238E27FC236}">
                    <a16:creationId xmlns:a16="http://schemas.microsoft.com/office/drawing/2014/main" id="{A9AD6C05-CB08-4BDC-915B-1AFFEE34BA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709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7" name="Freeform 296">
                <a:extLst>
                  <a:ext uri="{FF2B5EF4-FFF2-40B4-BE49-F238E27FC236}">
                    <a16:creationId xmlns:a16="http://schemas.microsoft.com/office/drawing/2014/main" id="{7B889B80-0AD5-4CE1-82DB-661457D6A0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95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8" name="Freeform 297">
                <a:extLst>
                  <a:ext uri="{FF2B5EF4-FFF2-40B4-BE49-F238E27FC236}">
                    <a16:creationId xmlns:a16="http://schemas.microsoft.com/office/drawing/2014/main" id="{01EE30D2-AA3A-43AC-979B-ECE297D264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678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9" name="Freeform 298">
                <a:extLst>
                  <a:ext uri="{FF2B5EF4-FFF2-40B4-BE49-F238E27FC236}">
                    <a16:creationId xmlns:a16="http://schemas.microsoft.com/office/drawing/2014/main" id="{1409F8F7-D387-4408-8A6F-348DA63C05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0" name="Freeform 299">
                <a:extLst>
                  <a:ext uri="{FF2B5EF4-FFF2-40B4-BE49-F238E27FC236}">
                    <a16:creationId xmlns:a16="http://schemas.microsoft.com/office/drawing/2014/main" id="{AF3863AB-413E-4BDF-B9CF-D4612C7D56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1" name="Freeform 300">
                <a:extLst>
                  <a:ext uri="{FF2B5EF4-FFF2-40B4-BE49-F238E27FC236}">
                    <a16:creationId xmlns:a16="http://schemas.microsoft.com/office/drawing/2014/main" id="{14BB8416-DCD1-47F9-B6EC-79D341E46B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2" name="Freeform 301">
                <a:extLst>
                  <a:ext uri="{FF2B5EF4-FFF2-40B4-BE49-F238E27FC236}">
                    <a16:creationId xmlns:a16="http://schemas.microsoft.com/office/drawing/2014/main" id="{77D28FFD-E8C0-47C3-B48B-8EE7B53025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3" name="Freeform 302">
                <a:extLst>
                  <a:ext uri="{FF2B5EF4-FFF2-40B4-BE49-F238E27FC236}">
                    <a16:creationId xmlns:a16="http://schemas.microsoft.com/office/drawing/2014/main" id="{67AEF933-7837-496D-9D61-30E0634A04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4" name="Freeform 303">
                <a:extLst>
                  <a:ext uri="{FF2B5EF4-FFF2-40B4-BE49-F238E27FC236}">
                    <a16:creationId xmlns:a16="http://schemas.microsoft.com/office/drawing/2014/main" id="{A640B1FC-F93A-4E30-8411-4FF63BA7FF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5" name="Freeform 304">
                <a:extLst>
                  <a:ext uri="{FF2B5EF4-FFF2-40B4-BE49-F238E27FC236}">
                    <a16:creationId xmlns:a16="http://schemas.microsoft.com/office/drawing/2014/main" id="{69AB544C-B637-411C-AF12-B3D2F153C5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6" name="Freeform 305">
                <a:extLst>
                  <a:ext uri="{FF2B5EF4-FFF2-40B4-BE49-F238E27FC236}">
                    <a16:creationId xmlns:a16="http://schemas.microsoft.com/office/drawing/2014/main" id="{0721FC73-4CF4-4BA7-870B-E52CE161D1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7" name="Freeform 306">
                <a:extLst>
                  <a:ext uri="{FF2B5EF4-FFF2-40B4-BE49-F238E27FC236}">
                    <a16:creationId xmlns:a16="http://schemas.microsoft.com/office/drawing/2014/main" id="{B4C86356-BCF7-473E-A359-A2A9F24FE0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8" name="Freeform 307">
                <a:extLst>
                  <a:ext uri="{FF2B5EF4-FFF2-40B4-BE49-F238E27FC236}">
                    <a16:creationId xmlns:a16="http://schemas.microsoft.com/office/drawing/2014/main" id="{A2BE3E2C-C7B5-45B1-A131-71E9AC074A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9" name="Freeform 308">
                <a:extLst>
                  <a:ext uri="{FF2B5EF4-FFF2-40B4-BE49-F238E27FC236}">
                    <a16:creationId xmlns:a16="http://schemas.microsoft.com/office/drawing/2014/main" id="{537442DD-A399-43D7-BF4F-7CE5EADA57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709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0" name="Freeform 309">
                <a:extLst>
                  <a:ext uri="{FF2B5EF4-FFF2-40B4-BE49-F238E27FC236}">
                    <a16:creationId xmlns:a16="http://schemas.microsoft.com/office/drawing/2014/main" id="{7989BEEE-4584-4FDC-B711-5AA446F5D5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95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1" name="Freeform 310">
                <a:extLst>
                  <a:ext uri="{FF2B5EF4-FFF2-40B4-BE49-F238E27FC236}">
                    <a16:creationId xmlns:a16="http://schemas.microsoft.com/office/drawing/2014/main" id="{3C3C2944-4D00-4566-8CFA-FED1C63E05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678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2" name="Freeform 311">
                <a:extLst>
                  <a:ext uri="{FF2B5EF4-FFF2-40B4-BE49-F238E27FC236}">
                    <a16:creationId xmlns:a16="http://schemas.microsoft.com/office/drawing/2014/main" id="{F20F833C-5AB7-4F51-B4F8-328984D332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64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3" name="Freeform 312">
                <a:extLst>
                  <a:ext uri="{FF2B5EF4-FFF2-40B4-BE49-F238E27FC236}">
                    <a16:creationId xmlns:a16="http://schemas.microsoft.com/office/drawing/2014/main" id="{8A43E5CB-2A61-420A-B9AB-B69306EE67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647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4" name="Freeform 313">
                <a:extLst>
                  <a:ext uri="{FF2B5EF4-FFF2-40B4-BE49-F238E27FC236}">
                    <a16:creationId xmlns:a16="http://schemas.microsoft.com/office/drawing/2014/main" id="{EE648222-5A2C-49ED-A903-988A637483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5" name="Freeform 314">
                <a:extLst>
                  <a:ext uri="{FF2B5EF4-FFF2-40B4-BE49-F238E27FC236}">
                    <a16:creationId xmlns:a16="http://schemas.microsoft.com/office/drawing/2014/main" id="{59FF5878-1DDD-447F-BD92-7A949D369B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6" name="Freeform 315">
                <a:extLst>
                  <a:ext uri="{FF2B5EF4-FFF2-40B4-BE49-F238E27FC236}">
                    <a16:creationId xmlns:a16="http://schemas.microsoft.com/office/drawing/2014/main" id="{A36B0E9B-E3CC-430E-9752-1E29616483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7" name="Freeform 316">
                <a:extLst>
                  <a:ext uri="{FF2B5EF4-FFF2-40B4-BE49-F238E27FC236}">
                    <a16:creationId xmlns:a16="http://schemas.microsoft.com/office/drawing/2014/main" id="{D134F8AF-651A-4159-BF1D-3A5B25FB91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8" name="Freeform 317">
                <a:extLst>
                  <a:ext uri="{FF2B5EF4-FFF2-40B4-BE49-F238E27FC236}">
                    <a16:creationId xmlns:a16="http://schemas.microsoft.com/office/drawing/2014/main" id="{6CFA2B94-6ABE-4CD1-A80A-BF2FC9112D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9" name="Freeform 318">
                <a:extLst>
                  <a:ext uri="{FF2B5EF4-FFF2-40B4-BE49-F238E27FC236}">
                    <a16:creationId xmlns:a16="http://schemas.microsoft.com/office/drawing/2014/main" id="{E590122A-6CBE-46B3-8C17-F95D68BBDC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0" name="Freeform 319">
                <a:extLst>
                  <a:ext uri="{FF2B5EF4-FFF2-40B4-BE49-F238E27FC236}">
                    <a16:creationId xmlns:a16="http://schemas.microsoft.com/office/drawing/2014/main" id="{670F841C-78A6-419D-8A2D-C45DD04178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1" name="Freeform 320">
                <a:extLst>
                  <a:ext uri="{FF2B5EF4-FFF2-40B4-BE49-F238E27FC236}">
                    <a16:creationId xmlns:a16="http://schemas.microsoft.com/office/drawing/2014/main" id="{7D171ABC-4C20-4854-BE97-EADB2F944B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2" name="Freeform 321">
                <a:extLst>
                  <a:ext uri="{FF2B5EF4-FFF2-40B4-BE49-F238E27FC236}">
                    <a16:creationId xmlns:a16="http://schemas.microsoft.com/office/drawing/2014/main" id="{DAE7C95E-EA0F-41D5-B824-4EB165FC58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9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3" name="Freeform 322">
                <a:extLst>
                  <a:ext uri="{FF2B5EF4-FFF2-40B4-BE49-F238E27FC236}">
                    <a16:creationId xmlns:a16="http://schemas.microsoft.com/office/drawing/2014/main" id="{2B57B38D-C566-49EA-929C-B771331A08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67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4" name="Freeform 323">
                <a:extLst>
                  <a:ext uri="{FF2B5EF4-FFF2-40B4-BE49-F238E27FC236}">
                    <a16:creationId xmlns:a16="http://schemas.microsoft.com/office/drawing/2014/main" id="{55FBBE60-5F21-4BF5-B6AD-EF1D62AAAE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6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5" name="Freeform 324">
                <a:extLst>
                  <a:ext uri="{FF2B5EF4-FFF2-40B4-BE49-F238E27FC236}">
                    <a16:creationId xmlns:a16="http://schemas.microsoft.com/office/drawing/2014/main" id="{7BEE0DAD-22D2-4E9A-9B8C-4D859F407A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6" name="Freeform 325">
                <a:extLst>
                  <a:ext uri="{FF2B5EF4-FFF2-40B4-BE49-F238E27FC236}">
                    <a16:creationId xmlns:a16="http://schemas.microsoft.com/office/drawing/2014/main" id="{A2D04C59-492F-4ABE-B386-5CDA549A81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7" name="Freeform 326">
                <a:extLst>
                  <a:ext uri="{FF2B5EF4-FFF2-40B4-BE49-F238E27FC236}">
                    <a16:creationId xmlns:a16="http://schemas.microsoft.com/office/drawing/2014/main" id="{5DC727CE-7CFD-4BB6-B9F8-88D13AC184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8" name="Freeform 327">
                <a:extLst>
                  <a:ext uri="{FF2B5EF4-FFF2-40B4-BE49-F238E27FC236}">
                    <a16:creationId xmlns:a16="http://schemas.microsoft.com/office/drawing/2014/main" id="{FCF3676F-A08C-4EE1-8896-2807B8B18D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01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9" name="Freeform 328">
                <a:extLst>
                  <a:ext uri="{FF2B5EF4-FFF2-40B4-BE49-F238E27FC236}">
                    <a16:creationId xmlns:a16="http://schemas.microsoft.com/office/drawing/2014/main" id="{C729999C-D6C0-4393-80C1-EF7B3D1ED0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0" name="Freeform 329">
                <a:extLst>
                  <a:ext uri="{FF2B5EF4-FFF2-40B4-BE49-F238E27FC236}">
                    <a16:creationId xmlns:a16="http://schemas.microsoft.com/office/drawing/2014/main" id="{FDB18475-AA64-46BC-953B-030E805201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53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1" name="Freeform 330">
                <a:extLst>
                  <a:ext uri="{FF2B5EF4-FFF2-40B4-BE49-F238E27FC236}">
                    <a16:creationId xmlns:a16="http://schemas.microsoft.com/office/drawing/2014/main" id="{A24A875D-C621-458E-B047-00ABEF2D69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2" name="Freeform 331">
                <a:extLst>
                  <a:ext uri="{FF2B5EF4-FFF2-40B4-BE49-F238E27FC236}">
                    <a16:creationId xmlns:a16="http://schemas.microsoft.com/office/drawing/2014/main" id="{24A4A7A8-60F0-4A68-AA0B-439131BAE2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58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3" name="Freeform 332">
                <a:extLst>
                  <a:ext uri="{FF2B5EF4-FFF2-40B4-BE49-F238E27FC236}">
                    <a16:creationId xmlns:a16="http://schemas.microsoft.com/office/drawing/2014/main" id="{F0B57F24-A3AD-4870-A5F7-768D61F993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570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4" name="Freeform 333">
                <a:extLst>
                  <a:ext uri="{FF2B5EF4-FFF2-40B4-BE49-F238E27FC236}">
                    <a16:creationId xmlns:a16="http://schemas.microsoft.com/office/drawing/2014/main" id="{449FF2AE-94A1-4D63-8FD3-4941ACE481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67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5" name="Freeform 334">
                <a:extLst>
                  <a:ext uri="{FF2B5EF4-FFF2-40B4-BE49-F238E27FC236}">
                    <a16:creationId xmlns:a16="http://schemas.microsoft.com/office/drawing/2014/main" id="{7620D2AD-98BD-41F3-8452-DDE6344EF6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6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6" name="Freeform 335">
                <a:extLst>
                  <a:ext uri="{FF2B5EF4-FFF2-40B4-BE49-F238E27FC236}">
                    <a16:creationId xmlns:a16="http://schemas.microsoft.com/office/drawing/2014/main" id="{ED1991AC-AC0B-4DF1-8A4D-6AADACFC82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7" name="Freeform 336">
                <a:extLst>
                  <a:ext uri="{FF2B5EF4-FFF2-40B4-BE49-F238E27FC236}">
                    <a16:creationId xmlns:a16="http://schemas.microsoft.com/office/drawing/2014/main" id="{6ED18D73-2AFB-44B2-9D67-D0E868BF4A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8" name="Freeform 337">
                <a:extLst>
                  <a:ext uri="{FF2B5EF4-FFF2-40B4-BE49-F238E27FC236}">
                    <a16:creationId xmlns:a16="http://schemas.microsoft.com/office/drawing/2014/main" id="{7CCC7194-FFA0-4916-9D22-C440344679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9" name="Freeform 338">
                <a:extLst>
                  <a:ext uri="{FF2B5EF4-FFF2-40B4-BE49-F238E27FC236}">
                    <a16:creationId xmlns:a16="http://schemas.microsoft.com/office/drawing/2014/main" id="{A9463481-65C8-4702-A390-4257AE93A9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0" name="Freeform 339">
                <a:extLst>
                  <a:ext uri="{FF2B5EF4-FFF2-40B4-BE49-F238E27FC236}">
                    <a16:creationId xmlns:a16="http://schemas.microsoft.com/office/drawing/2014/main" id="{F8CE46AE-9AA6-48B3-B4B9-AB217301FA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1" name="Freeform 340">
                <a:extLst>
                  <a:ext uri="{FF2B5EF4-FFF2-40B4-BE49-F238E27FC236}">
                    <a16:creationId xmlns:a16="http://schemas.microsoft.com/office/drawing/2014/main" id="{C25DB223-6E7C-45AB-ADA1-0F60469D79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53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2" name="Freeform 341">
                <a:extLst>
                  <a:ext uri="{FF2B5EF4-FFF2-40B4-BE49-F238E27FC236}">
                    <a16:creationId xmlns:a16="http://schemas.microsoft.com/office/drawing/2014/main" id="{418622A0-5754-4DA6-BC1E-6114D92681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3" name="Freeform 342">
                <a:extLst>
                  <a:ext uri="{FF2B5EF4-FFF2-40B4-BE49-F238E27FC236}">
                    <a16:creationId xmlns:a16="http://schemas.microsoft.com/office/drawing/2014/main" id="{CED82E97-7630-4D78-9FA2-468C0C1DD5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50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4" name="Freeform 343">
                <a:extLst>
                  <a:ext uri="{FF2B5EF4-FFF2-40B4-BE49-F238E27FC236}">
                    <a16:creationId xmlns:a16="http://schemas.microsoft.com/office/drawing/2014/main" id="{934ADB7A-DAF2-475D-A8D4-F6BD7A3316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5" name="Freeform 344">
                <a:extLst>
                  <a:ext uri="{FF2B5EF4-FFF2-40B4-BE49-F238E27FC236}">
                    <a16:creationId xmlns:a16="http://schemas.microsoft.com/office/drawing/2014/main" id="{32C72366-DD4B-4F4C-83B5-968700D2A0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570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6" name="Freeform 345">
                <a:extLst>
                  <a:ext uri="{FF2B5EF4-FFF2-40B4-BE49-F238E27FC236}">
                    <a16:creationId xmlns:a16="http://schemas.microsoft.com/office/drawing/2014/main" id="{C0E08AD8-F71E-4432-8F47-4713C5D5E3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66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7" name="Freeform 346">
                <a:extLst>
                  <a:ext uri="{FF2B5EF4-FFF2-40B4-BE49-F238E27FC236}">
                    <a16:creationId xmlns:a16="http://schemas.microsoft.com/office/drawing/2014/main" id="{1DB2E3C0-F8E8-42D3-806A-7E4CA3385D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8" name="Freeform 347">
                <a:extLst>
                  <a:ext uri="{FF2B5EF4-FFF2-40B4-BE49-F238E27FC236}">
                    <a16:creationId xmlns:a16="http://schemas.microsoft.com/office/drawing/2014/main" id="{450133E7-8678-46F1-8F18-D2E29E9E91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9" name="Freeform 348">
                <a:extLst>
                  <a:ext uri="{FF2B5EF4-FFF2-40B4-BE49-F238E27FC236}">
                    <a16:creationId xmlns:a16="http://schemas.microsoft.com/office/drawing/2014/main" id="{D5B5C918-B448-494A-8669-4B6941E143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0" name="Freeform 349">
                <a:extLst>
                  <a:ext uri="{FF2B5EF4-FFF2-40B4-BE49-F238E27FC236}">
                    <a16:creationId xmlns:a16="http://schemas.microsoft.com/office/drawing/2014/main" id="{BF90CBB0-AA94-4290-85A0-F0EFFA74DA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1" name="Freeform 350">
                <a:extLst>
                  <a:ext uri="{FF2B5EF4-FFF2-40B4-BE49-F238E27FC236}">
                    <a16:creationId xmlns:a16="http://schemas.microsoft.com/office/drawing/2014/main" id="{715B095F-E76E-43A8-A44E-99D1FC8223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2" name="Freeform 351">
                <a:extLst>
                  <a:ext uri="{FF2B5EF4-FFF2-40B4-BE49-F238E27FC236}">
                    <a16:creationId xmlns:a16="http://schemas.microsoft.com/office/drawing/2014/main" id="{AF494A1A-1AA1-4241-A641-45655FB01D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53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3" name="Freeform 352">
                <a:extLst>
                  <a:ext uri="{FF2B5EF4-FFF2-40B4-BE49-F238E27FC236}">
                    <a16:creationId xmlns:a16="http://schemas.microsoft.com/office/drawing/2014/main" id="{EC0F1511-C912-4F22-8CEF-76CB374606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4" name="Freeform 353">
                <a:extLst>
                  <a:ext uri="{FF2B5EF4-FFF2-40B4-BE49-F238E27FC236}">
                    <a16:creationId xmlns:a16="http://schemas.microsoft.com/office/drawing/2014/main" id="{2B924610-1C00-4278-A807-1405077266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50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5" name="Freeform 354">
                <a:extLst>
                  <a:ext uri="{FF2B5EF4-FFF2-40B4-BE49-F238E27FC236}">
                    <a16:creationId xmlns:a16="http://schemas.microsoft.com/office/drawing/2014/main" id="{F1168547-2184-4561-99A0-AAE3FBD24B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6" name="Freeform 355">
                <a:extLst>
                  <a:ext uri="{FF2B5EF4-FFF2-40B4-BE49-F238E27FC236}">
                    <a16:creationId xmlns:a16="http://schemas.microsoft.com/office/drawing/2014/main" id="{F1E87920-D6E3-4B1E-877C-60F76C5958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7" name="Freeform 356">
                <a:extLst>
                  <a:ext uri="{FF2B5EF4-FFF2-40B4-BE49-F238E27FC236}">
                    <a16:creationId xmlns:a16="http://schemas.microsoft.com/office/drawing/2014/main" id="{94C121CC-A9A0-4709-BF00-67440992B4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8" name="Freeform 357">
                <a:extLst>
                  <a:ext uri="{FF2B5EF4-FFF2-40B4-BE49-F238E27FC236}">
                    <a16:creationId xmlns:a16="http://schemas.microsoft.com/office/drawing/2014/main" id="{09C0B5F3-25EE-4586-B660-138978A096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9" name="Freeform 358">
                <a:extLst>
                  <a:ext uri="{FF2B5EF4-FFF2-40B4-BE49-F238E27FC236}">
                    <a16:creationId xmlns:a16="http://schemas.microsoft.com/office/drawing/2014/main" id="{97184913-6995-4E21-8572-A79C741695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0" name="Freeform 359">
                <a:extLst>
                  <a:ext uri="{FF2B5EF4-FFF2-40B4-BE49-F238E27FC236}">
                    <a16:creationId xmlns:a16="http://schemas.microsoft.com/office/drawing/2014/main" id="{402B660F-B320-4D14-920B-2BDC8CED64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1" name="Freeform 360">
                <a:extLst>
                  <a:ext uri="{FF2B5EF4-FFF2-40B4-BE49-F238E27FC236}">
                    <a16:creationId xmlns:a16="http://schemas.microsoft.com/office/drawing/2014/main" id="{B126AA68-65A5-45A3-86EB-1454821BAD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2" name="Freeform 361">
                <a:extLst>
                  <a:ext uri="{FF2B5EF4-FFF2-40B4-BE49-F238E27FC236}">
                    <a16:creationId xmlns:a16="http://schemas.microsoft.com/office/drawing/2014/main" id="{5F9CF7D9-CC89-47E4-ADF3-930D5FA8A2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3" name="Freeform 362">
                <a:extLst>
                  <a:ext uri="{FF2B5EF4-FFF2-40B4-BE49-F238E27FC236}">
                    <a16:creationId xmlns:a16="http://schemas.microsoft.com/office/drawing/2014/main" id="{9D16461D-FA1D-4A77-B018-F681BA882C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4" name="Freeform 363">
                <a:extLst>
                  <a:ext uri="{FF2B5EF4-FFF2-40B4-BE49-F238E27FC236}">
                    <a16:creationId xmlns:a16="http://schemas.microsoft.com/office/drawing/2014/main" id="{6EBF63FA-C3D8-4DFA-85C8-E1F3E66215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5" name="Freeform 364">
                <a:extLst>
                  <a:ext uri="{FF2B5EF4-FFF2-40B4-BE49-F238E27FC236}">
                    <a16:creationId xmlns:a16="http://schemas.microsoft.com/office/drawing/2014/main" id="{DED2C5EA-B0BF-4B18-BAB9-4D0BD54E7D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50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6" name="Freeform 365">
                <a:extLst>
                  <a:ext uri="{FF2B5EF4-FFF2-40B4-BE49-F238E27FC236}">
                    <a16:creationId xmlns:a16="http://schemas.microsoft.com/office/drawing/2014/main" id="{7C10D6FD-E0AD-44F5-ACF7-D98D932CA7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7" name="Freeform 366">
                <a:extLst>
                  <a:ext uri="{FF2B5EF4-FFF2-40B4-BE49-F238E27FC236}">
                    <a16:creationId xmlns:a16="http://schemas.microsoft.com/office/drawing/2014/main" id="{7684B961-509D-44D0-8FDF-D611278A26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  <a:gd name="T10" fmla="*/ 6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8" name="Freeform 367">
                <a:extLst>
                  <a:ext uri="{FF2B5EF4-FFF2-40B4-BE49-F238E27FC236}">
                    <a16:creationId xmlns:a16="http://schemas.microsoft.com/office/drawing/2014/main" id="{9F148B63-0F7E-4864-8C10-03FC9C3A20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9" name="Freeform 368">
                <a:extLst>
                  <a:ext uri="{FF2B5EF4-FFF2-40B4-BE49-F238E27FC236}">
                    <a16:creationId xmlns:a16="http://schemas.microsoft.com/office/drawing/2014/main" id="{F847DD51-1DE1-4D38-9658-FA8D9AE3D6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0" name="Freeform 369">
                <a:extLst>
                  <a:ext uri="{FF2B5EF4-FFF2-40B4-BE49-F238E27FC236}">
                    <a16:creationId xmlns:a16="http://schemas.microsoft.com/office/drawing/2014/main" id="{6459D36A-C4C9-43AE-A8A6-DE3527A804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1" name="Freeform 370">
                <a:extLst>
                  <a:ext uri="{FF2B5EF4-FFF2-40B4-BE49-F238E27FC236}">
                    <a16:creationId xmlns:a16="http://schemas.microsoft.com/office/drawing/2014/main" id="{82D3E0A5-B797-4C9A-B1A5-89C5C2206E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2" name="Freeform 371">
                <a:extLst>
                  <a:ext uri="{FF2B5EF4-FFF2-40B4-BE49-F238E27FC236}">
                    <a16:creationId xmlns:a16="http://schemas.microsoft.com/office/drawing/2014/main" id="{9ADDA067-EA59-4864-8BD5-F1BA613543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3" name="Freeform 372">
                <a:extLst>
                  <a:ext uri="{FF2B5EF4-FFF2-40B4-BE49-F238E27FC236}">
                    <a16:creationId xmlns:a16="http://schemas.microsoft.com/office/drawing/2014/main" id="{21ECA427-4939-483F-9219-F555A82832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4" name="Freeform 373">
                <a:extLst>
                  <a:ext uri="{FF2B5EF4-FFF2-40B4-BE49-F238E27FC236}">
                    <a16:creationId xmlns:a16="http://schemas.microsoft.com/office/drawing/2014/main" id="{FC323D54-541F-4117-BC31-5AC4005016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5" name="Freeform 374">
                <a:extLst>
                  <a:ext uri="{FF2B5EF4-FFF2-40B4-BE49-F238E27FC236}">
                    <a16:creationId xmlns:a16="http://schemas.microsoft.com/office/drawing/2014/main" id="{E38D34F2-AB16-453B-9A70-D7A3B4CB19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6" name="Freeform 375">
                <a:extLst>
                  <a:ext uri="{FF2B5EF4-FFF2-40B4-BE49-F238E27FC236}">
                    <a16:creationId xmlns:a16="http://schemas.microsoft.com/office/drawing/2014/main" id="{4A6BF870-7AED-4361-A874-FC0F98E429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7" name="Freeform 376">
                <a:extLst>
                  <a:ext uri="{FF2B5EF4-FFF2-40B4-BE49-F238E27FC236}">
                    <a16:creationId xmlns:a16="http://schemas.microsoft.com/office/drawing/2014/main" id="{34A5858B-DCA5-49F3-9DA9-B7AAB4A332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8" name="Freeform 377">
                <a:extLst>
                  <a:ext uri="{FF2B5EF4-FFF2-40B4-BE49-F238E27FC236}">
                    <a16:creationId xmlns:a16="http://schemas.microsoft.com/office/drawing/2014/main" id="{CD5FD25C-6BF4-4103-9B2A-A692D8E3C3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9" name="Freeform 378">
                <a:extLst>
                  <a:ext uri="{FF2B5EF4-FFF2-40B4-BE49-F238E27FC236}">
                    <a16:creationId xmlns:a16="http://schemas.microsoft.com/office/drawing/2014/main" id="{5C21E6FD-2B1F-41C7-87EF-B51896A0DC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  <a:gd name="T10" fmla="*/ 6 w 8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0" name="Freeform 379">
                <a:extLst>
                  <a:ext uri="{FF2B5EF4-FFF2-40B4-BE49-F238E27FC236}">
                    <a16:creationId xmlns:a16="http://schemas.microsoft.com/office/drawing/2014/main" id="{7B33F034-D0CA-4237-86E8-075BA3464E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1" name="Freeform 380">
                <a:extLst>
                  <a:ext uri="{FF2B5EF4-FFF2-40B4-BE49-F238E27FC236}">
                    <a16:creationId xmlns:a16="http://schemas.microsoft.com/office/drawing/2014/main" id="{A629FA51-3704-4A31-8564-AA20B481AD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2" name="Freeform 381">
                <a:extLst>
                  <a:ext uri="{FF2B5EF4-FFF2-40B4-BE49-F238E27FC236}">
                    <a16:creationId xmlns:a16="http://schemas.microsoft.com/office/drawing/2014/main" id="{F547F9CA-E07E-4033-A351-967C00F635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3" name="Freeform 382">
                <a:extLst>
                  <a:ext uri="{FF2B5EF4-FFF2-40B4-BE49-F238E27FC236}">
                    <a16:creationId xmlns:a16="http://schemas.microsoft.com/office/drawing/2014/main" id="{407A5AE7-E205-4978-96D5-423B3BC0A2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4" name="Freeform 383">
                <a:extLst>
                  <a:ext uri="{FF2B5EF4-FFF2-40B4-BE49-F238E27FC236}">
                    <a16:creationId xmlns:a16="http://schemas.microsoft.com/office/drawing/2014/main" id="{1E5B63AC-9DCE-4115-8751-21C69FF5D1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5" name="Freeform 384">
                <a:extLst>
                  <a:ext uri="{FF2B5EF4-FFF2-40B4-BE49-F238E27FC236}">
                    <a16:creationId xmlns:a16="http://schemas.microsoft.com/office/drawing/2014/main" id="{34127C83-635B-4AAA-96BB-82D958D697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6" name="Freeform 385">
                <a:extLst>
                  <a:ext uri="{FF2B5EF4-FFF2-40B4-BE49-F238E27FC236}">
                    <a16:creationId xmlns:a16="http://schemas.microsoft.com/office/drawing/2014/main" id="{1987823D-C796-4472-87DE-0C52631C5F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7" name="Freeform 386">
                <a:extLst>
                  <a:ext uri="{FF2B5EF4-FFF2-40B4-BE49-F238E27FC236}">
                    <a16:creationId xmlns:a16="http://schemas.microsoft.com/office/drawing/2014/main" id="{5AEF5DEE-14A1-4A61-9680-5275EC1C2A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8" name="Freeform 387">
                <a:extLst>
                  <a:ext uri="{FF2B5EF4-FFF2-40B4-BE49-F238E27FC236}">
                    <a16:creationId xmlns:a16="http://schemas.microsoft.com/office/drawing/2014/main" id="{FCD58380-A8D7-421D-8650-3A82A8CF26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9" name="Freeform 388">
                <a:extLst>
                  <a:ext uri="{FF2B5EF4-FFF2-40B4-BE49-F238E27FC236}">
                    <a16:creationId xmlns:a16="http://schemas.microsoft.com/office/drawing/2014/main" id="{E42F0A69-C786-4D2C-A0CA-E63E1272C9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0" name="Freeform 389">
                <a:extLst>
                  <a:ext uri="{FF2B5EF4-FFF2-40B4-BE49-F238E27FC236}">
                    <a16:creationId xmlns:a16="http://schemas.microsoft.com/office/drawing/2014/main" id="{7ABAD9E7-0EA1-4200-9908-3539FB292B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1" name="Freeform 390">
                <a:extLst>
                  <a:ext uri="{FF2B5EF4-FFF2-40B4-BE49-F238E27FC236}">
                    <a16:creationId xmlns:a16="http://schemas.microsoft.com/office/drawing/2014/main" id="{25A8D94B-B92B-4CE6-8137-951B728D04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445"/>
                <a:ext cx="17" cy="9"/>
              </a:xfrm>
              <a:custGeom>
                <a:avLst/>
                <a:gdLst>
                  <a:gd name="T0" fmla="*/ 6 w 8"/>
                  <a:gd name="T1" fmla="*/ 3 h 4"/>
                  <a:gd name="T2" fmla="*/ 1 w 8"/>
                  <a:gd name="T3" fmla="*/ 3 h 4"/>
                  <a:gd name="T4" fmla="*/ 1 w 8"/>
                  <a:gd name="T5" fmla="*/ 0 h 4"/>
                  <a:gd name="T6" fmla="*/ 6 w 8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6" y="3"/>
                    </a:move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8" y="3"/>
                      <a:pt x="6" y="3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2" name="Freeform 391">
                <a:extLst>
                  <a:ext uri="{FF2B5EF4-FFF2-40B4-BE49-F238E27FC236}">
                    <a16:creationId xmlns:a16="http://schemas.microsoft.com/office/drawing/2014/main" id="{AF6358E8-C22B-45BB-91B8-B4DF971A2E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3" name="Freeform 392">
                <a:extLst>
                  <a:ext uri="{FF2B5EF4-FFF2-40B4-BE49-F238E27FC236}">
                    <a16:creationId xmlns:a16="http://schemas.microsoft.com/office/drawing/2014/main" id="{8D41C1E9-1D62-4620-AF8A-3ACD5A3947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4" name="Freeform 393">
                <a:extLst>
                  <a:ext uri="{FF2B5EF4-FFF2-40B4-BE49-F238E27FC236}">
                    <a16:creationId xmlns:a16="http://schemas.microsoft.com/office/drawing/2014/main" id="{0640E7B4-82AA-452C-8141-57BA7F5CF4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601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5" name="Freeform 394">
                <a:extLst>
                  <a:ext uri="{FF2B5EF4-FFF2-40B4-BE49-F238E27FC236}">
                    <a16:creationId xmlns:a16="http://schemas.microsoft.com/office/drawing/2014/main" id="{F9B3861E-7AB7-4253-AF86-70A71DC86F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6" name="Freeform 395">
                <a:extLst>
                  <a:ext uri="{FF2B5EF4-FFF2-40B4-BE49-F238E27FC236}">
                    <a16:creationId xmlns:a16="http://schemas.microsoft.com/office/drawing/2014/main" id="{27DB86BB-6E51-46B9-AEC2-8148E0C8D5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7" name="Freeform 396">
                <a:extLst>
                  <a:ext uri="{FF2B5EF4-FFF2-40B4-BE49-F238E27FC236}">
                    <a16:creationId xmlns:a16="http://schemas.microsoft.com/office/drawing/2014/main" id="{9049738E-B586-4B3F-B838-28EDF9DC33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8" name="Freeform 397">
                <a:extLst>
                  <a:ext uri="{FF2B5EF4-FFF2-40B4-BE49-F238E27FC236}">
                    <a16:creationId xmlns:a16="http://schemas.microsoft.com/office/drawing/2014/main" id="{BA7D6FFA-C761-4C0A-9CB7-0E8C104769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9" name="Freeform 398">
                <a:extLst>
                  <a:ext uri="{FF2B5EF4-FFF2-40B4-BE49-F238E27FC236}">
                    <a16:creationId xmlns:a16="http://schemas.microsoft.com/office/drawing/2014/main" id="{8B48E64F-5CAF-41A0-95E5-6E97BCD205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0" name="Freeform 399">
                <a:extLst>
                  <a:ext uri="{FF2B5EF4-FFF2-40B4-BE49-F238E27FC236}">
                    <a16:creationId xmlns:a16="http://schemas.microsoft.com/office/drawing/2014/main" id="{360FF7C4-B7FB-401F-9F7D-95211A546D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1" name="Freeform 400">
                <a:extLst>
                  <a:ext uri="{FF2B5EF4-FFF2-40B4-BE49-F238E27FC236}">
                    <a16:creationId xmlns:a16="http://schemas.microsoft.com/office/drawing/2014/main" id="{7B8B54F6-6F75-40AD-9DCB-50C9BE839D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2" name="Freeform 401">
                <a:extLst>
                  <a:ext uri="{FF2B5EF4-FFF2-40B4-BE49-F238E27FC236}">
                    <a16:creationId xmlns:a16="http://schemas.microsoft.com/office/drawing/2014/main" id="{722CD72D-54EB-4E57-B5E6-1D4F1C9ECD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3" name="Freeform 402">
                <a:extLst>
                  <a:ext uri="{FF2B5EF4-FFF2-40B4-BE49-F238E27FC236}">
                    <a16:creationId xmlns:a16="http://schemas.microsoft.com/office/drawing/2014/main" id="{8B1980C6-7C82-40EB-BD04-CFDA1ADFA2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429"/>
                <a:ext cx="16" cy="10"/>
              </a:xfrm>
              <a:custGeom>
                <a:avLst/>
                <a:gdLst>
                  <a:gd name="T0" fmla="*/ 6 w 8"/>
                  <a:gd name="T1" fmla="*/ 4 h 5"/>
                  <a:gd name="T2" fmla="*/ 1 w 8"/>
                  <a:gd name="T3" fmla="*/ 4 h 5"/>
                  <a:gd name="T4" fmla="*/ 1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4" name="Freeform 403">
                <a:extLst>
                  <a:ext uri="{FF2B5EF4-FFF2-40B4-BE49-F238E27FC236}">
                    <a16:creationId xmlns:a16="http://schemas.microsoft.com/office/drawing/2014/main" id="{BC972956-8589-4035-934D-99E71400AF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5" name="Freeform 404">
                <a:extLst>
                  <a:ext uri="{FF2B5EF4-FFF2-40B4-BE49-F238E27FC236}">
                    <a16:creationId xmlns:a16="http://schemas.microsoft.com/office/drawing/2014/main" id="{76C8F894-8642-4DE3-B635-9CE7E02E75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6" name="Freeform 405">
                <a:extLst>
                  <a:ext uri="{FF2B5EF4-FFF2-40B4-BE49-F238E27FC236}">
                    <a16:creationId xmlns:a16="http://schemas.microsoft.com/office/drawing/2014/main" id="{62B0DD45-3122-48BC-87CA-5029EAF3F0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58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08" name="Group 607">
              <a:extLst>
                <a:ext uri="{FF2B5EF4-FFF2-40B4-BE49-F238E27FC236}">
                  <a16:creationId xmlns:a16="http://schemas.microsoft.com/office/drawing/2014/main" id="{750636FB-47D5-4494-A27F-6B0205A45103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5933898" y="3567055"/>
              <a:ext cx="3538172" cy="1178683"/>
              <a:chOff x="4279" y="2023"/>
              <a:chExt cx="1666" cy="555"/>
            </a:xfrm>
          </p:grpSpPr>
          <p:sp>
            <p:nvSpPr>
              <p:cNvPr id="1207" name="Freeform 407">
                <a:extLst>
                  <a:ext uri="{FF2B5EF4-FFF2-40B4-BE49-F238E27FC236}">
                    <a16:creationId xmlns:a16="http://schemas.microsoft.com/office/drawing/2014/main" id="{880F26DB-AEA4-49D2-AB5D-472649F821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570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8" name="Freeform 408">
                <a:extLst>
                  <a:ext uri="{FF2B5EF4-FFF2-40B4-BE49-F238E27FC236}">
                    <a16:creationId xmlns:a16="http://schemas.microsoft.com/office/drawing/2014/main" id="{16B8A285-C102-4343-9FA5-77C2D18AA3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9" name="Freeform 409">
                <a:extLst>
                  <a:ext uri="{FF2B5EF4-FFF2-40B4-BE49-F238E27FC236}">
                    <a16:creationId xmlns:a16="http://schemas.microsoft.com/office/drawing/2014/main" id="{C3C10453-5001-4FEB-8CF0-59A0FB0DE7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0" name="Freeform 410">
                <a:extLst>
                  <a:ext uri="{FF2B5EF4-FFF2-40B4-BE49-F238E27FC236}">
                    <a16:creationId xmlns:a16="http://schemas.microsoft.com/office/drawing/2014/main" id="{EBD4553D-D248-43D9-97E1-CF978C0521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1" name="Freeform 411">
                <a:extLst>
                  <a:ext uri="{FF2B5EF4-FFF2-40B4-BE49-F238E27FC236}">
                    <a16:creationId xmlns:a16="http://schemas.microsoft.com/office/drawing/2014/main" id="{33BCC0BF-7362-46C7-A467-11532D0F6C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2" name="Freeform 412">
                <a:extLst>
                  <a:ext uri="{FF2B5EF4-FFF2-40B4-BE49-F238E27FC236}">
                    <a16:creationId xmlns:a16="http://schemas.microsoft.com/office/drawing/2014/main" id="{F7D43D6A-25BC-41C0-8B01-673EDF2554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3" name="Freeform 413">
                <a:extLst>
                  <a:ext uri="{FF2B5EF4-FFF2-40B4-BE49-F238E27FC236}">
                    <a16:creationId xmlns:a16="http://schemas.microsoft.com/office/drawing/2014/main" id="{F4B0072A-E06F-45E8-B5F1-427C8D3826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4" name="Freeform 414">
                <a:extLst>
                  <a:ext uri="{FF2B5EF4-FFF2-40B4-BE49-F238E27FC236}">
                    <a16:creationId xmlns:a16="http://schemas.microsoft.com/office/drawing/2014/main" id="{6268D571-7785-4263-B184-C2953AC3E3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5" name="Freeform 415">
                <a:extLst>
                  <a:ext uri="{FF2B5EF4-FFF2-40B4-BE49-F238E27FC236}">
                    <a16:creationId xmlns:a16="http://schemas.microsoft.com/office/drawing/2014/main" id="{DEEA0A83-BF68-4EE1-AEA8-76DF67727C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6" name="Freeform 416">
                <a:extLst>
                  <a:ext uri="{FF2B5EF4-FFF2-40B4-BE49-F238E27FC236}">
                    <a16:creationId xmlns:a16="http://schemas.microsoft.com/office/drawing/2014/main" id="{60B038AF-1D36-4D86-86E4-9B0034CA87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7" name="Freeform 417">
                <a:extLst>
                  <a:ext uri="{FF2B5EF4-FFF2-40B4-BE49-F238E27FC236}">
                    <a16:creationId xmlns:a16="http://schemas.microsoft.com/office/drawing/2014/main" id="{9859D91B-CCC8-4493-95C3-6671C6DD8F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570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8" name="Freeform 418">
                <a:extLst>
                  <a:ext uri="{FF2B5EF4-FFF2-40B4-BE49-F238E27FC236}">
                    <a16:creationId xmlns:a16="http://schemas.microsoft.com/office/drawing/2014/main" id="{F2BAAF2F-3D51-4BA2-8160-1D563D6CE5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9" name="Freeform 419">
                <a:extLst>
                  <a:ext uri="{FF2B5EF4-FFF2-40B4-BE49-F238E27FC236}">
                    <a16:creationId xmlns:a16="http://schemas.microsoft.com/office/drawing/2014/main" id="{E59D97AE-0D73-4847-B290-B43B6BCC38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53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0" name="Freeform 420">
                <a:extLst>
                  <a:ext uri="{FF2B5EF4-FFF2-40B4-BE49-F238E27FC236}">
                    <a16:creationId xmlns:a16="http://schemas.microsoft.com/office/drawing/2014/main" id="{C9437E14-FBE3-4AF0-B2DE-F0B752DCE1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1" name="Freeform 421">
                <a:extLst>
                  <a:ext uri="{FF2B5EF4-FFF2-40B4-BE49-F238E27FC236}">
                    <a16:creationId xmlns:a16="http://schemas.microsoft.com/office/drawing/2014/main" id="{71E6DC84-BE49-43C0-9FE6-5450C20721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50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2" name="Freeform 422">
                <a:extLst>
                  <a:ext uri="{FF2B5EF4-FFF2-40B4-BE49-F238E27FC236}">
                    <a16:creationId xmlns:a16="http://schemas.microsoft.com/office/drawing/2014/main" id="{9D4CF53E-4AE2-4E50-8577-E72C90EC82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3" name="Freeform 423">
                <a:extLst>
                  <a:ext uri="{FF2B5EF4-FFF2-40B4-BE49-F238E27FC236}">
                    <a16:creationId xmlns:a16="http://schemas.microsoft.com/office/drawing/2014/main" id="{F2551BC7-4988-4D9B-AAFA-8162314AC8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4" name="Freeform 424">
                <a:extLst>
                  <a:ext uri="{FF2B5EF4-FFF2-40B4-BE49-F238E27FC236}">
                    <a16:creationId xmlns:a16="http://schemas.microsoft.com/office/drawing/2014/main" id="{91ECB0E5-67EB-4084-A7A2-B278C910BA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5" name="Freeform 425">
                <a:extLst>
                  <a:ext uri="{FF2B5EF4-FFF2-40B4-BE49-F238E27FC236}">
                    <a16:creationId xmlns:a16="http://schemas.microsoft.com/office/drawing/2014/main" id="{62E1B56C-0A51-430F-AC6B-8F3423B44B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6" name="Freeform 426">
                <a:extLst>
                  <a:ext uri="{FF2B5EF4-FFF2-40B4-BE49-F238E27FC236}">
                    <a16:creationId xmlns:a16="http://schemas.microsoft.com/office/drawing/2014/main" id="{A6754271-28B3-445D-8089-ACDA53FE31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7" name="Freeform 427">
                <a:extLst>
                  <a:ext uri="{FF2B5EF4-FFF2-40B4-BE49-F238E27FC236}">
                    <a16:creationId xmlns:a16="http://schemas.microsoft.com/office/drawing/2014/main" id="{3631020E-582C-4E5F-89A1-80448031DC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8" name="Freeform 428">
                <a:extLst>
                  <a:ext uri="{FF2B5EF4-FFF2-40B4-BE49-F238E27FC236}">
                    <a16:creationId xmlns:a16="http://schemas.microsoft.com/office/drawing/2014/main" id="{701E3128-6311-447B-87E6-583947AA0F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33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9" name="Freeform 429">
                <a:extLst>
                  <a:ext uri="{FF2B5EF4-FFF2-40B4-BE49-F238E27FC236}">
                    <a16:creationId xmlns:a16="http://schemas.microsoft.com/office/drawing/2014/main" id="{7A3E229D-13DB-442F-BEAA-B7D811D22F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53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0" name="Freeform 430">
                <a:extLst>
                  <a:ext uri="{FF2B5EF4-FFF2-40B4-BE49-F238E27FC236}">
                    <a16:creationId xmlns:a16="http://schemas.microsoft.com/office/drawing/2014/main" id="{C68A4381-CCA5-4F77-AE50-5062FECADD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1" name="Freeform 431">
                <a:extLst>
                  <a:ext uri="{FF2B5EF4-FFF2-40B4-BE49-F238E27FC236}">
                    <a16:creationId xmlns:a16="http://schemas.microsoft.com/office/drawing/2014/main" id="{39DD374F-1477-4122-8F49-78005DB41B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2" name="Freeform 432">
                <a:extLst>
                  <a:ext uri="{FF2B5EF4-FFF2-40B4-BE49-F238E27FC236}">
                    <a16:creationId xmlns:a16="http://schemas.microsoft.com/office/drawing/2014/main" id="{C77889B5-5500-487A-97F7-75386E5517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3" name="Freeform 433">
                <a:extLst>
                  <a:ext uri="{FF2B5EF4-FFF2-40B4-BE49-F238E27FC236}">
                    <a16:creationId xmlns:a16="http://schemas.microsoft.com/office/drawing/2014/main" id="{CEC450A2-84B0-48C4-840B-492C361ACB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4" name="Freeform 434">
                <a:extLst>
                  <a:ext uri="{FF2B5EF4-FFF2-40B4-BE49-F238E27FC236}">
                    <a16:creationId xmlns:a16="http://schemas.microsoft.com/office/drawing/2014/main" id="{1511D61B-7B98-48E1-B123-6456FDB221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5" name="Freeform 435">
                <a:extLst>
                  <a:ext uri="{FF2B5EF4-FFF2-40B4-BE49-F238E27FC236}">
                    <a16:creationId xmlns:a16="http://schemas.microsoft.com/office/drawing/2014/main" id="{2364F0E4-AB8D-4CCD-8986-0137ADCDCF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6" name="Freeform 436">
                <a:extLst>
                  <a:ext uri="{FF2B5EF4-FFF2-40B4-BE49-F238E27FC236}">
                    <a16:creationId xmlns:a16="http://schemas.microsoft.com/office/drawing/2014/main" id="{26CE0D48-BA5A-4046-9414-D30DB80289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7" name="Freeform 437">
                <a:extLst>
                  <a:ext uri="{FF2B5EF4-FFF2-40B4-BE49-F238E27FC236}">
                    <a16:creationId xmlns:a16="http://schemas.microsoft.com/office/drawing/2014/main" id="{3778DABE-E952-4E4E-90E2-85B5C1BBB2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8" name="Freeform 438">
                <a:extLst>
                  <a:ext uri="{FF2B5EF4-FFF2-40B4-BE49-F238E27FC236}">
                    <a16:creationId xmlns:a16="http://schemas.microsoft.com/office/drawing/2014/main" id="{3C06BB96-586D-417B-B22B-454E5978C8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39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9" name="Freeform 439">
                <a:extLst>
                  <a:ext uri="{FF2B5EF4-FFF2-40B4-BE49-F238E27FC236}">
                    <a16:creationId xmlns:a16="http://schemas.microsoft.com/office/drawing/2014/main" id="{D4FD011C-DE8F-4559-8B31-DBDE0FD07F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06" y="253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0" name="Freeform 440">
                <a:extLst>
                  <a:ext uri="{FF2B5EF4-FFF2-40B4-BE49-F238E27FC236}">
                    <a16:creationId xmlns:a16="http://schemas.microsoft.com/office/drawing/2014/main" id="{52DD48FA-1B43-4F02-86CB-476D7BEA57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33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1" name="Freeform 441">
                <a:extLst>
                  <a:ext uri="{FF2B5EF4-FFF2-40B4-BE49-F238E27FC236}">
                    <a16:creationId xmlns:a16="http://schemas.microsoft.com/office/drawing/2014/main" id="{24885E87-34AD-4598-9BD1-E0D1ECDAFA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2" name="Freeform 442">
                <a:extLst>
                  <a:ext uri="{FF2B5EF4-FFF2-40B4-BE49-F238E27FC236}">
                    <a16:creationId xmlns:a16="http://schemas.microsoft.com/office/drawing/2014/main" id="{811CE923-BD3F-44DA-BA10-684B2D592E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3" name="Freeform 443">
                <a:extLst>
                  <a:ext uri="{FF2B5EF4-FFF2-40B4-BE49-F238E27FC236}">
                    <a16:creationId xmlns:a16="http://schemas.microsoft.com/office/drawing/2014/main" id="{CE1E316A-CCE3-4502-9B94-A100D9CD6D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4" name="Freeform 444">
                <a:extLst>
                  <a:ext uri="{FF2B5EF4-FFF2-40B4-BE49-F238E27FC236}">
                    <a16:creationId xmlns:a16="http://schemas.microsoft.com/office/drawing/2014/main" id="{3EE3A8BC-BE40-42E8-BA7A-870A04D397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5" name="Freeform 445">
                <a:extLst>
                  <a:ext uri="{FF2B5EF4-FFF2-40B4-BE49-F238E27FC236}">
                    <a16:creationId xmlns:a16="http://schemas.microsoft.com/office/drawing/2014/main" id="{A4196D36-A268-4C2B-B3FB-6E4FDAE151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6" name="Freeform 446">
                <a:extLst>
                  <a:ext uri="{FF2B5EF4-FFF2-40B4-BE49-F238E27FC236}">
                    <a16:creationId xmlns:a16="http://schemas.microsoft.com/office/drawing/2014/main" id="{40820E80-F4AD-4837-ADFC-1D4F766828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7" name="Freeform 447">
                <a:extLst>
                  <a:ext uri="{FF2B5EF4-FFF2-40B4-BE49-F238E27FC236}">
                    <a16:creationId xmlns:a16="http://schemas.microsoft.com/office/drawing/2014/main" id="{6C6C466E-1385-416D-9BD0-73336C0E3E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8" name="Freeform 448">
                <a:extLst>
                  <a:ext uri="{FF2B5EF4-FFF2-40B4-BE49-F238E27FC236}">
                    <a16:creationId xmlns:a16="http://schemas.microsoft.com/office/drawing/2014/main" id="{9D631BE4-C223-413D-84BF-857FE9E5CF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39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9" name="Freeform 449">
                <a:extLst>
                  <a:ext uri="{FF2B5EF4-FFF2-40B4-BE49-F238E27FC236}">
                    <a16:creationId xmlns:a16="http://schemas.microsoft.com/office/drawing/2014/main" id="{69CBF7C1-4008-4112-88E0-FE52FCF57D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383"/>
                <a:ext cx="16" cy="8"/>
              </a:xfrm>
              <a:custGeom>
                <a:avLst/>
                <a:gdLst>
                  <a:gd name="T0" fmla="*/ 6 w 8"/>
                  <a:gd name="T1" fmla="*/ 3 h 4"/>
                  <a:gd name="T2" fmla="*/ 1 w 8"/>
                  <a:gd name="T3" fmla="*/ 3 h 4"/>
                  <a:gd name="T4" fmla="*/ 1 w 8"/>
                  <a:gd name="T5" fmla="*/ 0 h 4"/>
                  <a:gd name="T6" fmla="*/ 6 w 8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6" y="3"/>
                    </a:move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8" y="2"/>
                      <a:pt x="6" y="3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0" name="Freeform 450">
                <a:extLst>
                  <a:ext uri="{FF2B5EF4-FFF2-40B4-BE49-F238E27FC236}">
                    <a16:creationId xmlns:a16="http://schemas.microsoft.com/office/drawing/2014/main" id="{90DDB013-FFCA-430A-8EF9-F749305153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79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1" name="Freeform 451">
                <a:extLst>
                  <a:ext uri="{FF2B5EF4-FFF2-40B4-BE49-F238E27FC236}">
                    <a16:creationId xmlns:a16="http://schemas.microsoft.com/office/drawing/2014/main" id="{15161BD0-2927-4305-8656-678D5C977D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06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2" name="Freeform 452">
                <a:extLst>
                  <a:ext uri="{FF2B5EF4-FFF2-40B4-BE49-F238E27FC236}">
                    <a16:creationId xmlns:a16="http://schemas.microsoft.com/office/drawing/2014/main" id="{783F1735-7114-468E-82EF-DC123AD8DF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33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3" name="Freeform 453">
                <a:extLst>
                  <a:ext uri="{FF2B5EF4-FFF2-40B4-BE49-F238E27FC236}">
                    <a16:creationId xmlns:a16="http://schemas.microsoft.com/office/drawing/2014/main" id="{0514DC30-A038-4F5E-8F9E-E5267A998F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4" name="Freeform 454">
                <a:extLst>
                  <a:ext uri="{FF2B5EF4-FFF2-40B4-BE49-F238E27FC236}">
                    <a16:creationId xmlns:a16="http://schemas.microsoft.com/office/drawing/2014/main" id="{9FDEE762-1792-4A71-9C0D-FB48DA171D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5" name="Freeform 455">
                <a:extLst>
                  <a:ext uri="{FF2B5EF4-FFF2-40B4-BE49-F238E27FC236}">
                    <a16:creationId xmlns:a16="http://schemas.microsoft.com/office/drawing/2014/main" id="{99671DC8-A142-4FB6-90A3-8ECD57D208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6" name="Freeform 456">
                <a:extLst>
                  <a:ext uri="{FF2B5EF4-FFF2-40B4-BE49-F238E27FC236}">
                    <a16:creationId xmlns:a16="http://schemas.microsoft.com/office/drawing/2014/main" id="{00456410-0C9A-4DBD-8C82-4A3F5E8C61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7" name="Freeform 457">
                <a:extLst>
                  <a:ext uri="{FF2B5EF4-FFF2-40B4-BE49-F238E27FC236}">
                    <a16:creationId xmlns:a16="http://schemas.microsoft.com/office/drawing/2014/main" id="{E30391BD-4F9C-4FB4-A62B-CCA6AB041E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8" name="Freeform 458">
                <a:extLst>
                  <a:ext uri="{FF2B5EF4-FFF2-40B4-BE49-F238E27FC236}">
                    <a16:creationId xmlns:a16="http://schemas.microsoft.com/office/drawing/2014/main" id="{4B49F75F-0DC4-413B-95FB-390F1867D5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39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9" name="Freeform 459">
                <a:extLst>
                  <a:ext uri="{FF2B5EF4-FFF2-40B4-BE49-F238E27FC236}">
                    <a16:creationId xmlns:a16="http://schemas.microsoft.com/office/drawing/2014/main" id="{9F3BDD14-4C48-44D8-B919-931C06A663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383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0" name="Freeform 460">
                <a:extLst>
                  <a:ext uri="{FF2B5EF4-FFF2-40B4-BE49-F238E27FC236}">
                    <a16:creationId xmlns:a16="http://schemas.microsoft.com/office/drawing/2014/main" id="{BD0A83CF-BF3F-4FE5-AE78-0C132A0F57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1" name="Freeform 461">
                <a:extLst>
                  <a:ext uri="{FF2B5EF4-FFF2-40B4-BE49-F238E27FC236}">
                    <a16:creationId xmlns:a16="http://schemas.microsoft.com/office/drawing/2014/main" id="{A352F0B6-05AC-4012-B61A-0DE8EE0971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2" name="Freeform 462">
                <a:extLst>
                  <a:ext uri="{FF2B5EF4-FFF2-40B4-BE49-F238E27FC236}">
                    <a16:creationId xmlns:a16="http://schemas.microsoft.com/office/drawing/2014/main" id="{9356B6C3-BDFA-4DAC-B058-C8DA633BBB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508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3" name="Freeform 463">
                <a:extLst>
                  <a:ext uri="{FF2B5EF4-FFF2-40B4-BE49-F238E27FC236}">
                    <a16:creationId xmlns:a16="http://schemas.microsoft.com/office/drawing/2014/main" id="{A88DE5E6-77E9-4A91-940E-9A0F763312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49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4" name="Freeform 464">
                <a:extLst>
                  <a:ext uri="{FF2B5EF4-FFF2-40B4-BE49-F238E27FC236}">
                    <a16:creationId xmlns:a16="http://schemas.microsoft.com/office/drawing/2014/main" id="{6C5A9D36-4216-44E8-8DF4-079F1F524E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47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5" name="Freeform 465">
                <a:extLst>
                  <a:ext uri="{FF2B5EF4-FFF2-40B4-BE49-F238E27FC236}">
                    <a16:creationId xmlns:a16="http://schemas.microsoft.com/office/drawing/2014/main" id="{621EF7B9-49D1-49E4-9EEC-27E68418DA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46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6" name="Freeform 466">
                <a:extLst>
                  <a:ext uri="{FF2B5EF4-FFF2-40B4-BE49-F238E27FC236}">
                    <a16:creationId xmlns:a16="http://schemas.microsoft.com/office/drawing/2014/main" id="{8AC15D89-B01E-42D2-AAAB-8249405418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445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7" name="Freeform 467">
                <a:extLst>
                  <a:ext uri="{FF2B5EF4-FFF2-40B4-BE49-F238E27FC236}">
                    <a16:creationId xmlns:a16="http://schemas.microsoft.com/office/drawing/2014/main" id="{D596ECF1-8EAB-4AFC-8A68-9873CFFC25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429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8" name="Freeform 468">
                <a:extLst>
                  <a:ext uri="{FF2B5EF4-FFF2-40B4-BE49-F238E27FC236}">
                    <a16:creationId xmlns:a16="http://schemas.microsoft.com/office/drawing/2014/main" id="{4195D365-A435-4B82-906E-BC95E428B3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414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9" name="Freeform 469">
                <a:extLst>
                  <a:ext uri="{FF2B5EF4-FFF2-40B4-BE49-F238E27FC236}">
                    <a16:creationId xmlns:a16="http://schemas.microsoft.com/office/drawing/2014/main" id="{0F685C44-BE1F-4319-B2DE-4B77F5FD0D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9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0" name="Freeform 470">
                <a:extLst>
                  <a:ext uri="{FF2B5EF4-FFF2-40B4-BE49-F238E27FC236}">
                    <a16:creationId xmlns:a16="http://schemas.microsoft.com/office/drawing/2014/main" id="{425A3CC1-11ED-4534-B788-96C8D3E6E0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38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1" name="Freeform 471">
                <a:extLst>
                  <a:ext uri="{FF2B5EF4-FFF2-40B4-BE49-F238E27FC236}">
                    <a16:creationId xmlns:a16="http://schemas.microsoft.com/office/drawing/2014/main" id="{2A416AB2-7341-47AB-9E0D-AEFC77DA03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66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2" name="Freeform 472">
                <a:extLst>
                  <a:ext uri="{FF2B5EF4-FFF2-40B4-BE49-F238E27FC236}">
                    <a16:creationId xmlns:a16="http://schemas.microsoft.com/office/drawing/2014/main" id="{EC5438AF-3776-47A9-8166-B5C86344BF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35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3" name="Freeform 473">
                <a:extLst>
                  <a:ext uri="{FF2B5EF4-FFF2-40B4-BE49-F238E27FC236}">
                    <a16:creationId xmlns:a16="http://schemas.microsoft.com/office/drawing/2014/main" id="{A65A74E6-A340-4887-81B2-9AE3166CCD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3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4" name="Freeform 474">
                <a:extLst>
                  <a:ext uri="{FF2B5EF4-FFF2-40B4-BE49-F238E27FC236}">
                    <a16:creationId xmlns:a16="http://schemas.microsoft.com/office/drawing/2014/main" id="{5AFD456C-9BF7-4CC0-998D-56611BC3BD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32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5" name="Freeform 475">
                <a:extLst>
                  <a:ext uri="{FF2B5EF4-FFF2-40B4-BE49-F238E27FC236}">
                    <a16:creationId xmlns:a16="http://schemas.microsoft.com/office/drawing/2014/main" id="{E275B583-8C41-4AC7-9ED2-88C8F936DD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6" name="Freeform 476">
                <a:extLst>
                  <a:ext uri="{FF2B5EF4-FFF2-40B4-BE49-F238E27FC236}">
                    <a16:creationId xmlns:a16="http://schemas.microsoft.com/office/drawing/2014/main" id="{700EFC8D-CA05-45D4-B5F6-D8E39E5A6F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522"/>
                <a:ext cx="17" cy="11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7" name="Freeform 477">
                <a:extLst>
                  <a:ext uri="{FF2B5EF4-FFF2-40B4-BE49-F238E27FC236}">
                    <a16:creationId xmlns:a16="http://schemas.microsoft.com/office/drawing/2014/main" id="{F0F9797F-CE8E-4F1E-979B-C660DDC4FE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508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8" name="Freeform 478">
                <a:extLst>
                  <a:ext uri="{FF2B5EF4-FFF2-40B4-BE49-F238E27FC236}">
                    <a16:creationId xmlns:a16="http://schemas.microsoft.com/office/drawing/2014/main" id="{394F987F-EDFF-44F5-A253-DB7DAD2FBF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49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9" name="Freeform 479">
                <a:extLst>
                  <a:ext uri="{FF2B5EF4-FFF2-40B4-BE49-F238E27FC236}">
                    <a16:creationId xmlns:a16="http://schemas.microsoft.com/office/drawing/2014/main" id="{AC90A3C3-3370-437D-B580-ECA0B2412D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47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0" name="Freeform 480">
                <a:extLst>
                  <a:ext uri="{FF2B5EF4-FFF2-40B4-BE49-F238E27FC236}">
                    <a16:creationId xmlns:a16="http://schemas.microsoft.com/office/drawing/2014/main" id="{E5D41A7D-9145-47FE-9F9D-34986E8E4C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46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1" name="Freeform 481">
                <a:extLst>
                  <a:ext uri="{FF2B5EF4-FFF2-40B4-BE49-F238E27FC236}">
                    <a16:creationId xmlns:a16="http://schemas.microsoft.com/office/drawing/2014/main" id="{2858978F-1F4E-4EA5-8AEB-638EECB412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445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2" name="Freeform 482">
                <a:extLst>
                  <a:ext uri="{FF2B5EF4-FFF2-40B4-BE49-F238E27FC236}">
                    <a16:creationId xmlns:a16="http://schemas.microsoft.com/office/drawing/2014/main" id="{1AA7C0B8-D0C9-4D0C-92A8-46AC7FEB4D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42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3" name="Freeform 483">
                <a:extLst>
                  <a:ext uri="{FF2B5EF4-FFF2-40B4-BE49-F238E27FC236}">
                    <a16:creationId xmlns:a16="http://schemas.microsoft.com/office/drawing/2014/main" id="{98BF5AC8-485E-409A-82D0-5D08DC4CD4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414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4" name="Freeform 484">
                <a:extLst>
                  <a:ext uri="{FF2B5EF4-FFF2-40B4-BE49-F238E27FC236}">
                    <a16:creationId xmlns:a16="http://schemas.microsoft.com/office/drawing/2014/main" id="{69AFB1DA-9BAC-4924-A5F5-A313A35393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97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5" name="Freeform 485">
                <a:extLst>
                  <a:ext uri="{FF2B5EF4-FFF2-40B4-BE49-F238E27FC236}">
                    <a16:creationId xmlns:a16="http://schemas.microsoft.com/office/drawing/2014/main" id="{54B0B7F7-9945-4E4B-87C4-2C4CB23062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383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6" name="Freeform 486">
                <a:extLst>
                  <a:ext uri="{FF2B5EF4-FFF2-40B4-BE49-F238E27FC236}">
                    <a16:creationId xmlns:a16="http://schemas.microsoft.com/office/drawing/2014/main" id="{3D06BA1F-1930-4CD9-87C9-85124E158D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66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7" name="Freeform 487">
                <a:extLst>
                  <a:ext uri="{FF2B5EF4-FFF2-40B4-BE49-F238E27FC236}">
                    <a16:creationId xmlns:a16="http://schemas.microsoft.com/office/drawing/2014/main" id="{1539C9A6-606B-48A0-A61C-5CEF4044F6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35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8" name="Freeform 488">
                <a:extLst>
                  <a:ext uri="{FF2B5EF4-FFF2-40B4-BE49-F238E27FC236}">
                    <a16:creationId xmlns:a16="http://schemas.microsoft.com/office/drawing/2014/main" id="{D0908A4F-A330-4DE7-BEE6-CAC69A9863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3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9" name="Freeform 489">
                <a:extLst>
                  <a:ext uri="{FF2B5EF4-FFF2-40B4-BE49-F238E27FC236}">
                    <a16:creationId xmlns:a16="http://schemas.microsoft.com/office/drawing/2014/main" id="{681AA9B9-137A-4B99-86B9-7CCBDD94AA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32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0" name="Freeform 490">
                <a:extLst>
                  <a:ext uri="{FF2B5EF4-FFF2-40B4-BE49-F238E27FC236}">
                    <a16:creationId xmlns:a16="http://schemas.microsoft.com/office/drawing/2014/main" id="{27C4124A-39C7-4DD2-B1E1-400857A801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1" name="Freeform 491">
                <a:extLst>
                  <a:ext uri="{FF2B5EF4-FFF2-40B4-BE49-F238E27FC236}">
                    <a16:creationId xmlns:a16="http://schemas.microsoft.com/office/drawing/2014/main" id="{789795CE-EEDA-41E3-92ED-03104936E3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289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2" name="Freeform 492">
                <a:extLst>
                  <a:ext uri="{FF2B5EF4-FFF2-40B4-BE49-F238E27FC236}">
                    <a16:creationId xmlns:a16="http://schemas.microsoft.com/office/drawing/2014/main" id="{C004D4C6-A185-4350-A15B-D6FB628487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508"/>
                <a:ext cx="17" cy="8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4 h 4"/>
                  <a:gd name="T6" fmla="*/ 2 w 8"/>
                  <a:gd name="T7" fmla="*/ 4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3" name="Freeform 493">
                <a:extLst>
                  <a:ext uri="{FF2B5EF4-FFF2-40B4-BE49-F238E27FC236}">
                    <a16:creationId xmlns:a16="http://schemas.microsoft.com/office/drawing/2014/main" id="{785F0298-F503-484D-A423-09160176CF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49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4" name="Freeform 494">
                <a:extLst>
                  <a:ext uri="{FF2B5EF4-FFF2-40B4-BE49-F238E27FC236}">
                    <a16:creationId xmlns:a16="http://schemas.microsoft.com/office/drawing/2014/main" id="{6DCE4FCD-1DCA-40FE-ACF3-57EE83EB2A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47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5" name="Freeform 495">
                <a:extLst>
                  <a:ext uri="{FF2B5EF4-FFF2-40B4-BE49-F238E27FC236}">
                    <a16:creationId xmlns:a16="http://schemas.microsoft.com/office/drawing/2014/main" id="{1E15E093-8868-4928-8927-B22FF4140C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46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6" name="Freeform 496">
                <a:extLst>
                  <a:ext uri="{FF2B5EF4-FFF2-40B4-BE49-F238E27FC236}">
                    <a16:creationId xmlns:a16="http://schemas.microsoft.com/office/drawing/2014/main" id="{9B35EFE0-5CC7-4DF8-9892-A8E4AB814F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445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7" name="Freeform 497">
                <a:extLst>
                  <a:ext uri="{FF2B5EF4-FFF2-40B4-BE49-F238E27FC236}">
                    <a16:creationId xmlns:a16="http://schemas.microsoft.com/office/drawing/2014/main" id="{410FDE2A-31AA-45CB-837E-01A9E3DB92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42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8" name="Freeform 498">
                <a:extLst>
                  <a:ext uri="{FF2B5EF4-FFF2-40B4-BE49-F238E27FC236}">
                    <a16:creationId xmlns:a16="http://schemas.microsoft.com/office/drawing/2014/main" id="{F629328A-C5E2-4953-8F74-6269C9D5D5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41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9" name="Freeform 499">
                <a:extLst>
                  <a:ext uri="{FF2B5EF4-FFF2-40B4-BE49-F238E27FC236}">
                    <a16:creationId xmlns:a16="http://schemas.microsoft.com/office/drawing/2014/main" id="{2456ABCD-40BC-4079-9470-01BEB04E03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9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0" name="Freeform 500">
                <a:extLst>
                  <a:ext uri="{FF2B5EF4-FFF2-40B4-BE49-F238E27FC236}">
                    <a16:creationId xmlns:a16="http://schemas.microsoft.com/office/drawing/2014/main" id="{2B3ECB54-354D-4364-B132-B854CE88D0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383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1" name="Freeform 501">
                <a:extLst>
                  <a:ext uri="{FF2B5EF4-FFF2-40B4-BE49-F238E27FC236}">
                    <a16:creationId xmlns:a16="http://schemas.microsoft.com/office/drawing/2014/main" id="{1B76C30F-C54F-44A9-B8B4-6D2DF26DB8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66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2" name="Freeform 502">
                <a:extLst>
                  <a:ext uri="{FF2B5EF4-FFF2-40B4-BE49-F238E27FC236}">
                    <a16:creationId xmlns:a16="http://schemas.microsoft.com/office/drawing/2014/main" id="{AB48F581-D0E3-413D-A66F-B93B0305D7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352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3" name="Freeform 503">
                <a:extLst>
                  <a:ext uri="{FF2B5EF4-FFF2-40B4-BE49-F238E27FC236}">
                    <a16:creationId xmlns:a16="http://schemas.microsoft.com/office/drawing/2014/main" id="{F68F358F-263B-4EF3-8FA6-4BE9AA2B76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3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4" name="Freeform 504">
                <a:extLst>
                  <a:ext uri="{FF2B5EF4-FFF2-40B4-BE49-F238E27FC236}">
                    <a16:creationId xmlns:a16="http://schemas.microsoft.com/office/drawing/2014/main" id="{79E88487-E050-400A-B11F-EA463E55A4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32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5" name="Freeform 505">
                <a:extLst>
                  <a:ext uri="{FF2B5EF4-FFF2-40B4-BE49-F238E27FC236}">
                    <a16:creationId xmlns:a16="http://schemas.microsoft.com/office/drawing/2014/main" id="{EB8B035E-CC32-427A-9287-DDECC707CD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6" name="Freeform 506">
                <a:extLst>
                  <a:ext uri="{FF2B5EF4-FFF2-40B4-BE49-F238E27FC236}">
                    <a16:creationId xmlns:a16="http://schemas.microsoft.com/office/drawing/2014/main" id="{9008A66C-B1C4-42CB-B600-27483B9B81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289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7" name="Freeform 507">
                <a:extLst>
                  <a:ext uri="{FF2B5EF4-FFF2-40B4-BE49-F238E27FC236}">
                    <a16:creationId xmlns:a16="http://schemas.microsoft.com/office/drawing/2014/main" id="{437397CA-B741-4C8D-B750-31897173CC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8" name="Freeform 508">
                <a:extLst>
                  <a:ext uri="{FF2B5EF4-FFF2-40B4-BE49-F238E27FC236}">
                    <a16:creationId xmlns:a16="http://schemas.microsoft.com/office/drawing/2014/main" id="{B52B683B-1483-4586-A0D7-DFF2B757AC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460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  <a:gd name="T10" fmla="*/ 2 w 8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9" name="Freeform 509">
                <a:extLst>
                  <a:ext uri="{FF2B5EF4-FFF2-40B4-BE49-F238E27FC236}">
                    <a16:creationId xmlns:a16="http://schemas.microsoft.com/office/drawing/2014/main" id="{F512ED0D-7B14-4047-897E-FB6AE45B37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445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0" name="Freeform 510">
                <a:extLst>
                  <a:ext uri="{FF2B5EF4-FFF2-40B4-BE49-F238E27FC236}">
                    <a16:creationId xmlns:a16="http://schemas.microsoft.com/office/drawing/2014/main" id="{CBEB57DD-F10D-4F99-B3F0-9A87D4F7F5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42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1" name="Freeform 511">
                <a:extLst>
                  <a:ext uri="{FF2B5EF4-FFF2-40B4-BE49-F238E27FC236}">
                    <a16:creationId xmlns:a16="http://schemas.microsoft.com/office/drawing/2014/main" id="{F1140130-AE85-491F-873C-2D064DEC2B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41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2" name="Freeform 512">
                <a:extLst>
                  <a:ext uri="{FF2B5EF4-FFF2-40B4-BE49-F238E27FC236}">
                    <a16:creationId xmlns:a16="http://schemas.microsoft.com/office/drawing/2014/main" id="{C1507807-404F-404C-8619-A296767ADC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39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3" name="Freeform 513">
                <a:extLst>
                  <a:ext uri="{FF2B5EF4-FFF2-40B4-BE49-F238E27FC236}">
                    <a16:creationId xmlns:a16="http://schemas.microsoft.com/office/drawing/2014/main" id="{CC21FA3A-DEB7-4D1A-997F-2788AC111A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383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4" name="Freeform 514">
                <a:extLst>
                  <a:ext uri="{FF2B5EF4-FFF2-40B4-BE49-F238E27FC236}">
                    <a16:creationId xmlns:a16="http://schemas.microsoft.com/office/drawing/2014/main" id="{88B7CE34-6311-44CD-9492-5AC5347FA5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66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5" name="Freeform 515">
                <a:extLst>
                  <a:ext uri="{FF2B5EF4-FFF2-40B4-BE49-F238E27FC236}">
                    <a16:creationId xmlns:a16="http://schemas.microsoft.com/office/drawing/2014/main" id="{FB85D9DF-6AA9-4995-94AA-196D808EA4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352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6" name="Freeform 516">
                <a:extLst>
                  <a:ext uri="{FF2B5EF4-FFF2-40B4-BE49-F238E27FC236}">
                    <a16:creationId xmlns:a16="http://schemas.microsoft.com/office/drawing/2014/main" id="{547ED615-E58D-481E-A434-44AC74E8DB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35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7" name="Freeform 517">
                <a:extLst>
                  <a:ext uri="{FF2B5EF4-FFF2-40B4-BE49-F238E27FC236}">
                    <a16:creationId xmlns:a16="http://schemas.microsoft.com/office/drawing/2014/main" id="{9D142499-56D1-49B4-9B25-CB1134676A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321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8" name="Freeform 518">
                <a:extLst>
                  <a:ext uri="{FF2B5EF4-FFF2-40B4-BE49-F238E27FC236}">
                    <a16:creationId xmlns:a16="http://schemas.microsoft.com/office/drawing/2014/main" id="{380FF638-ED21-4D77-A493-9D23CA02A5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9" name="Freeform 519">
                <a:extLst>
                  <a:ext uri="{FF2B5EF4-FFF2-40B4-BE49-F238E27FC236}">
                    <a16:creationId xmlns:a16="http://schemas.microsoft.com/office/drawing/2014/main" id="{FBC68478-F9F7-4B51-A40A-CAEFA2F996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289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0" name="Freeform 520">
                <a:extLst>
                  <a:ext uri="{FF2B5EF4-FFF2-40B4-BE49-F238E27FC236}">
                    <a16:creationId xmlns:a16="http://schemas.microsoft.com/office/drawing/2014/main" id="{8A971C27-8583-41B1-BEE1-C970945D74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1" name="Freeform 521">
                <a:extLst>
                  <a:ext uri="{FF2B5EF4-FFF2-40B4-BE49-F238E27FC236}">
                    <a16:creationId xmlns:a16="http://schemas.microsoft.com/office/drawing/2014/main" id="{84C0F8C6-F83B-46DB-AA3E-1E216EEA53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2" name="Freeform 522">
                <a:extLst>
                  <a:ext uri="{FF2B5EF4-FFF2-40B4-BE49-F238E27FC236}">
                    <a16:creationId xmlns:a16="http://schemas.microsoft.com/office/drawing/2014/main" id="{1F6AA98B-E410-4E00-86C9-27B7BBBA21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397"/>
                <a:ext cx="17" cy="11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3" name="Freeform 523">
                <a:extLst>
                  <a:ext uri="{FF2B5EF4-FFF2-40B4-BE49-F238E27FC236}">
                    <a16:creationId xmlns:a16="http://schemas.microsoft.com/office/drawing/2014/main" id="{5C5536E4-CC26-4B23-B669-438139FCDD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383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4" name="Freeform 524">
                <a:extLst>
                  <a:ext uri="{FF2B5EF4-FFF2-40B4-BE49-F238E27FC236}">
                    <a16:creationId xmlns:a16="http://schemas.microsoft.com/office/drawing/2014/main" id="{71CBA2CE-69FA-43A1-BA4C-27B41D7229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366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5" name="Freeform 525">
                <a:extLst>
                  <a:ext uri="{FF2B5EF4-FFF2-40B4-BE49-F238E27FC236}">
                    <a16:creationId xmlns:a16="http://schemas.microsoft.com/office/drawing/2014/main" id="{B943E0BB-6E3B-49F1-8257-F9BEAB5FA3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352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6" name="Freeform 526">
                <a:extLst>
                  <a:ext uri="{FF2B5EF4-FFF2-40B4-BE49-F238E27FC236}">
                    <a16:creationId xmlns:a16="http://schemas.microsoft.com/office/drawing/2014/main" id="{F61A5704-2BAC-4002-878E-2C2CD91A93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3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7" name="Freeform 527">
                <a:extLst>
                  <a:ext uri="{FF2B5EF4-FFF2-40B4-BE49-F238E27FC236}">
                    <a16:creationId xmlns:a16="http://schemas.microsoft.com/office/drawing/2014/main" id="{C8FAE569-D02E-43EA-AE5E-9AEB0B0AA5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321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8" name="Freeform 528">
                <a:extLst>
                  <a:ext uri="{FF2B5EF4-FFF2-40B4-BE49-F238E27FC236}">
                    <a16:creationId xmlns:a16="http://schemas.microsoft.com/office/drawing/2014/main" id="{F33F3B6E-AEED-42B5-B8C5-7FF09655F8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04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9" name="Freeform 529">
                <a:extLst>
                  <a:ext uri="{FF2B5EF4-FFF2-40B4-BE49-F238E27FC236}">
                    <a16:creationId xmlns:a16="http://schemas.microsoft.com/office/drawing/2014/main" id="{103A9C8B-F2D6-496F-BCDC-107F02312F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289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0" name="Freeform 530">
                <a:extLst>
                  <a:ext uri="{FF2B5EF4-FFF2-40B4-BE49-F238E27FC236}">
                    <a16:creationId xmlns:a16="http://schemas.microsoft.com/office/drawing/2014/main" id="{01B59376-917C-4302-AFDE-74596829F8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1" name="Freeform 531">
                <a:extLst>
                  <a:ext uri="{FF2B5EF4-FFF2-40B4-BE49-F238E27FC236}">
                    <a16:creationId xmlns:a16="http://schemas.microsoft.com/office/drawing/2014/main" id="{48CF5436-31EE-44ED-8CAE-63F580AF51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4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2" name="Freeform 532">
                <a:extLst>
                  <a:ext uri="{FF2B5EF4-FFF2-40B4-BE49-F238E27FC236}">
                    <a16:creationId xmlns:a16="http://schemas.microsoft.com/office/drawing/2014/main" id="{B77F6F91-1EFE-438B-BC44-DFDCEF6165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3" name="Freeform 533">
                <a:extLst>
                  <a:ext uri="{FF2B5EF4-FFF2-40B4-BE49-F238E27FC236}">
                    <a16:creationId xmlns:a16="http://schemas.microsoft.com/office/drawing/2014/main" id="{8D99550D-248E-4158-B824-B9EB2B1CF1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32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7 w 8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4" name="Freeform 534">
                <a:extLst>
                  <a:ext uri="{FF2B5EF4-FFF2-40B4-BE49-F238E27FC236}">
                    <a16:creationId xmlns:a16="http://schemas.microsoft.com/office/drawing/2014/main" id="{C87DA795-5789-4D91-8D86-67222F0C4D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0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7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5" name="Freeform 535">
                <a:extLst>
                  <a:ext uri="{FF2B5EF4-FFF2-40B4-BE49-F238E27FC236}">
                    <a16:creationId xmlns:a16="http://schemas.microsoft.com/office/drawing/2014/main" id="{27EDF81C-03F5-462E-9635-B8A607041E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289"/>
                <a:ext cx="16" cy="9"/>
              </a:xfrm>
              <a:custGeom>
                <a:avLst/>
                <a:gdLst>
                  <a:gd name="T0" fmla="*/ 2 w 8"/>
                  <a:gd name="T1" fmla="*/ 0 h 4"/>
                  <a:gd name="T2" fmla="*/ 7 w 8"/>
                  <a:gd name="T3" fmla="*/ 0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0 h 4"/>
                  <a:gd name="T10" fmla="*/ 2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cubicBezTo>
                      <a:pt x="3" y="0"/>
                      <a:pt x="5" y="0"/>
                      <a:pt x="7" y="0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0" y="1"/>
                      <a:pt x="2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6" name="Freeform 536">
                <a:extLst>
                  <a:ext uri="{FF2B5EF4-FFF2-40B4-BE49-F238E27FC236}">
                    <a16:creationId xmlns:a16="http://schemas.microsoft.com/office/drawing/2014/main" id="{54468F2F-8B53-4100-90E0-055D36305E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273"/>
                <a:ext cx="16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  <a:gd name="T10" fmla="*/ 2 w 8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7" name="Freeform 537">
                <a:extLst>
                  <a:ext uri="{FF2B5EF4-FFF2-40B4-BE49-F238E27FC236}">
                    <a16:creationId xmlns:a16="http://schemas.microsoft.com/office/drawing/2014/main" id="{03B1AD6A-5D6A-46D9-A981-2D9D82574B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258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8" name="Freeform 538">
                <a:extLst>
                  <a:ext uri="{FF2B5EF4-FFF2-40B4-BE49-F238E27FC236}">
                    <a16:creationId xmlns:a16="http://schemas.microsoft.com/office/drawing/2014/main" id="{7674E277-77D4-4B70-A63C-52EAEC4A5D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1" y="2242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9" name="Freeform 539">
                <a:extLst>
                  <a:ext uri="{FF2B5EF4-FFF2-40B4-BE49-F238E27FC236}">
                    <a16:creationId xmlns:a16="http://schemas.microsoft.com/office/drawing/2014/main" id="{3F4998AE-C705-49C6-B09A-270937FD81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8" y="2227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0" name="Freeform 540">
                <a:extLst>
                  <a:ext uri="{FF2B5EF4-FFF2-40B4-BE49-F238E27FC236}">
                    <a16:creationId xmlns:a16="http://schemas.microsoft.com/office/drawing/2014/main" id="{B7D8FBD1-74C8-402B-98ED-582DE63D8C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289"/>
                <a:ext cx="14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1" name="Freeform 541">
                <a:extLst>
                  <a:ext uri="{FF2B5EF4-FFF2-40B4-BE49-F238E27FC236}">
                    <a16:creationId xmlns:a16="http://schemas.microsoft.com/office/drawing/2014/main" id="{EE5B1D04-37F7-4826-BD90-FC3E8C6122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2" name="Freeform 542">
                <a:extLst>
                  <a:ext uri="{FF2B5EF4-FFF2-40B4-BE49-F238E27FC236}">
                    <a16:creationId xmlns:a16="http://schemas.microsoft.com/office/drawing/2014/main" id="{B79DDA60-B50C-40EC-A825-B820043DCA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25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3" name="Freeform 543">
                <a:extLst>
                  <a:ext uri="{FF2B5EF4-FFF2-40B4-BE49-F238E27FC236}">
                    <a16:creationId xmlns:a16="http://schemas.microsoft.com/office/drawing/2014/main" id="{5C25C9D0-90CE-470B-8F34-1E7929A0AD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24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4" name="Freeform 544">
                <a:extLst>
                  <a:ext uri="{FF2B5EF4-FFF2-40B4-BE49-F238E27FC236}">
                    <a16:creationId xmlns:a16="http://schemas.microsoft.com/office/drawing/2014/main" id="{3F375468-DB2E-4938-9353-318207770D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22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5" name="Freeform 545">
                <a:extLst>
                  <a:ext uri="{FF2B5EF4-FFF2-40B4-BE49-F238E27FC236}">
                    <a16:creationId xmlns:a16="http://schemas.microsoft.com/office/drawing/2014/main" id="{8D7E2160-B330-45E0-A1A7-81BD3A6D66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21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6" name="Freeform 546">
                <a:extLst>
                  <a:ext uri="{FF2B5EF4-FFF2-40B4-BE49-F238E27FC236}">
                    <a16:creationId xmlns:a16="http://schemas.microsoft.com/office/drawing/2014/main" id="{DE967AB5-4E17-4D2A-9429-D16586F96D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9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7" name="Freeform 547">
                <a:extLst>
                  <a:ext uri="{FF2B5EF4-FFF2-40B4-BE49-F238E27FC236}">
                    <a16:creationId xmlns:a16="http://schemas.microsoft.com/office/drawing/2014/main" id="{380455D7-46B9-4C99-BFA9-D21557DAF3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17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8" name="Freeform 548">
                <a:extLst>
                  <a:ext uri="{FF2B5EF4-FFF2-40B4-BE49-F238E27FC236}">
                    <a16:creationId xmlns:a16="http://schemas.microsoft.com/office/drawing/2014/main" id="{EEA235E9-2813-4498-A5E2-882E8713CB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9" name="Freeform 549">
                <a:extLst>
                  <a:ext uri="{FF2B5EF4-FFF2-40B4-BE49-F238E27FC236}">
                    <a16:creationId xmlns:a16="http://schemas.microsoft.com/office/drawing/2014/main" id="{5B172466-25E7-4A1B-A90F-1EE79B5594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0" name="Freeform 550">
                <a:extLst>
                  <a:ext uri="{FF2B5EF4-FFF2-40B4-BE49-F238E27FC236}">
                    <a16:creationId xmlns:a16="http://schemas.microsoft.com/office/drawing/2014/main" id="{20663BF8-4130-4A18-9AB7-4B69D6E153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1" name="Freeform 551">
                <a:extLst>
                  <a:ext uri="{FF2B5EF4-FFF2-40B4-BE49-F238E27FC236}">
                    <a16:creationId xmlns:a16="http://schemas.microsoft.com/office/drawing/2014/main" id="{E8B4471D-B890-4FAC-B00D-AEEA0F57A1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2" name="Freeform 552">
                <a:extLst>
                  <a:ext uri="{FF2B5EF4-FFF2-40B4-BE49-F238E27FC236}">
                    <a16:creationId xmlns:a16="http://schemas.microsoft.com/office/drawing/2014/main" id="{7B511737-8FE2-4A26-966A-ED449BEAFF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3" name="Freeform 553">
                <a:extLst>
                  <a:ext uri="{FF2B5EF4-FFF2-40B4-BE49-F238E27FC236}">
                    <a16:creationId xmlns:a16="http://schemas.microsoft.com/office/drawing/2014/main" id="{E78382B8-81DC-4731-815A-47229DCEA8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4" name="Freeform 554">
                <a:extLst>
                  <a:ext uri="{FF2B5EF4-FFF2-40B4-BE49-F238E27FC236}">
                    <a16:creationId xmlns:a16="http://schemas.microsoft.com/office/drawing/2014/main" id="{371B7C1F-BBC3-4D9D-8B88-6740BFB26A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5" name="Freeform 555">
                <a:extLst>
                  <a:ext uri="{FF2B5EF4-FFF2-40B4-BE49-F238E27FC236}">
                    <a16:creationId xmlns:a16="http://schemas.microsoft.com/office/drawing/2014/main" id="{465A6C1D-90A4-44FA-8789-5960C5FFCD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6" name="Freeform 556">
                <a:extLst>
                  <a:ext uri="{FF2B5EF4-FFF2-40B4-BE49-F238E27FC236}">
                    <a16:creationId xmlns:a16="http://schemas.microsoft.com/office/drawing/2014/main" id="{7D5AABFD-1635-4F0F-BEAB-CC3A0D9D77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22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7" name="Freeform 557">
                <a:extLst>
                  <a:ext uri="{FF2B5EF4-FFF2-40B4-BE49-F238E27FC236}">
                    <a16:creationId xmlns:a16="http://schemas.microsoft.com/office/drawing/2014/main" id="{0A66EA97-BC47-4F45-9CE5-C453E3AA3B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8" name="Freeform 558">
                <a:extLst>
                  <a:ext uri="{FF2B5EF4-FFF2-40B4-BE49-F238E27FC236}">
                    <a16:creationId xmlns:a16="http://schemas.microsoft.com/office/drawing/2014/main" id="{9B769C23-C651-45D8-901A-D327169DDB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9" name="Freeform 559">
                <a:extLst>
                  <a:ext uri="{FF2B5EF4-FFF2-40B4-BE49-F238E27FC236}">
                    <a16:creationId xmlns:a16="http://schemas.microsoft.com/office/drawing/2014/main" id="{D9227B83-37C5-4CAE-A259-F5A9543201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21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0" name="Freeform 560">
                <a:extLst>
                  <a:ext uri="{FF2B5EF4-FFF2-40B4-BE49-F238E27FC236}">
                    <a16:creationId xmlns:a16="http://schemas.microsoft.com/office/drawing/2014/main" id="{BE540E76-8120-46C6-9519-F117425E04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9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1" name="Freeform 561">
                <a:extLst>
                  <a:ext uri="{FF2B5EF4-FFF2-40B4-BE49-F238E27FC236}">
                    <a16:creationId xmlns:a16="http://schemas.microsoft.com/office/drawing/2014/main" id="{1932685B-EF60-47F0-8944-0988B702F2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17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2" name="Freeform 562">
                <a:extLst>
                  <a:ext uri="{FF2B5EF4-FFF2-40B4-BE49-F238E27FC236}">
                    <a16:creationId xmlns:a16="http://schemas.microsoft.com/office/drawing/2014/main" id="{9E95D372-5F7C-4A20-98BF-D422FCBACB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3" name="Freeform 563">
                <a:extLst>
                  <a:ext uri="{FF2B5EF4-FFF2-40B4-BE49-F238E27FC236}">
                    <a16:creationId xmlns:a16="http://schemas.microsoft.com/office/drawing/2014/main" id="{167A7DBF-0CF4-44E1-AA57-7DA1F79C3B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4" name="Freeform 564">
                <a:extLst>
                  <a:ext uri="{FF2B5EF4-FFF2-40B4-BE49-F238E27FC236}">
                    <a16:creationId xmlns:a16="http://schemas.microsoft.com/office/drawing/2014/main" id="{2D5E408D-B622-4B37-94B0-85CC50E943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5" name="Freeform 565">
                <a:extLst>
                  <a:ext uri="{FF2B5EF4-FFF2-40B4-BE49-F238E27FC236}">
                    <a16:creationId xmlns:a16="http://schemas.microsoft.com/office/drawing/2014/main" id="{8A130CDA-B6A3-4B74-9351-8310B1A1F5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6" name="Freeform 566">
                <a:extLst>
                  <a:ext uri="{FF2B5EF4-FFF2-40B4-BE49-F238E27FC236}">
                    <a16:creationId xmlns:a16="http://schemas.microsoft.com/office/drawing/2014/main" id="{7C0D274F-D65B-4AE1-829C-DE33C57CF5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7" name="Freeform 567">
                <a:extLst>
                  <a:ext uri="{FF2B5EF4-FFF2-40B4-BE49-F238E27FC236}">
                    <a16:creationId xmlns:a16="http://schemas.microsoft.com/office/drawing/2014/main" id="{6426BE58-3C89-4C1C-9A26-47CE47A3D0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8" name="Freeform 568">
                <a:extLst>
                  <a:ext uri="{FF2B5EF4-FFF2-40B4-BE49-F238E27FC236}">
                    <a16:creationId xmlns:a16="http://schemas.microsoft.com/office/drawing/2014/main" id="{4CD10565-52AE-4A01-B2D8-683253207B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9" name="Freeform 569">
                <a:extLst>
                  <a:ext uri="{FF2B5EF4-FFF2-40B4-BE49-F238E27FC236}">
                    <a16:creationId xmlns:a16="http://schemas.microsoft.com/office/drawing/2014/main" id="{B837051F-5250-459E-B599-92FCA9A870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0" name="Freeform 570">
                <a:extLst>
                  <a:ext uri="{FF2B5EF4-FFF2-40B4-BE49-F238E27FC236}">
                    <a16:creationId xmlns:a16="http://schemas.microsoft.com/office/drawing/2014/main" id="{18AA71BF-EB15-4E2B-B474-079223EA1D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227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1" name="Freeform 571">
                <a:extLst>
                  <a:ext uri="{FF2B5EF4-FFF2-40B4-BE49-F238E27FC236}">
                    <a16:creationId xmlns:a16="http://schemas.microsoft.com/office/drawing/2014/main" id="{5E55A666-24C4-4D3B-9EBF-2593538F8E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210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2" name="Freeform 572">
                <a:extLst>
                  <a:ext uri="{FF2B5EF4-FFF2-40B4-BE49-F238E27FC236}">
                    <a16:creationId xmlns:a16="http://schemas.microsoft.com/office/drawing/2014/main" id="{B241E2A3-F1AB-46C8-9FB7-051C7EEAA1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19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3" name="Freeform 573">
                <a:extLst>
                  <a:ext uri="{FF2B5EF4-FFF2-40B4-BE49-F238E27FC236}">
                    <a16:creationId xmlns:a16="http://schemas.microsoft.com/office/drawing/2014/main" id="{9D89873F-8644-404B-8F1B-6597D3F109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4" name="Freeform 574">
                <a:extLst>
                  <a:ext uri="{FF2B5EF4-FFF2-40B4-BE49-F238E27FC236}">
                    <a16:creationId xmlns:a16="http://schemas.microsoft.com/office/drawing/2014/main" id="{B3D9A8D1-2561-424E-A440-DE6F4430FA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5" name="Freeform 575">
                <a:extLst>
                  <a:ext uri="{FF2B5EF4-FFF2-40B4-BE49-F238E27FC236}">
                    <a16:creationId xmlns:a16="http://schemas.microsoft.com/office/drawing/2014/main" id="{D7477CE5-9079-4616-91C5-F80C7ED76C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17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6" name="Freeform 576">
                <a:extLst>
                  <a:ext uri="{FF2B5EF4-FFF2-40B4-BE49-F238E27FC236}">
                    <a16:creationId xmlns:a16="http://schemas.microsoft.com/office/drawing/2014/main" id="{5CCFEABC-53DE-490E-97F0-7AC9CCE4BC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7" name="Freeform 577">
                <a:extLst>
                  <a:ext uri="{FF2B5EF4-FFF2-40B4-BE49-F238E27FC236}">
                    <a16:creationId xmlns:a16="http://schemas.microsoft.com/office/drawing/2014/main" id="{476274C3-25A9-49BC-85B6-17A8103AA2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8" name="Freeform 578">
                <a:extLst>
                  <a:ext uri="{FF2B5EF4-FFF2-40B4-BE49-F238E27FC236}">
                    <a16:creationId xmlns:a16="http://schemas.microsoft.com/office/drawing/2014/main" id="{E219C8CE-0254-41DE-A94D-0B30608C1F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9" name="Freeform 579">
                <a:extLst>
                  <a:ext uri="{FF2B5EF4-FFF2-40B4-BE49-F238E27FC236}">
                    <a16:creationId xmlns:a16="http://schemas.microsoft.com/office/drawing/2014/main" id="{47EB3198-1B6B-4D4E-89C0-414C04F2D6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0" name="Freeform 580">
                <a:extLst>
                  <a:ext uri="{FF2B5EF4-FFF2-40B4-BE49-F238E27FC236}">
                    <a16:creationId xmlns:a16="http://schemas.microsoft.com/office/drawing/2014/main" id="{E626F6D1-27A7-46D5-B764-B4FB819BF4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1" name="Freeform 581">
                <a:extLst>
                  <a:ext uri="{FF2B5EF4-FFF2-40B4-BE49-F238E27FC236}">
                    <a16:creationId xmlns:a16="http://schemas.microsoft.com/office/drawing/2014/main" id="{56C07BCF-9BFE-40DB-BE21-4342362342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2" name="Freeform 582">
                <a:extLst>
                  <a:ext uri="{FF2B5EF4-FFF2-40B4-BE49-F238E27FC236}">
                    <a16:creationId xmlns:a16="http://schemas.microsoft.com/office/drawing/2014/main" id="{1277FB9B-3990-4D02-8837-B9A20AF678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3" name="Freeform 583">
                <a:extLst>
                  <a:ext uri="{FF2B5EF4-FFF2-40B4-BE49-F238E27FC236}">
                    <a16:creationId xmlns:a16="http://schemas.microsoft.com/office/drawing/2014/main" id="{108D55E3-D50E-4F69-9B41-EEF71874D6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4" name="Freeform 584">
                <a:extLst>
                  <a:ext uri="{FF2B5EF4-FFF2-40B4-BE49-F238E27FC236}">
                    <a16:creationId xmlns:a16="http://schemas.microsoft.com/office/drawing/2014/main" id="{C05EE654-7774-400E-A04E-885881AFC3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227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5" name="Freeform 585">
                <a:extLst>
                  <a:ext uri="{FF2B5EF4-FFF2-40B4-BE49-F238E27FC236}">
                    <a16:creationId xmlns:a16="http://schemas.microsoft.com/office/drawing/2014/main" id="{039EDADE-AC4D-4690-8D9D-B72805A8E4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210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6" name="Freeform 586">
                <a:extLst>
                  <a:ext uri="{FF2B5EF4-FFF2-40B4-BE49-F238E27FC236}">
                    <a16:creationId xmlns:a16="http://schemas.microsoft.com/office/drawing/2014/main" id="{C14294C1-C52C-439A-8ED0-B72CBB01B9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196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7" name="Freeform 587">
                <a:extLst>
                  <a:ext uri="{FF2B5EF4-FFF2-40B4-BE49-F238E27FC236}">
                    <a16:creationId xmlns:a16="http://schemas.microsoft.com/office/drawing/2014/main" id="{5CDF29B3-8DF5-4D81-BE97-CBCD3A4C8B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179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8" name="Freeform 588">
                <a:extLst>
                  <a:ext uri="{FF2B5EF4-FFF2-40B4-BE49-F238E27FC236}">
                    <a16:creationId xmlns:a16="http://schemas.microsoft.com/office/drawing/2014/main" id="{9350FDD6-25BA-4B3D-A850-FB9BBD6B1B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9" name="Freeform 589">
                <a:extLst>
                  <a:ext uri="{FF2B5EF4-FFF2-40B4-BE49-F238E27FC236}">
                    <a16:creationId xmlns:a16="http://schemas.microsoft.com/office/drawing/2014/main" id="{7236BE3C-2352-4DD9-AA05-324A11138B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0" name="Freeform 590">
                <a:extLst>
                  <a:ext uri="{FF2B5EF4-FFF2-40B4-BE49-F238E27FC236}">
                    <a16:creationId xmlns:a16="http://schemas.microsoft.com/office/drawing/2014/main" id="{E1F3C726-FBE7-4214-9D9D-5D13EF096A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1" name="Freeform 591">
                <a:extLst>
                  <a:ext uri="{FF2B5EF4-FFF2-40B4-BE49-F238E27FC236}">
                    <a16:creationId xmlns:a16="http://schemas.microsoft.com/office/drawing/2014/main" id="{852B0414-FDD9-472C-A55E-2DA1304628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2" name="Freeform 592">
                <a:extLst>
                  <a:ext uri="{FF2B5EF4-FFF2-40B4-BE49-F238E27FC236}">
                    <a16:creationId xmlns:a16="http://schemas.microsoft.com/office/drawing/2014/main" id="{EF1172C1-9C13-40BC-9A23-D8B4294AC1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3" name="Freeform 593">
                <a:extLst>
                  <a:ext uri="{FF2B5EF4-FFF2-40B4-BE49-F238E27FC236}">
                    <a16:creationId xmlns:a16="http://schemas.microsoft.com/office/drawing/2014/main" id="{60DD20BA-FC4D-413F-AAEE-653213B800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4" name="Freeform 594">
                <a:extLst>
                  <a:ext uri="{FF2B5EF4-FFF2-40B4-BE49-F238E27FC236}">
                    <a16:creationId xmlns:a16="http://schemas.microsoft.com/office/drawing/2014/main" id="{1FF2A4B2-48FE-45A3-BDE8-8FA3C19315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5" name="Freeform 595">
                <a:extLst>
                  <a:ext uri="{FF2B5EF4-FFF2-40B4-BE49-F238E27FC236}">
                    <a16:creationId xmlns:a16="http://schemas.microsoft.com/office/drawing/2014/main" id="{490B1E2F-4EE4-4DC4-AE19-21B76E48C0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6" name="Freeform 596">
                <a:extLst>
                  <a:ext uri="{FF2B5EF4-FFF2-40B4-BE49-F238E27FC236}">
                    <a16:creationId xmlns:a16="http://schemas.microsoft.com/office/drawing/2014/main" id="{F2CFA455-C704-4A84-A7E5-C5A616D12F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7" name="Freeform 597">
                <a:extLst>
                  <a:ext uri="{FF2B5EF4-FFF2-40B4-BE49-F238E27FC236}">
                    <a16:creationId xmlns:a16="http://schemas.microsoft.com/office/drawing/2014/main" id="{29720D1C-8BC7-4097-841F-9A6F8D63DE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8" name="Freeform 598">
                <a:extLst>
                  <a:ext uri="{FF2B5EF4-FFF2-40B4-BE49-F238E27FC236}">
                    <a16:creationId xmlns:a16="http://schemas.microsoft.com/office/drawing/2014/main" id="{0556ED1A-B034-4343-9FDD-424978DF2A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227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4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9" name="Freeform 599">
                <a:extLst>
                  <a:ext uri="{FF2B5EF4-FFF2-40B4-BE49-F238E27FC236}">
                    <a16:creationId xmlns:a16="http://schemas.microsoft.com/office/drawing/2014/main" id="{F69D2DCE-FFEE-4635-9D9B-1F02123115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210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0" name="Freeform 600">
                <a:extLst>
                  <a:ext uri="{FF2B5EF4-FFF2-40B4-BE49-F238E27FC236}">
                    <a16:creationId xmlns:a16="http://schemas.microsoft.com/office/drawing/2014/main" id="{0E38A244-1AE3-4089-926E-1F4448EC01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196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1" name="Freeform 601">
                <a:extLst>
                  <a:ext uri="{FF2B5EF4-FFF2-40B4-BE49-F238E27FC236}">
                    <a16:creationId xmlns:a16="http://schemas.microsoft.com/office/drawing/2014/main" id="{BCC1DFA3-65BF-402B-B5EA-5ACA5CEA1E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179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2" name="Freeform 602">
                <a:extLst>
                  <a:ext uri="{FF2B5EF4-FFF2-40B4-BE49-F238E27FC236}">
                    <a16:creationId xmlns:a16="http://schemas.microsoft.com/office/drawing/2014/main" id="{B80231AB-A569-4106-8E52-825C316CEA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165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3" name="Freeform 603">
                <a:extLst>
                  <a:ext uri="{FF2B5EF4-FFF2-40B4-BE49-F238E27FC236}">
                    <a16:creationId xmlns:a16="http://schemas.microsoft.com/office/drawing/2014/main" id="{DD7D5611-DAF2-4969-8CAD-FE5F28BDD2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148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4" name="Freeform 604">
                <a:extLst>
                  <a:ext uri="{FF2B5EF4-FFF2-40B4-BE49-F238E27FC236}">
                    <a16:creationId xmlns:a16="http://schemas.microsoft.com/office/drawing/2014/main" id="{E32F12C9-E2EC-4DDE-9A32-76258BB434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5" name="Freeform 605">
                <a:extLst>
                  <a:ext uri="{FF2B5EF4-FFF2-40B4-BE49-F238E27FC236}">
                    <a16:creationId xmlns:a16="http://schemas.microsoft.com/office/drawing/2014/main" id="{55EE6FDF-4A01-4CEA-B497-5843120B5A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6" name="Freeform 606">
                <a:extLst>
                  <a:ext uri="{FF2B5EF4-FFF2-40B4-BE49-F238E27FC236}">
                    <a16:creationId xmlns:a16="http://schemas.microsoft.com/office/drawing/2014/main" id="{83C332BF-598F-4C3B-A5FB-18266603E7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023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09" name="Group 808">
              <a:extLst>
                <a:ext uri="{FF2B5EF4-FFF2-40B4-BE49-F238E27FC236}">
                  <a16:creationId xmlns:a16="http://schemas.microsoft.com/office/drawing/2014/main" id="{F88845D2-2F35-46FA-946D-A304EA3621CF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8289140" y="2870464"/>
              <a:ext cx="2164105" cy="1117094"/>
              <a:chOff x="5388" y="1695"/>
              <a:chExt cx="1019" cy="526"/>
            </a:xfrm>
          </p:grpSpPr>
          <p:sp>
            <p:nvSpPr>
              <p:cNvPr id="1007" name="Freeform 608">
                <a:extLst>
                  <a:ext uri="{FF2B5EF4-FFF2-40B4-BE49-F238E27FC236}">
                    <a16:creationId xmlns:a16="http://schemas.microsoft.com/office/drawing/2014/main" id="{217AAE55-CB65-43D6-8511-DB73EA39F4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" name="Freeform 609">
                <a:extLst>
                  <a:ext uri="{FF2B5EF4-FFF2-40B4-BE49-F238E27FC236}">
                    <a16:creationId xmlns:a16="http://schemas.microsoft.com/office/drawing/2014/main" id="{B0FAE426-71D3-451B-A554-A9FA0965CE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" name="Freeform 610">
                <a:extLst>
                  <a:ext uri="{FF2B5EF4-FFF2-40B4-BE49-F238E27FC236}">
                    <a16:creationId xmlns:a16="http://schemas.microsoft.com/office/drawing/2014/main" id="{7E0C1DD4-EFFB-4C36-B58A-FA058C566B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" name="Freeform 611">
                <a:extLst>
                  <a:ext uri="{FF2B5EF4-FFF2-40B4-BE49-F238E27FC236}">
                    <a16:creationId xmlns:a16="http://schemas.microsoft.com/office/drawing/2014/main" id="{2A16F424-0A2F-4722-9160-551C6414ED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" name="Freeform 612">
                <a:extLst>
                  <a:ext uri="{FF2B5EF4-FFF2-40B4-BE49-F238E27FC236}">
                    <a16:creationId xmlns:a16="http://schemas.microsoft.com/office/drawing/2014/main" id="{A55BC479-2053-4A77-B532-4E84ADF149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" name="Freeform 613">
                <a:extLst>
                  <a:ext uri="{FF2B5EF4-FFF2-40B4-BE49-F238E27FC236}">
                    <a16:creationId xmlns:a16="http://schemas.microsoft.com/office/drawing/2014/main" id="{37945167-A4A2-4651-B3C0-A64A6CA531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" name="Freeform 614">
                <a:extLst>
                  <a:ext uri="{FF2B5EF4-FFF2-40B4-BE49-F238E27FC236}">
                    <a16:creationId xmlns:a16="http://schemas.microsoft.com/office/drawing/2014/main" id="{DB7628CE-9831-4688-9F28-2303558406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5" y="221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" name="Freeform 615">
                <a:extLst>
                  <a:ext uri="{FF2B5EF4-FFF2-40B4-BE49-F238E27FC236}">
                    <a16:creationId xmlns:a16="http://schemas.microsoft.com/office/drawing/2014/main" id="{AD949EE7-1AE2-4451-8B8B-79241ECE19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2" y="2196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" name="Freeform 616">
                <a:extLst>
                  <a:ext uri="{FF2B5EF4-FFF2-40B4-BE49-F238E27FC236}">
                    <a16:creationId xmlns:a16="http://schemas.microsoft.com/office/drawing/2014/main" id="{5589CBA7-20F9-47C1-8901-D02557F35C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69" y="2179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" name="Freeform 617">
                <a:extLst>
                  <a:ext uri="{FF2B5EF4-FFF2-40B4-BE49-F238E27FC236}">
                    <a16:creationId xmlns:a16="http://schemas.microsoft.com/office/drawing/2014/main" id="{1F391850-1764-4D90-9E69-1CDD65A49E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6" y="2165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" name="Freeform 618">
                <a:extLst>
                  <a:ext uri="{FF2B5EF4-FFF2-40B4-BE49-F238E27FC236}">
                    <a16:creationId xmlns:a16="http://schemas.microsoft.com/office/drawing/2014/main" id="{FA59844D-F6E9-425C-8C12-B447ECEC64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3" y="2148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" name="Freeform 619">
                <a:extLst>
                  <a:ext uri="{FF2B5EF4-FFF2-40B4-BE49-F238E27FC236}">
                    <a16:creationId xmlns:a16="http://schemas.microsoft.com/office/drawing/2014/main" id="{23376B77-2464-4758-9681-E46B298181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0" y="2131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" name="Freeform 620">
                <a:extLst>
                  <a:ext uri="{FF2B5EF4-FFF2-40B4-BE49-F238E27FC236}">
                    <a16:creationId xmlns:a16="http://schemas.microsoft.com/office/drawing/2014/main" id="{DD354E91-7F99-4DA9-8CD0-441EEF4D83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7" y="2117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" name="Freeform 621">
                <a:extLst>
                  <a:ext uri="{FF2B5EF4-FFF2-40B4-BE49-F238E27FC236}">
                    <a16:creationId xmlns:a16="http://schemas.microsoft.com/office/drawing/2014/main" id="{24116475-F02E-4606-964F-A9BB368FA9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4" y="210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" name="Freeform 622">
                <a:extLst>
                  <a:ext uri="{FF2B5EF4-FFF2-40B4-BE49-F238E27FC236}">
                    <a16:creationId xmlns:a16="http://schemas.microsoft.com/office/drawing/2014/main" id="{1481439E-6C64-425C-B041-56DAE410EE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023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" name="Freeform 623">
                <a:extLst>
                  <a:ext uri="{FF2B5EF4-FFF2-40B4-BE49-F238E27FC236}">
                    <a16:creationId xmlns:a16="http://schemas.microsoft.com/office/drawing/2014/main" id="{4A549B9A-B540-436E-AB0F-516F73A823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00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" name="Freeform 624">
                <a:extLst>
                  <a:ext uri="{FF2B5EF4-FFF2-40B4-BE49-F238E27FC236}">
                    <a16:creationId xmlns:a16="http://schemas.microsoft.com/office/drawing/2014/main" id="{16C89B87-7EAC-4DD4-8849-23443B4F1F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1" y="208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" name="Freeform 625">
                <a:extLst>
                  <a:ext uri="{FF2B5EF4-FFF2-40B4-BE49-F238E27FC236}">
                    <a16:creationId xmlns:a16="http://schemas.microsoft.com/office/drawing/2014/main" id="{9C250315-2517-44DC-8EA7-842406ABEB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58" y="206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" name="Freeform 626">
                <a:extLst>
                  <a:ext uri="{FF2B5EF4-FFF2-40B4-BE49-F238E27FC236}">
                    <a16:creationId xmlns:a16="http://schemas.microsoft.com/office/drawing/2014/main" id="{40EB04BF-5DBE-4505-9500-74A9AC962D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2054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" name="Freeform 627">
                <a:extLst>
                  <a:ext uri="{FF2B5EF4-FFF2-40B4-BE49-F238E27FC236}">
                    <a16:creationId xmlns:a16="http://schemas.microsoft.com/office/drawing/2014/main" id="{F3AFF8B2-51F9-4137-A70E-EF3E9771E6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03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" name="Freeform 628">
                <a:extLst>
                  <a:ext uri="{FF2B5EF4-FFF2-40B4-BE49-F238E27FC236}">
                    <a16:creationId xmlns:a16="http://schemas.microsoft.com/office/drawing/2014/main" id="{AA19968E-912E-4B64-87C5-CE73B0A761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023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" name="Freeform 629">
                <a:extLst>
                  <a:ext uri="{FF2B5EF4-FFF2-40B4-BE49-F238E27FC236}">
                    <a16:creationId xmlns:a16="http://schemas.microsoft.com/office/drawing/2014/main" id="{A492818D-EF9D-4501-AC4D-CC355CC5A1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8" y="2196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7 w 8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" name="Freeform 630">
                <a:extLst>
                  <a:ext uri="{FF2B5EF4-FFF2-40B4-BE49-F238E27FC236}">
                    <a16:creationId xmlns:a16="http://schemas.microsoft.com/office/drawing/2014/main" id="{93BFE091-8207-4192-B565-C81C191621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5" y="2179"/>
                <a:ext cx="16" cy="9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4 h 4"/>
                  <a:gd name="T6" fmla="*/ 2 w 8"/>
                  <a:gd name="T7" fmla="*/ 4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" name="Freeform 631">
                <a:extLst>
                  <a:ext uri="{FF2B5EF4-FFF2-40B4-BE49-F238E27FC236}">
                    <a16:creationId xmlns:a16="http://schemas.microsoft.com/office/drawing/2014/main" id="{6F404E3F-F3FB-4E1E-82DD-67BB1171ED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2" y="2165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" name="Freeform 632">
                <a:extLst>
                  <a:ext uri="{FF2B5EF4-FFF2-40B4-BE49-F238E27FC236}">
                    <a16:creationId xmlns:a16="http://schemas.microsoft.com/office/drawing/2014/main" id="{286859E8-EE17-4DFC-B345-E76E751CC3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69" y="2148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" name="Freeform 633">
                <a:extLst>
                  <a:ext uri="{FF2B5EF4-FFF2-40B4-BE49-F238E27FC236}">
                    <a16:creationId xmlns:a16="http://schemas.microsoft.com/office/drawing/2014/main" id="{28BF5CD0-468D-4857-A54B-BD1BD18BBD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6" y="2131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" name="Freeform 634">
                <a:extLst>
                  <a:ext uri="{FF2B5EF4-FFF2-40B4-BE49-F238E27FC236}">
                    <a16:creationId xmlns:a16="http://schemas.microsoft.com/office/drawing/2014/main" id="{FE3532F4-75B5-4FFB-8BBD-8978D71E13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3" y="2117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" name="Freeform 635">
                <a:extLst>
                  <a:ext uri="{FF2B5EF4-FFF2-40B4-BE49-F238E27FC236}">
                    <a16:creationId xmlns:a16="http://schemas.microsoft.com/office/drawing/2014/main" id="{9017FD04-597E-4A87-AA37-1E70D62313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0" y="210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" name="Freeform 636">
                <a:extLst>
                  <a:ext uri="{FF2B5EF4-FFF2-40B4-BE49-F238E27FC236}">
                    <a16:creationId xmlns:a16="http://schemas.microsoft.com/office/drawing/2014/main" id="{3DB6CD55-C95E-47B3-B2B7-8A3F81BB37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7" y="2086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" name="Freeform 637">
                <a:extLst>
                  <a:ext uri="{FF2B5EF4-FFF2-40B4-BE49-F238E27FC236}">
                    <a16:creationId xmlns:a16="http://schemas.microsoft.com/office/drawing/2014/main" id="{D30E1C11-3E0B-40D7-B447-9865A025EA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4" y="206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" name="Freeform 638">
                <a:extLst>
                  <a:ext uri="{FF2B5EF4-FFF2-40B4-BE49-F238E27FC236}">
                    <a16:creationId xmlns:a16="http://schemas.microsoft.com/office/drawing/2014/main" id="{600D1D05-12C8-48C0-AB68-AE4F67B8CE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00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" name="Freeform 639">
                <a:extLst>
                  <a:ext uri="{FF2B5EF4-FFF2-40B4-BE49-F238E27FC236}">
                    <a16:creationId xmlns:a16="http://schemas.microsoft.com/office/drawing/2014/main" id="{4F0A528F-3410-48DF-A7FB-AAF727AC14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99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" name="Freeform 640">
                <a:extLst>
                  <a:ext uri="{FF2B5EF4-FFF2-40B4-BE49-F238E27FC236}">
                    <a16:creationId xmlns:a16="http://schemas.microsoft.com/office/drawing/2014/main" id="{CF2ACBCA-76A1-4C1D-8593-17A1F66F50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1" y="2054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" name="Freeform 641">
                <a:extLst>
                  <a:ext uri="{FF2B5EF4-FFF2-40B4-BE49-F238E27FC236}">
                    <a16:creationId xmlns:a16="http://schemas.microsoft.com/office/drawing/2014/main" id="{B1B27DB7-3925-4EAC-8F08-B2352CCE4C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58" y="203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" name="Freeform 642">
                <a:extLst>
                  <a:ext uri="{FF2B5EF4-FFF2-40B4-BE49-F238E27FC236}">
                    <a16:creationId xmlns:a16="http://schemas.microsoft.com/office/drawing/2014/main" id="{68153905-DA8C-4332-A288-EC652AC30E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2023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" name="Freeform 643">
                <a:extLst>
                  <a:ext uri="{FF2B5EF4-FFF2-40B4-BE49-F238E27FC236}">
                    <a16:creationId xmlns:a16="http://schemas.microsoft.com/office/drawing/2014/main" id="{468FF9E3-C1EB-4913-9AC6-1CB5BC7297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00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" name="Freeform 644">
                <a:extLst>
                  <a:ext uri="{FF2B5EF4-FFF2-40B4-BE49-F238E27FC236}">
                    <a16:creationId xmlns:a16="http://schemas.microsoft.com/office/drawing/2014/main" id="{F6BAB484-AB89-4D28-A714-1659C789D7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6" y="210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7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" name="Freeform 645">
                <a:extLst>
                  <a:ext uri="{FF2B5EF4-FFF2-40B4-BE49-F238E27FC236}">
                    <a16:creationId xmlns:a16="http://schemas.microsoft.com/office/drawing/2014/main" id="{BD28A1E5-96D8-48E8-ABCE-7C86ED74C7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3" y="2086"/>
                <a:ext cx="16" cy="8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4 h 4"/>
                  <a:gd name="T6" fmla="*/ 2 w 8"/>
                  <a:gd name="T7" fmla="*/ 4 h 4"/>
                  <a:gd name="T8" fmla="*/ 2 w 8"/>
                  <a:gd name="T9" fmla="*/ 1 h 4"/>
                  <a:gd name="T10" fmla="*/ 2 w 8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" name="Freeform 646">
                <a:extLst>
                  <a:ext uri="{FF2B5EF4-FFF2-40B4-BE49-F238E27FC236}">
                    <a16:creationId xmlns:a16="http://schemas.microsoft.com/office/drawing/2014/main" id="{60A2D777-2FAD-43BB-BE64-9821895B36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0" y="2069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" name="Freeform 647">
                <a:extLst>
                  <a:ext uri="{FF2B5EF4-FFF2-40B4-BE49-F238E27FC236}">
                    <a16:creationId xmlns:a16="http://schemas.microsoft.com/office/drawing/2014/main" id="{297BC6AC-7018-46A3-90B3-7AA3C6387D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7" y="2054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" name="Freeform 648">
                <a:extLst>
                  <a:ext uri="{FF2B5EF4-FFF2-40B4-BE49-F238E27FC236}">
                    <a16:creationId xmlns:a16="http://schemas.microsoft.com/office/drawing/2014/main" id="{964A33B0-19AF-48E3-86E8-A6350FC10D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199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" name="Freeform 649">
                <a:extLst>
                  <a:ext uri="{FF2B5EF4-FFF2-40B4-BE49-F238E27FC236}">
                    <a16:creationId xmlns:a16="http://schemas.microsoft.com/office/drawing/2014/main" id="{991FF4F2-8792-4DA5-AA90-FB0FCE3DED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1975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" name="Freeform 650">
                <a:extLst>
                  <a:ext uri="{FF2B5EF4-FFF2-40B4-BE49-F238E27FC236}">
                    <a16:creationId xmlns:a16="http://schemas.microsoft.com/office/drawing/2014/main" id="{328F0603-5764-4792-9629-57432A1F7E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4" y="203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" name="Freeform 651">
                <a:extLst>
                  <a:ext uri="{FF2B5EF4-FFF2-40B4-BE49-F238E27FC236}">
                    <a16:creationId xmlns:a16="http://schemas.microsoft.com/office/drawing/2014/main" id="{FAF695EA-AA47-4DE7-8E9C-A066D8EB12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1" y="2023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" name="Freeform 652">
                <a:extLst>
                  <a:ext uri="{FF2B5EF4-FFF2-40B4-BE49-F238E27FC236}">
                    <a16:creationId xmlns:a16="http://schemas.microsoft.com/office/drawing/2014/main" id="{08C938C4-1605-42FE-B4B1-4AB476B083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58" y="200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" name="Freeform 653">
                <a:extLst>
                  <a:ext uri="{FF2B5EF4-FFF2-40B4-BE49-F238E27FC236}">
                    <a16:creationId xmlns:a16="http://schemas.microsoft.com/office/drawing/2014/main" id="{8DE99A83-5A73-4E92-A979-31508EF77C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1992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" name="Freeform 654">
                <a:extLst>
                  <a:ext uri="{FF2B5EF4-FFF2-40B4-BE49-F238E27FC236}">
                    <a16:creationId xmlns:a16="http://schemas.microsoft.com/office/drawing/2014/main" id="{8F0E45AC-32D8-4482-A771-6D5369A963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1975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" name="Freeform 655">
                <a:extLst>
                  <a:ext uri="{FF2B5EF4-FFF2-40B4-BE49-F238E27FC236}">
                    <a16:creationId xmlns:a16="http://schemas.microsoft.com/office/drawing/2014/main" id="{29A97E07-55D3-4F23-B493-D0CB5AD03A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1961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" name="Freeform 656">
                <a:extLst>
                  <a:ext uri="{FF2B5EF4-FFF2-40B4-BE49-F238E27FC236}">
                    <a16:creationId xmlns:a16="http://schemas.microsoft.com/office/drawing/2014/main" id="{166758EA-6BE6-422F-A203-27C0DBA383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194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6 w 7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" name="Freeform 657">
                <a:extLst>
                  <a:ext uri="{FF2B5EF4-FFF2-40B4-BE49-F238E27FC236}">
                    <a16:creationId xmlns:a16="http://schemas.microsoft.com/office/drawing/2014/main" id="{5307D6B5-60A9-4556-B237-887A6C3667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05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" name="Freeform 658">
                <a:extLst>
                  <a:ext uri="{FF2B5EF4-FFF2-40B4-BE49-F238E27FC236}">
                    <a16:creationId xmlns:a16="http://schemas.microsoft.com/office/drawing/2014/main" id="{5046A317-0674-4341-8326-23C30DE64B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" name="Freeform 659">
                <a:extLst>
                  <a:ext uri="{FF2B5EF4-FFF2-40B4-BE49-F238E27FC236}">
                    <a16:creationId xmlns:a16="http://schemas.microsoft.com/office/drawing/2014/main" id="{E71358C9-FD9B-4FC1-9419-6D1C6F90E7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02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" name="Freeform 660">
                <a:extLst>
                  <a:ext uri="{FF2B5EF4-FFF2-40B4-BE49-F238E27FC236}">
                    <a16:creationId xmlns:a16="http://schemas.microsoft.com/office/drawing/2014/main" id="{86D383B8-A689-4AE8-BC43-A15A7F56A5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00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" name="Freeform 661">
                <a:extLst>
                  <a:ext uri="{FF2B5EF4-FFF2-40B4-BE49-F238E27FC236}">
                    <a16:creationId xmlns:a16="http://schemas.microsoft.com/office/drawing/2014/main" id="{BFCA4933-DFDF-4481-8AE9-C3247F60BF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992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" name="Freeform 662">
                <a:extLst>
                  <a:ext uri="{FF2B5EF4-FFF2-40B4-BE49-F238E27FC236}">
                    <a16:creationId xmlns:a16="http://schemas.microsoft.com/office/drawing/2014/main" id="{70C67DBB-9936-4CCE-BB9C-045A4E9154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97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" name="Freeform 663">
                <a:extLst>
                  <a:ext uri="{FF2B5EF4-FFF2-40B4-BE49-F238E27FC236}">
                    <a16:creationId xmlns:a16="http://schemas.microsoft.com/office/drawing/2014/main" id="{5EF61DE0-0B07-4668-AD0F-6BB5D4AF6B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96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" name="Freeform 664">
                <a:extLst>
                  <a:ext uri="{FF2B5EF4-FFF2-40B4-BE49-F238E27FC236}">
                    <a16:creationId xmlns:a16="http://schemas.microsoft.com/office/drawing/2014/main" id="{78D268D1-D632-4C92-B97C-4C8C94C8B5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94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" name="Freeform 665">
                <a:extLst>
                  <a:ext uri="{FF2B5EF4-FFF2-40B4-BE49-F238E27FC236}">
                    <a16:creationId xmlns:a16="http://schemas.microsoft.com/office/drawing/2014/main" id="{DDC326BA-5A20-4A1E-955B-261E57FA39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93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" name="Freeform 666">
                <a:extLst>
                  <a:ext uri="{FF2B5EF4-FFF2-40B4-BE49-F238E27FC236}">
                    <a16:creationId xmlns:a16="http://schemas.microsoft.com/office/drawing/2014/main" id="{236DC62E-AE32-4A3E-A9F7-04FA0F5BD2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91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" name="Freeform 667">
                <a:extLst>
                  <a:ext uri="{FF2B5EF4-FFF2-40B4-BE49-F238E27FC236}">
                    <a16:creationId xmlns:a16="http://schemas.microsoft.com/office/drawing/2014/main" id="{39FD03F8-7F13-439C-8DF5-3FCB00B1B8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9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" name="Freeform 668">
                <a:extLst>
                  <a:ext uri="{FF2B5EF4-FFF2-40B4-BE49-F238E27FC236}">
                    <a16:creationId xmlns:a16="http://schemas.microsoft.com/office/drawing/2014/main" id="{F1E5F72E-819F-488C-BA8A-2A44873835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" name="Freeform 669">
                <a:extLst>
                  <a:ext uri="{FF2B5EF4-FFF2-40B4-BE49-F238E27FC236}">
                    <a16:creationId xmlns:a16="http://schemas.microsoft.com/office/drawing/2014/main" id="{48A9CFC9-888E-42D6-A3BF-859F18562A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" name="Freeform 670">
                <a:extLst>
                  <a:ext uri="{FF2B5EF4-FFF2-40B4-BE49-F238E27FC236}">
                    <a16:creationId xmlns:a16="http://schemas.microsoft.com/office/drawing/2014/main" id="{BB9BE1FC-87BC-4F7E-A3EC-2DB180FD9A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" name="Freeform 671">
                <a:extLst>
                  <a:ext uri="{FF2B5EF4-FFF2-40B4-BE49-F238E27FC236}">
                    <a16:creationId xmlns:a16="http://schemas.microsoft.com/office/drawing/2014/main" id="{0E03819F-8B6C-45AD-894E-56C09A671D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" name="Freeform 672">
                <a:extLst>
                  <a:ext uri="{FF2B5EF4-FFF2-40B4-BE49-F238E27FC236}">
                    <a16:creationId xmlns:a16="http://schemas.microsoft.com/office/drawing/2014/main" id="{9D6B79A5-9C79-426A-B7FE-639EC9BB74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" name="Freeform 673">
                <a:extLst>
                  <a:ext uri="{FF2B5EF4-FFF2-40B4-BE49-F238E27FC236}">
                    <a16:creationId xmlns:a16="http://schemas.microsoft.com/office/drawing/2014/main" id="{9E2C37C1-124C-4DA3-8F54-7B5EC1D254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0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" name="Freeform 674">
                <a:extLst>
                  <a:ext uri="{FF2B5EF4-FFF2-40B4-BE49-F238E27FC236}">
                    <a16:creationId xmlns:a16="http://schemas.microsoft.com/office/drawing/2014/main" id="{874D452A-B1D0-4E7E-93F3-C24B0B014C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040"/>
                <a:ext cx="15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" name="Freeform 675">
                <a:extLst>
                  <a:ext uri="{FF2B5EF4-FFF2-40B4-BE49-F238E27FC236}">
                    <a16:creationId xmlns:a16="http://schemas.microsoft.com/office/drawing/2014/main" id="{A7844AA5-0152-429C-8553-1E4947DA58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02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" name="Freeform 676">
                <a:extLst>
                  <a:ext uri="{FF2B5EF4-FFF2-40B4-BE49-F238E27FC236}">
                    <a16:creationId xmlns:a16="http://schemas.microsoft.com/office/drawing/2014/main" id="{12CBD1EE-588D-460A-A584-0822EED904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00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" name="Freeform 677">
                <a:extLst>
                  <a:ext uri="{FF2B5EF4-FFF2-40B4-BE49-F238E27FC236}">
                    <a16:creationId xmlns:a16="http://schemas.microsoft.com/office/drawing/2014/main" id="{A2B3AAA5-25BB-4EA7-BE91-6A3FFE0F48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992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" name="Freeform 678">
                <a:extLst>
                  <a:ext uri="{FF2B5EF4-FFF2-40B4-BE49-F238E27FC236}">
                    <a16:creationId xmlns:a16="http://schemas.microsoft.com/office/drawing/2014/main" id="{18FCF366-2158-46A8-830B-6D22310B7D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" name="Freeform 679">
                <a:extLst>
                  <a:ext uri="{FF2B5EF4-FFF2-40B4-BE49-F238E27FC236}">
                    <a16:creationId xmlns:a16="http://schemas.microsoft.com/office/drawing/2014/main" id="{EC110F42-4C1F-4359-ACF8-C788D12CB5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96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" name="Freeform 680">
                <a:extLst>
                  <a:ext uri="{FF2B5EF4-FFF2-40B4-BE49-F238E27FC236}">
                    <a16:creationId xmlns:a16="http://schemas.microsoft.com/office/drawing/2014/main" id="{70B9893E-B1D5-432C-8610-261F8898EF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94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" name="Freeform 681">
                <a:extLst>
                  <a:ext uri="{FF2B5EF4-FFF2-40B4-BE49-F238E27FC236}">
                    <a16:creationId xmlns:a16="http://schemas.microsoft.com/office/drawing/2014/main" id="{90257EA1-B1A0-40E8-BE9B-A8F069E61B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93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" name="Freeform 682">
                <a:extLst>
                  <a:ext uri="{FF2B5EF4-FFF2-40B4-BE49-F238E27FC236}">
                    <a16:creationId xmlns:a16="http://schemas.microsoft.com/office/drawing/2014/main" id="{FB51756E-10DB-4AAB-B791-D1AEF8802A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91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" name="Freeform 683">
                <a:extLst>
                  <a:ext uri="{FF2B5EF4-FFF2-40B4-BE49-F238E27FC236}">
                    <a16:creationId xmlns:a16="http://schemas.microsoft.com/office/drawing/2014/main" id="{DBE9C902-85B1-4D04-8FDC-9E28F94583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9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" name="Freeform 684">
                <a:extLst>
                  <a:ext uri="{FF2B5EF4-FFF2-40B4-BE49-F238E27FC236}">
                    <a16:creationId xmlns:a16="http://schemas.microsoft.com/office/drawing/2014/main" id="{4B8AE174-F929-455A-BE9D-335CAB27D2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" name="Freeform 685">
                <a:extLst>
                  <a:ext uri="{FF2B5EF4-FFF2-40B4-BE49-F238E27FC236}">
                    <a16:creationId xmlns:a16="http://schemas.microsoft.com/office/drawing/2014/main" id="{9890EDDF-F402-4FE9-B2E5-E0898FBB51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" name="Freeform 686">
                <a:extLst>
                  <a:ext uri="{FF2B5EF4-FFF2-40B4-BE49-F238E27FC236}">
                    <a16:creationId xmlns:a16="http://schemas.microsoft.com/office/drawing/2014/main" id="{442F9039-F2B6-40C4-B695-C773B798D1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" name="Freeform 687">
                <a:extLst>
                  <a:ext uri="{FF2B5EF4-FFF2-40B4-BE49-F238E27FC236}">
                    <a16:creationId xmlns:a16="http://schemas.microsoft.com/office/drawing/2014/main" id="{D5A15477-6183-4653-BE75-A7D0059393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" name="Freeform 688">
                <a:extLst>
                  <a:ext uri="{FF2B5EF4-FFF2-40B4-BE49-F238E27FC236}">
                    <a16:creationId xmlns:a16="http://schemas.microsoft.com/office/drawing/2014/main" id="{61C89D6E-77D8-4F29-A316-EA7E4591DF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" name="Freeform 689">
                <a:extLst>
                  <a:ext uri="{FF2B5EF4-FFF2-40B4-BE49-F238E27FC236}">
                    <a16:creationId xmlns:a16="http://schemas.microsoft.com/office/drawing/2014/main" id="{7DA200DB-3988-4FC6-A8AF-E044877041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" name="Freeform 690">
                <a:extLst>
                  <a:ext uri="{FF2B5EF4-FFF2-40B4-BE49-F238E27FC236}">
                    <a16:creationId xmlns:a16="http://schemas.microsoft.com/office/drawing/2014/main" id="{2FD9D9C4-B736-4DE7-A693-D3B3FA6EBE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" name="Freeform 691">
                <a:extLst>
                  <a:ext uri="{FF2B5EF4-FFF2-40B4-BE49-F238E27FC236}">
                    <a16:creationId xmlns:a16="http://schemas.microsoft.com/office/drawing/2014/main" id="{5FDAB44B-3C3E-4DDF-9E2E-55A3B9FA04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023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" name="Freeform 692">
                <a:extLst>
                  <a:ext uri="{FF2B5EF4-FFF2-40B4-BE49-F238E27FC236}">
                    <a16:creationId xmlns:a16="http://schemas.microsoft.com/office/drawing/2014/main" id="{C03C5DBB-175A-48C1-AE3C-9AD50CC6B6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00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" name="Freeform 693">
                <a:extLst>
                  <a:ext uri="{FF2B5EF4-FFF2-40B4-BE49-F238E27FC236}">
                    <a16:creationId xmlns:a16="http://schemas.microsoft.com/office/drawing/2014/main" id="{9BCF6A44-B4E6-4BE8-9075-1548FFA58A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992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" name="Freeform 694">
                <a:extLst>
                  <a:ext uri="{FF2B5EF4-FFF2-40B4-BE49-F238E27FC236}">
                    <a16:creationId xmlns:a16="http://schemas.microsoft.com/office/drawing/2014/main" id="{C5B5ECFB-E242-450A-9275-7873A8ACCF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" name="Freeform 695">
                <a:extLst>
                  <a:ext uri="{FF2B5EF4-FFF2-40B4-BE49-F238E27FC236}">
                    <a16:creationId xmlns:a16="http://schemas.microsoft.com/office/drawing/2014/main" id="{48AB84C9-62B1-4130-9056-D951EA7B87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96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" name="Freeform 696">
                <a:extLst>
                  <a:ext uri="{FF2B5EF4-FFF2-40B4-BE49-F238E27FC236}">
                    <a16:creationId xmlns:a16="http://schemas.microsoft.com/office/drawing/2014/main" id="{98D8D35D-2493-48E3-AEA2-E41BE4DC96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946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" name="Freeform 697">
                <a:extLst>
                  <a:ext uri="{FF2B5EF4-FFF2-40B4-BE49-F238E27FC236}">
                    <a16:creationId xmlns:a16="http://schemas.microsoft.com/office/drawing/2014/main" id="{7B5CF27D-89CF-4BDB-8DA7-3FA124168E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93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7" name="Freeform 698">
                <a:extLst>
                  <a:ext uri="{FF2B5EF4-FFF2-40B4-BE49-F238E27FC236}">
                    <a16:creationId xmlns:a16="http://schemas.microsoft.com/office/drawing/2014/main" id="{1E19EB44-5CA3-4E0D-BE38-81A34E4818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91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" name="Freeform 699">
                <a:extLst>
                  <a:ext uri="{FF2B5EF4-FFF2-40B4-BE49-F238E27FC236}">
                    <a16:creationId xmlns:a16="http://schemas.microsoft.com/office/drawing/2014/main" id="{8EAAE21B-9F81-42C0-ADEA-79A8BCBBD7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9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" name="Freeform 700">
                <a:extLst>
                  <a:ext uri="{FF2B5EF4-FFF2-40B4-BE49-F238E27FC236}">
                    <a16:creationId xmlns:a16="http://schemas.microsoft.com/office/drawing/2014/main" id="{1354B82E-A372-46CB-8A64-69582B51B3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" name="Freeform 701">
                <a:extLst>
                  <a:ext uri="{FF2B5EF4-FFF2-40B4-BE49-F238E27FC236}">
                    <a16:creationId xmlns:a16="http://schemas.microsoft.com/office/drawing/2014/main" id="{D4E4EEDC-646A-434F-B792-A9FFE49F18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" name="Freeform 702">
                <a:extLst>
                  <a:ext uri="{FF2B5EF4-FFF2-40B4-BE49-F238E27FC236}">
                    <a16:creationId xmlns:a16="http://schemas.microsoft.com/office/drawing/2014/main" id="{6F84A651-4D35-4D86-AFF2-72BCA0F5C8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" name="Freeform 703">
                <a:extLst>
                  <a:ext uri="{FF2B5EF4-FFF2-40B4-BE49-F238E27FC236}">
                    <a16:creationId xmlns:a16="http://schemas.microsoft.com/office/drawing/2014/main" id="{9E5FF7A0-406A-490E-94ED-AC8C82182A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" name="Freeform 704">
                <a:extLst>
                  <a:ext uri="{FF2B5EF4-FFF2-40B4-BE49-F238E27FC236}">
                    <a16:creationId xmlns:a16="http://schemas.microsoft.com/office/drawing/2014/main" id="{4A138A18-42DE-4BD6-BB6F-02B3CAD31F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" name="Freeform 705">
                <a:extLst>
                  <a:ext uri="{FF2B5EF4-FFF2-40B4-BE49-F238E27FC236}">
                    <a16:creationId xmlns:a16="http://schemas.microsoft.com/office/drawing/2014/main" id="{E99CF402-1F8C-476A-A48E-75EC5CD2CD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" name="Freeform 706">
                <a:extLst>
                  <a:ext uri="{FF2B5EF4-FFF2-40B4-BE49-F238E27FC236}">
                    <a16:creationId xmlns:a16="http://schemas.microsoft.com/office/drawing/2014/main" id="{98058C21-9A5B-427F-ABA5-6DCCB3866F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" name="Freeform 707">
                <a:extLst>
                  <a:ext uri="{FF2B5EF4-FFF2-40B4-BE49-F238E27FC236}">
                    <a16:creationId xmlns:a16="http://schemas.microsoft.com/office/drawing/2014/main" id="{54357C8E-C8FE-48D6-9509-D7EF1569C6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77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" name="Freeform 708">
                <a:extLst>
                  <a:ext uri="{FF2B5EF4-FFF2-40B4-BE49-F238E27FC236}">
                    <a16:creationId xmlns:a16="http://schemas.microsoft.com/office/drawing/2014/main" id="{9411C27F-E3CB-4860-BC4D-7309210DE5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009"/>
                <a:ext cx="15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" name="Freeform 709">
                <a:extLst>
                  <a:ext uri="{FF2B5EF4-FFF2-40B4-BE49-F238E27FC236}">
                    <a16:creationId xmlns:a16="http://schemas.microsoft.com/office/drawing/2014/main" id="{76A699A0-3E1F-4587-89B5-7E9E2280D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992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" name="Freeform 710">
                <a:extLst>
                  <a:ext uri="{FF2B5EF4-FFF2-40B4-BE49-F238E27FC236}">
                    <a16:creationId xmlns:a16="http://schemas.microsoft.com/office/drawing/2014/main" id="{59810A7F-EF0E-49E4-B66A-28FDAF57AE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" name="Freeform 711">
                <a:extLst>
                  <a:ext uri="{FF2B5EF4-FFF2-40B4-BE49-F238E27FC236}">
                    <a16:creationId xmlns:a16="http://schemas.microsoft.com/office/drawing/2014/main" id="{317AF12F-A7DB-4D7D-BCEB-EDFFD93A71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96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" name="Freeform 712">
                <a:extLst>
                  <a:ext uri="{FF2B5EF4-FFF2-40B4-BE49-F238E27FC236}">
                    <a16:creationId xmlns:a16="http://schemas.microsoft.com/office/drawing/2014/main" id="{2A635BE8-E31F-4824-8B17-459718637B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946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" name="Freeform 713">
                <a:extLst>
                  <a:ext uri="{FF2B5EF4-FFF2-40B4-BE49-F238E27FC236}">
                    <a16:creationId xmlns:a16="http://schemas.microsoft.com/office/drawing/2014/main" id="{A09EAB3D-32B9-4BBF-9453-FFDB58CC90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" name="Freeform 714">
                <a:extLst>
                  <a:ext uri="{FF2B5EF4-FFF2-40B4-BE49-F238E27FC236}">
                    <a16:creationId xmlns:a16="http://schemas.microsoft.com/office/drawing/2014/main" id="{9F6D74BF-0F2B-4048-B2F0-42972B5889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915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" name="Freeform 715">
                <a:extLst>
                  <a:ext uri="{FF2B5EF4-FFF2-40B4-BE49-F238E27FC236}">
                    <a16:creationId xmlns:a16="http://schemas.microsoft.com/office/drawing/2014/main" id="{C4FD42E8-C6FA-4EF3-98DB-E0D4FFFC6B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9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" name="Freeform 716">
                <a:extLst>
                  <a:ext uri="{FF2B5EF4-FFF2-40B4-BE49-F238E27FC236}">
                    <a16:creationId xmlns:a16="http://schemas.microsoft.com/office/drawing/2014/main" id="{367D420D-B4ED-41DD-9ADA-9FB8D009FA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" name="Freeform 717">
                <a:extLst>
                  <a:ext uri="{FF2B5EF4-FFF2-40B4-BE49-F238E27FC236}">
                    <a16:creationId xmlns:a16="http://schemas.microsoft.com/office/drawing/2014/main" id="{57FEFDBF-61D0-4FC5-8650-406A1C6421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7" name="Freeform 718">
                <a:extLst>
                  <a:ext uri="{FF2B5EF4-FFF2-40B4-BE49-F238E27FC236}">
                    <a16:creationId xmlns:a16="http://schemas.microsoft.com/office/drawing/2014/main" id="{95C6C7C8-BDB9-42D4-880B-ADD66F531F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8" name="Freeform 719">
                <a:extLst>
                  <a:ext uri="{FF2B5EF4-FFF2-40B4-BE49-F238E27FC236}">
                    <a16:creationId xmlns:a16="http://schemas.microsoft.com/office/drawing/2014/main" id="{0F02FFCB-4B82-4F8F-9AC7-567CC2C38F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9" name="Freeform 720">
                <a:extLst>
                  <a:ext uri="{FF2B5EF4-FFF2-40B4-BE49-F238E27FC236}">
                    <a16:creationId xmlns:a16="http://schemas.microsoft.com/office/drawing/2014/main" id="{46F568E3-8E65-4872-9DF9-BC33DC66A9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0" name="Freeform 721">
                <a:extLst>
                  <a:ext uri="{FF2B5EF4-FFF2-40B4-BE49-F238E27FC236}">
                    <a16:creationId xmlns:a16="http://schemas.microsoft.com/office/drawing/2014/main" id="{F09FB01D-EC4D-4264-AACD-46F6AF9C10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1" name="Freeform 722">
                <a:extLst>
                  <a:ext uri="{FF2B5EF4-FFF2-40B4-BE49-F238E27FC236}">
                    <a16:creationId xmlns:a16="http://schemas.microsoft.com/office/drawing/2014/main" id="{AC8E96C3-3F40-4F19-ADF4-738C6B1745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2" name="Freeform 723">
                <a:extLst>
                  <a:ext uri="{FF2B5EF4-FFF2-40B4-BE49-F238E27FC236}">
                    <a16:creationId xmlns:a16="http://schemas.microsoft.com/office/drawing/2014/main" id="{5F397537-BE6C-4A5E-889C-8F8F2EC136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77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3" name="Freeform 724">
                <a:extLst>
                  <a:ext uri="{FF2B5EF4-FFF2-40B4-BE49-F238E27FC236}">
                    <a16:creationId xmlns:a16="http://schemas.microsoft.com/office/drawing/2014/main" id="{730663AD-F404-4760-A1A3-E176412E0C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75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4" name="Freeform 725">
                <a:extLst>
                  <a:ext uri="{FF2B5EF4-FFF2-40B4-BE49-F238E27FC236}">
                    <a16:creationId xmlns:a16="http://schemas.microsoft.com/office/drawing/2014/main" id="{296FD525-6718-443C-AE24-36A1495D04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992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5" name="Freeform 726">
                <a:extLst>
                  <a:ext uri="{FF2B5EF4-FFF2-40B4-BE49-F238E27FC236}">
                    <a16:creationId xmlns:a16="http://schemas.microsoft.com/office/drawing/2014/main" id="{B90DDA5C-A6EF-4F8C-8D69-4F31FB2BED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6" name="Freeform 727">
                <a:extLst>
                  <a:ext uri="{FF2B5EF4-FFF2-40B4-BE49-F238E27FC236}">
                    <a16:creationId xmlns:a16="http://schemas.microsoft.com/office/drawing/2014/main" id="{357B100E-82A1-40FC-8773-EBC24233A8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96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7" name="Freeform 728">
                <a:extLst>
                  <a:ext uri="{FF2B5EF4-FFF2-40B4-BE49-F238E27FC236}">
                    <a16:creationId xmlns:a16="http://schemas.microsoft.com/office/drawing/2014/main" id="{7F201564-8B98-4AEC-9473-3477433629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946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8" name="Freeform 729">
                <a:extLst>
                  <a:ext uri="{FF2B5EF4-FFF2-40B4-BE49-F238E27FC236}">
                    <a16:creationId xmlns:a16="http://schemas.microsoft.com/office/drawing/2014/main" id="{BF8BEC1A-271F-47B7-A20F-190679D9C8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9" name="Freeform 730">
                <a:extLst>
                  <a:ext uri="{FF2B5EF4-FFF2-40B4-BE49-F238E27FC236}">
                    <a16:creationId xmlns:a16="http://schemas.microsoft.com/office/drawing/2014/main" id="{15C7A1BC-92A2-4A73-A891-EE350E2C07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915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0" name="Freeform 731">
                <a:extLst>
                  <a:ext uri="{FF2B5EF4-FFF2-40B4-BE49-F238E27FC236}">
                    <a16:creationId xmlns:a16="http://schemas.microsoft.com/office/drawing/2014/main" id="{704DF7E7-7AC3-4ABD-BCF2-19DCD77072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1" name="Freeform 732">
                <a:extLst>
                  <a:ext uri="{FF2B5EF4-FFF2-40B4-BE49-F238E27FC236}">
                    <a16:creationId xmlns:a16="http://schemas.microsoft.com/office/drawing/2014/main" id="{C0DC8044-7271-4C05-A6D4-CCF705F8FB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2" name="Freeform 733">
                <a:extLst>
                  <a:ext uri="{FF2B5EF4-FFF2-40B4-BE49-F238E27FC236}">
                    <a16:creationId xmlns:a16="http://schemas.microsoft.com/office/drawing/2014/main" id="{168E8E72-E6BB-4A1A-AFC2-11FAE67084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6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3" name="Freeform 734">
                <a:extLst>
                  <a:ext uri="{FF2B5EF4-FFF2-40B4-BE49-F238E27FC236}">
                    <a16:creationId xmlns:a16="http://schemas.microsoft.com/office/drawing/2014/main" id="{68DBA395-947B-49BC-894C-409B06E9F7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4" name="Freeform 735">
                <a:extLst>
                  <a:ext uri="{FF2B5EF4-FFF2-40B4-BE49-F238E27FC236}">
                    <a16:creationId xmlns:a16="http://schemas.microsoft.com/office/drawing/2014/main" id="{2153CBBA-2B74-499A-81D5-FE7BF0E0ED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5" name="Freeform 736">
                <a:extLst>
                  <a:ext uri="{FF2B5EF4-FFF2-40B4-BE49-F238E27FC236}">
                    <a16:creationId xmlns:a16="http://schemas.microsoft.com/office/drawing/2014/main" id="{DC90E3C0-7599-4816-9855-E9F5A142B6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6" name="Freeform 737">
                <a:extLst>
                  <a:ext uri="{FF2B5EF4-FFF2-40B4-BE49-F238E27FC236}">
                    <a16:creationId xmlns:a16="http://schemas.microsoft.com/office/drawing/2014/main" id="{AB16027A-B177-48BC-BFC6-64253A6B40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7" name="Freeform 738">
                <a:extLst>
                  <a:ext uri="{FF2B5EF4-FFF2-40B4-BE49-F238E27FC236}">
                    <a16:creationId xmlns:a16="http://schemas.microsoft.com/office/drawing/2014/main" id="{CF22A36E-6702-4321-881B-82368E5711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8" name="Freeform 739">
                <a:extLst>
                  <a:ext uri="{FF2B5EF4-FFF2-40B4-BE49-F238E27FC236}">
                    <a16:creationId xmlns:a16="http://schemas.microsoft.com/office/drawing/2014/main" id="{324C06D8-FEA6-42BA-84E7-3D6EA284C0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77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9" name="Freeform 740">
                <a:extLst>
                  <a:ext uri="{FF2B5EF4-FFF2-40B4-BE49-F238E27FC236}">
                    <a16:creationId xmlns:a16="http://schemas.microsoft.com/office/drawing/2014/main" id="{CBCC266A-3A6C-4B88-AC55-FCBE87928C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75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0" name="Freeform 741">
                <a:extLst>
                  <a:ext uri="{FF2B5EF4-FFF2-40B4-BE49-F238E27FC236}">
                    <a16:creationId xmlns:a16="http://schemas.microsoft.com/office/drawing/2014/main" id="{129759B7-990D-4EE3-BBB1-346C4231F2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743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1" name="Freeform 742">
                <a:extLst>
                  <a:ext uri="{FF2B5EF4-FFF2-40B4-BE49-F238E27FC236}">
                    <a16:creationId xmlns:a16="http://schemas.microsoft.com/office/drawing/2014/main" id="{1EBFC8D1-B876-4978-96BF-EC0CBD1803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975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2" name="Freeform 743">
                <a:extLst>
                  <a:ext uri="{FF2B5EF4-FFF2-40B4-BE49-F238E27FC236}">
                    <a16:creationId xmlns:a16="http://schemas.microsoft.com/office/drawing/2014/main" id="{C707144A-A412-4F75-96DC-C5A9032314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961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3" name="Freeform 744">
                <a:extLst>
                  <a:ext uri="{FF2B5EF4-FFF2-40B4-BE49-F238E27FC236}">
                    <a16:creationId xmlns:a16="http://schemas.microsoft.com/office/drawing/2014/main" id="{C9C3EB8B-FAA8-4514-A9C1-8F705B5466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94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4" name="Freeform 745">
                <a:extLst>
                  <a:ext uri="{FF2B5EF4-FFF2-40B4-BE49-F238E27FC236}">
                    <a16:creationId xmlns:a16="http://schemas.microsoft.com/office/drawing/2014/main" id="{FB8B70A3-A74D-4ADE-B195-46EF367245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5" name="Freeform 746">
                <a:extLst>
                  <a:ext uri="{FF2B5EF4-FFF2-40B4-BE49-F238E27FC236}">
                    <a16:creationId xmlns:a16="http://schemas.microsoft.com/office/drawing/2014/main" id="{6C6A90BC-F268-4AAC-A45B-A0E4369FFD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91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6" name="Freeform 747">
                <a:extLst>
                  <a:ext uri="{FF2B5EF4-FFF2-40B4-BE49-F238E27FC236}">
                    <a16:creationId xmlns:a16="http://schemas.microsoft.com/office/drawing/2014/main" id="{97B9AB94-9B3A-494E-89B2-359E6465A3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7" name="Freeform 748">
                <a:extLst>
                  <a:ext uri="{FF2B5EF4-FFF2-40B4-BE49-F238E27FC236}">
                    <a16:creationId xmlns:a16="http://schemas.microsoft.com/office/drawing/2014/main" id="{018EB92B-4C17-466B-A1F7-D9AD79D7D0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8" name="Freeform 749">
                <a:extLst>
                  <a:ext uri="{FF2B5EF4-FFF2-40B4-BE49-F238E27FC236}">
                    <a16:creationId xmlns:a16="http://schemas.microsoft.com/office/drawing/2014/main" id="{CC67AC56-A2CC-4C06-B9C8-8D91896381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9" name="Freeform 750">
                <a:extLst>
                  <a:ext uri="{FF2B5EF4-FFF2-40B4-BE49-F238E27FC236}">
                    <a16:creationId xmlns:a16="http://schemas.microsoft.com/office/drawing/2014/main" id="{E8091B68-51E0-4540-BA09-0C855F31BE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0" name="Freeform 751">
                <a:extLst>
                  <a:ext uri="{FF2B5EF4-FFF2-40B4-BE49-F238E27FC236}">
                    <a16:creationId xmlns:a16="http://schemas.microsoft.com/office/drawing/2014/main" id="{CB523D38-FC37-4FFD-A09B-89C3BA1E48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3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1" name="Freeform 752">
                <a:extLst>
                  <a:ext uri="{FF2B5EF4-FFF2-40B4-BE49-F238E27FC236}">
                    <a16:creationId xmlns:a16="http://schemas.microsoft.com/office/drawing/2014/main" id="{6B718B25-1E9F-43F8-9E8A-C2B1126A6C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820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2" name="Freeform 753">
                <a:extLst>
                  <a:ext uri="{FF2B5EF4-FFF2-40B4-BE49-F238E27FC236}">
                    <a16:creationId xmlns:a16="http://schemas.microsoft.com/office/drawing/2014/main" id="{6AF623FE-F5C3-4288-A379-B1820D1A22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0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3" name="Freeform 754">
                <a:extLst>
                  <a:ext uri="{FF2B5EF4-FFF2-40B4-BE49-F238E27FC236}">
                    <a16:creationId xmlns:a16="http://schemas.microsoft.com/office/drawing/2014/main" id="{9ED462BB-FDE3-4E98-951F-AA4716108D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788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4" name="Freeform 755">
                <a:extLst>
                  <a:ext uri="{FF2B5EF4-FFF2-40B4-BE49-F238E27FC236}">
                    <a16:creationId xmlns:a16="http://schemas.microsoft.com/office/drawing/2014/main" id="{CD82D45C-0FAF-45B5-92B9-DE57830741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77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5" name="Freeform 756">
                <a:extLst>
                  <a:ext uri="{FF2B5EF4-FFF2-40B4-BE49-F238E27FC236}">
                    <a16:creationId xmlns:a16="http://schemas.microsoft.com/office/drawing/2014/main" id="{57336779-4380-4A7F-8077-3A61454BEB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75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6" name="Freeform 757">
                <a:extLst>
                  <a:ext uri="{FF2B5EF4-FFF2-40B4-BE49-F238E27FC236}">
                    <a16:creationId xmlns:a16="http://schemas.microsoft.com/office/drawing/2014/main" id="{A5FB7ADB-A659-4CDB-A2B1-9E40CB3C72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7" name="Freeform 758">
                <a:extLst>
                  <a:ext uri="{FF2B5EF4-FFF2-40B4-BE49-F238E27FC236}">
                    <a16:creationId xmlns:a16="http://schemas.microsoft.com/office/drawing/2014/main" id="{B0D1583F-DBF2-4FDC-A255-91C74A4243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8" name="Freeform 759">
                <a:extLst>
                  <a:ext uri="{FF2B5EF4-FFF2-40B4-BE49-F238E27FC236}">
                    <a16:creationId xmlns:a16="http://schemas.microsoft.com/office/drawing/2014/main" id="{F1B79414-B28A-495A-99C0-7C5B064EA2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961"/>
                <a:ext cx="15" cy="8"/>
              </a:xfrm>
              <a:custGeom>
                <a:avLst/>
                <a:gdLst>
                  <a:gd name="T0" fmla="*/ 1 w 7"/>
                  <a:gd name="T1" fmla="*/ 1 h 4"/>
                  <a:gd name="T2" fmla="*/ 6 w 7"/>
                  <a:gd name="T3" fmla="*/ 1 h 4"/>
                  <a:gd name="T4" fmla="*/ 6 w 7"/>
                  <a:gd name="T5" fmla="*/ 4 h 4"/>
                  <a:gd name="T6" fmla="*/ 1 w 7"/>
                  <a:gd name="T7" fmla="*/ 4 h 4"/>
                  <a:gd name="T8" fmla="*/ 1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9" name="Freeform 760">
                <a:extLst>
                  <a:ext uri="{FF2B5EF4-FFF2-40B4-BE49-F238E27FC236}">
                    <a16:creationId xmlns:a16="http://schemas.microsoft.com/office/drawing/2014/main" id="{1B3F4334-34E8-4C69-8AF5-606B8CC517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94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0" name="Freeform 761">
                <a:extLst>
                  <a:ext uri="{FF2B5EF4-FFF2-40B4-BE49-F238E27FC236}">
                    <a16:creationId xmlns:a16="http://schemas.microsoft.com/office/drawing/2014/main" id="{EA1266EA-4F24-4EAF-B975-BF817215CB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1" name="Freeform 762">
                <a:extLst>
                  <a:ext uri="{FF2B5EF4-FFF2-40B4-BE49-F238E27FC236}">
                    <a16:creationId xmlns:a16="http://schemas.microsoft.com/office/drawing/2014/main" id="{F05C0EB4-E47C-47D9-8D11-BD60CDC991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91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2" name="Freeform 763">
                <a:extLst>
                  <a:ext uri="{FF2B5EF4-FFF2-40B4-BE49-F238E27FC236}">
                    <a16:creationId xmlns:a16="http://schemas.microsoft.com/office/drawing/2014/main" id="{3FB46AED-AA94-4FA8-A00F-E5289F8DD7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3" name="Freeform 764">
                <a:extLst>
                  <a:ext uri="{FF2B5EF4-FFF2-40B4-BE49-F238E27FC236}">
                    <a16:creationId xmlns:a16="http://schemas.microsoft.com/office/drawing/2014/main" id="{57E7F55F-516D-48A2-98B5-857DD7A8C2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4" name="Freeform 765">
                <a:extLst>
                  <a:ext uri="{FF2B5EF4-FFF2-40B4-BE49-F238E27FC236}">
                    <a16:creationId xmlns:a16="http://schemas.microsoft.com/office/drawing/2014/main" id="{2773A66B-CA82-4867-8F52-003B448FD1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5" name="Freeform 766">
                <a:extLst>
                  <a:ext uri="{FF2B5EF4-FFF2-40B4-BE49-F238E27FC236}">
                    <a16:creationId xmlns:a16="http://schemas.microsoft.com/office/drawing/2014/main" id="{A5DA1FF0-35C2-4101-8F10-29FDF9DF7D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6" name="Freeform 767">
                <a:extLst>
                  <a:ext uri="{FF2B5EF4-FFF2-40B4-BE49-F238E27FC236}">
                    <a16:creationId xmlns:a16="http://schemas.microsoft.com/office/drawing/2014/main" id="{B7525B07-9F82-4CC5-817E-F0D8BA844F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3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7" name="Freeform 768">
                <a:extLst>
                  <a:ext uri="{FF2B5EF4-FFF2-40B4-BE49-F238E27FC236}">
                    <a16:creationId xmlns:a16="http://schemas.microsoft.com/office/drawing/2014/main" id="{9E1FEA67-9325-443E-AFD2-BA36ED2EFD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82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8" name="Freeform 769">
                <a:extLst>
                  <a:ext uri="{FF2B5EF4-FFF2-40B4-BE49-F238E27FC236}">
                    <a16:creationId xmlns:a16="http://schemas.microsoft.com/office/drawing/2014/main" id="{F594D961-AB63-4782-A0F3-CDAC179F46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0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9" name="Freeform 770">
                <a:extLst>
                  <a:ext uri="{FF2B5EF4-FFF2-40B4-BE49-F238E27FC236}">
                    <a16:creationId xmlns:a16="http://schemas.microsoft.com/office/drawing/2014/main" id="{EE69E771-BF01-4C29-A453-7D57AAFBB5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788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0" name="Freeform 771">
                <a:extLst>
                  <a:ext uri="{FF2B5EF4-FFF2-40B4-BE49-F238E27FC236}">
                    <a16:creationId xmlns:a16="http://schemas.microsoft.com/office/drawing/2014/main" id="{47BA4D87-7757-4F42-A05C-DBC17E4414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77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1" name="Freeform 772">
                <a:extLst>
                  <a:ext uri="{FF2B5EF4-FFF2-40B4-BE49-F238E27FC236}">
                    <a16:creationId xmlns:a16="http://schemas.microsoft.com/office/drawing/2014/main" id="{B41F08E1-D4D5-4B68-B020-556EA16BCF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75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2" name="Freeform 773">
                <a:extLst>
                  <a:ext uri="{FF2B5EF4-FFF2-40B4-BE49-F238E27FC236}">
                    <a16:creationId xmlns:a16="http://schemas.microsoft.com/office/drawing/2014/main" id="{3F677D28-49A7-4BA0-9632-3AF4A13943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3" name="Freeform 774">
                <a:extLst>
                  <a:ext uri="{FF2B5EF4-FFF2-40B4-BE49-F238E27FC236}">
                    <a16:creationId xmlns:a16="http://schemas.microsoft.com/office/drawing/2014/main" id="{0EDBA451-BAC5-4E26-963B-C6B62874CB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4" name="Freeform 775">
                <a:extLst>
                  <a:ext uri="{FF2B5EF4-FFF2-40B4-BE49-F238E27FC236}">
                    <a16:creationId xmlns:a16="http://schemas.microsoft.com/office/drawing/2014/main" id="{8B15C375-17E8-4A1B-9E39-9E904D9AF7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71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5" name="Freeform 776">
                <a:extLst>
                  <a:ext uri="{FF2B5EF4-FFF2-40B4-BE49-F238E27FC236}">
                    <a16:creationId xmlns:a16="http://schemas.microsoft.com/office/drawing/2014/main" id="{4999E735-7B92-4EF2-B477-2E9DB139A4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1944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6" name="Freeform 777">
                <a:extLst>
                  <a:ext uri="{FF2B5EF4-FFF2-40B4-BE49-F238E27FC236}">
                    <a16:creationId xmlns:a16="http://schemas.microsoft.com/office/drawing/2014/main" id="{17251FCD-6092-4A6F-BFB6-6AF3DEC654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7" name="Freeform 778">
                <a:extLst>
                  <a:ext uri="{FF2B5EF4-FFF2-40B4-BE49-F238E27FC236}">
                    <a16:creationId xmlns:a16="http://schemas.microsoft.com/office/drawing/2014/main" id="{987BBA0E-871E-4C15-BE34-CEED303D03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91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8" name="Freeform 779">
                <a:extLst>
                  <a:ext uri="{FF2B5EF4-FFF2-40B4-BE49-F238E27FC236}">
                    <a16:creationId xmlns:a16="http://schemas.microsoft.com/office/drawing/2014/main" id="{417A8066-F2AC-4BE7-A54E-5029807FA0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9" name="Freeform 780">
                <a:extLst>
                  <a:ext uri="{FF2B5EF4-FFF2-40B4-BE49-F238E27FC236}">
                    <a16:creationId xmlns:a16="http://schemas.microsoft.com/office/drawing/2014/main" id="{EFF157FA-9091-4C7E-A073-868EF3CE5E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0" name="Freeform 781">
                <a:extLst>
                  <a:ext uri="{FF2B5EF4-FFF2-40B4-BE49-F238E27FC236}">
                    <a16:creationId xmlns:a16="http://schemas.microsoft.com/office/drawing/2014/main" id="{0A2FEB05-DCF9-4CB9-AF81-FD650C861D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1" name="Freeform 782">
                <a:extLst>
                  <a:ext uri="{FF2B5EF4-FFF2-40B4-BE49-F238E27FC236}">
                    <a16:creationId xmlns:a16="http://schemas.microsoft.com/office/drawing/2014/main" id="{01731BBC-7D40-44A8-81CE-B5B5CA6F9B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2" name="Freeform 783">
                <a:extLst>
                  <a:ext uri="{FF2B5EF4-FFF2-40B4-BE49-F238E27FC236}">
                    <a16:creationId xmlns:a16="http://schemas.microsoft.com/office/drawing/2014/main" id="{C2225018-C55B-4EF6-BCE1-AE2411EDAA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3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3" name="Freeform 784">
                <a:extLst>
                  <a:ext uri="{FF2B5EF4-FFF2-40B4-BE49-F238E27FC236}">
                    <a16:creationId xmlns:a16="http://schemas.microsoft.com/office/drawing/2014/main" id="{CD7C1FBA-521D-49D0-9165-0A9E9AED17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82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4" name="Freeform 785">
                <a:extLst>
                  <a:ext uri="{FF2B5EF4-FFF2-40B4-BE49-F238E27FC236}">
                    <a16:creationId xmlns:a16="http://schemas.microsoft.com/office/drawing/2014/main" id="{B6F303BF-AC14-474F-98AB-CF42C35EE7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0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5" name="Freeform 786">
                <a:extLst>
                  <a:ext uri="{FF2B5EF4-FFF2-40B4-BE49-F238E27FC236}">
                    <a16:creationId xmlns:a16="http://schemas.microsoft.com/office/drawing/2014/main" id="{EAC8C73F-5785-4556-AA47-DEAD70C1C3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78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6" name="Freeform 787">
                <a:extLst>
                  <a:ext uri="{FF2B5EF4-FFF2-40B4-BE49-F238E27FC236}">
                    <a16:creationId xmlns:a16="http://schemas.microsoft.com/office/drawing/2014/main" id="{6E493174-3ACE-4636-B8AE-82CE94054B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77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7" name="Freeform 788">
                <a:extLst>
                  <a:ext uri="{FF2B5EF4-FFF2-40B4-BE49-F238E27FC236}">
                    <a16:creationId xmlns:a16="http://schemas.microsoft.com/office/drawing/2014/main" id="{60B3D527-D9CF-46F2-9D44-84DB53C0FF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75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8" name="Freeform 789">
                <a:extLst>
                  <a:ext uri="{FF2B5EF4-FFF2-40B4-BE49-F238E27FC236}">
                    <a16:creationId xmlns:a16="http://schemas.microsoft.com/office/drawing/2014/main" id="{ADD355E6-10D6-4415-A5E2-2527C6CEC7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9" name="Freeform 790">
                <a:extLst>
                  <a:ext uri="{FF2B5EF4-FFF2-40B4-BE49-F238E27FC236}">
                    <a16:creationId xmlns:a16="http://schemas.microsoft.com/office/drawing/2014/main" id="{543A2E8E-5793-440C-94FE-681AEB2C04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0" name="Freeform 791">
                <a:extLst>
                  <a:ext uri="{FF2B5EF4-FFF2-40B4-BE49-F238E27FC236}">
                    <a16:creationId xmlns:a16="http://schemas.microsoft.com/office/drawing/2014/main" id="{6539CD90-B2F7-4334-829E-C7EA69D9C8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71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1" name="Freeform 792">
                <a:extLst>
                  <a:ext uri="{FF2B5EF4-FFF2-40B4-BE49-F238E27FC236}">
                    <a16:creationId xmlns:a16="http://schemas.microsoft.com/office/drawing/2014/main" id="{F3B1A2F7-AF8A-4ECD-A1C1-50DACCD5F7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69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2" name="Freeform 793">
                <a:extLst>
                  <a:ext uri="{FF2B5EF4-FFF2-40B4-BE49-F238E27FC236}">
                    <a16:creationId xmlns:a16="http://schemas.microsoft.com/office/drawing/2014/main" id="{B2D9AB1F-2385-45A8-AF8A-7F05FA6286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1930"/>
                <a:ext cx="15" cy="8"/>
              </a:xfrm>
              <a:custGeom>
                <a:avLst/>
                <a:gdLst>
                  <a:gd name="T0" fmla="*/ 1 w 7"/>
                  <a:gd name="T1" fmla="*/ 1 h 4"/>
                  <a:gd name="T2" fmla="*/ 6 w 7"/>
                  <a:gd name="T3" fmla="*/ 1 h 4"/>
                  <a:gd name="T4" fmla="*/ 6 w 7"/>
                  <a:gd name="T5" fmla="*/ 4 h 4"/>
                  <a:gd name="T6" fmla="*/ 1 w 7"/>
                  <a:gd name="T7" fmla="*/ 4 h 4"/>
                  <a:gd name="T8" fmla="*/ 1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3" name="Freeform 794">
                <a:extLst>
                  <a:ext uri="{FF2B5EF4-FFF2-40B4-BE49-F238E27FC236}">
                    <a16:creationId xmlns:a16="http://schemas.microsoft.com/office/drawing/2014/main" id="{6A633C0C-913C-4477-B819-DEEC63F355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1913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  <a:gd name="T10" fmla="*/ 1 w 7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4" name="Freeform 795">
                <a:extLst>
                  <a:ext uri="{FF2B5EF4-FFF2-40B4-BE49-F238E27FC236}">
                    <a16:creationId xmlns:a16="http://schemas.microsoft.com/office/drawing/2014/main" id="{ECB73854-D235-41B4-97C9-02AC3AAF85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5" name="Freeform 796">
                <a:extLst>
                  <a:ext uri="{FF2B5EF4-FFF2-40B4-BE49-F238E27FC236}">
                    <a16:creationId xmlns:a16="http://schemas.microsoft.com/office/drawing/2014/main" id="{71C1B3E4-2E2E-4154-ADBA-C43C5F600F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6" name="Freeform 797">
                <a:extLst>
                  <a:ext uri="{FF2B5EF4-FFF2-40B4-BE49-F238E27FC236}">
                    <a16:creationId xmlns:a16="http://schemas.microsoft.com/office/drawing/2014/main" id="{B6B44913-5681-4E9C-9ACA-89B408D833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7" name="Freeform 798">
                <a:extLst>
                  <a:ext uri="{FF2B5EF4-FFF2-40B4-BE49-F238E27FC236}">
                    <a16:creationId xmlns:a16="http://schemas.microsoft.com/office/drawing/2014/main" id="{D3120595-A0F7-426C-996C-4A20B52E87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8" name="Freeform 799">
                <a:extLst>
                  <a:ext uri="{FF2B5EF4-FFF2-40B4-BE49-F238E27FC236}">
                    <a16:creationId xmlns:a16="http://schemas.microsoft.com/office/drawing/2014/main" id="{462CF9F5-7AF0-4295-8B5B-9025A7DD17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83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9" name="Freeform 800">
                <a:extLst>
                  <a:ext uri="{FF2B5EF4-FFF2-40B4-BE49-F238E27FC236}">
                    <a16:creationId xmlns:a16="http://schemas.microsoft.com/office/drawing/2014/main" id="{BDA7736E-3948-4014-A3ED-09C126EBBF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82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0" name="Freeform 801">
                <a:extLst>
                  <a:ext uri="{FF2B5EF4-FFF2-40B4-BE49-F238E27FC236}">
                    <a16:creationId xmlns:a16="http://schemas.microsoft.com/office/drawing/2014/main" id="{6EC4B285-AFC4-459D-96DF-B57DC8F903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0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1" name="Freeform 802">
                <a:extLst>
                  <a:ext uri="{FF2B5EF4-FFF2-40B4-BE49-F238E27FC236}">
                    <a16:creationId xmlns:a16="http://schemas.microsoft.com/office/drawing/2014/main" id="{C888CF8B-8B52-4EFB-A7F8-AFA962B7BB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78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2" name="Freeform 803">
                <a:extLst>
                  <a:ext uri="{FF2B5EF4-FFF2-40B4-BE49-F238E27FC236}">
                    <a16:creationId xmlns:a16="http://schemas.microsoft.com/office/drawing/2014/main" id="{8C70E0B8-CC3A-4709-8538-1C4308BA83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77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3" name="Freeform 804">
                <a:extLst>
                  <a:ext uri="{FF2B5EF4-FFF2-40B4-BE49-F238E27FC236}">
                    <a16:creationId xmlns:a16="http://schemas.microsoft.com/office/drawing/2014/main" id="{E46DCAE2-CF60-4C39-91DF-AAFD049E3B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75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4" name="Freeform 805">
                <a:extLst>
                  <a:ext uri="{FF2B5EF4-FFF2-40B4-BE49-F238E27FC236}">
                    <a16:creationId xmlns:a16="http://schemas.microsoft.com/office/drawing/2014/main" id="{79021999-794F-4B99-8809-FEAA50ECBA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5" name="Freeform 806">
                <a:extLst>
                  <a:ext uri="{FF2B5EF4-FFF2-40B4-BE49-F238E27FC236}">
                    <a16:creationId xmlns:a16="http://schemas.microsoft.com/office/drawing/2014/main" id="{159B4F77-F4E0-4AED-9415-6D9F6C2D02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6" name="Freeform 807">
                <a:extLst>
                  <a:ext uri="{FF2B5EF4-FFF2-40B4-BE49-F238E27FC236}">
                    <a16:creationId xmlns:a16="http://schemas.microsoft.com/office/drawing/2014/main" id="{71B65F3E-BB39-47FA-B970-23D4F417F4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712"/>
                <a:ext cx="14" cy="8"/>
              </a:xfrm>
              <a:custGeom>
                <a:avLst/>
                <a:gdLst>
                  <a:gd name="T0" fmla="*/ 1 w 7"/>
                  <a:gd name="T1" fmla="*/ 1 h 4"/>
                  <a:gd name="T2" fmla="*/ 6 w 7"/>
                  <a:gd name="T3" fmla="*/ 1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1 h 4"/>
                  <a:gd name="T10" fmla="*/ 1 w 7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10" name="Group 1009">
              <a:extLst>
                <a:ext uri="{FF2B5EF4-FFF2-40B4-BE49-F238E27FC236}">
                  <a16:creationId xmlns:a16="http://schemas.microsoft.com/office/drawing/2014/main" id="{B3E71580-DCC9-42B1-AB24-9CB0E46AED6E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910824" y="2473323"/>
              <a:ext cx="4287857" cy="2837334"/>
              <a:chOff x="4739" y="1508"/>
              <a:chExt cx="2019" cy="1336"/>
            </a:xfrm>
          </p:grpSpPr>
          <p:sp>
            <p:nvSpPr>
              <p:cNvPr id="807" name="Freeform 809">
                <a:extLst>
                  <a:ext uri="{FF2B5EF4-FFF2-40B4-BE49-F238E27FC236}">
                    <a16:creationId xmlns:a16="http://schemas.microsoft.com/office/drawing/2014/main" id="{9AF7FDA9-EF58-4D82-919D-E08D345F26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695"/>
                <a:ext cx="14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  <a:gd name="T10" fmla="*/ 1 w 7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8" name="Freeform 810">
                <a:extLst>
                  <a:ext uri="{FF2B5EF4-FFF2-40B4-BE49-F238E27FC236}">
                    <a16:creationId xmlns:a16="http://schemas.microsoft.com/office/drawing/2014/main" id="{26939AEF-0968-4F56-A9D8-65C6269814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680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6 w 7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9" name="Freeform 811">
                <a:extLst>
                  <a:ext uri="{FF2B5EF4-FFF2-40B4-BE49-F238E27FC236}">
                    <a16:creationId xmlns:a16="http://schemas.microsoft.com/office/drawing/2014/main" id="{105AD4FD-74E5-4FB1-A0EE-987E898678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78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6 w 7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0" name="Freeform 812">
                <a:extLst>
                  <a:ext uri="{FF2B5EF4-FFF2-40B4-BE49-F238E27FC236}">
                    <a16:creationId xmlns:a16="http://schemas.microsoft.com/office/drawing/2014/main" id="{C528BDB1-9366-4A12-B7CC-EBE19322D8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77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6 w 7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1" name="Freeform 813">
                <a:extLst>
                  <a:ext uri="{FF2B5EF4-FFF2-40B4-BE49-F238E27FC236}">
                    <a16:creationId xmlns:a16="http://schemas.microsoft.com/office/drawing/2014/main" id="{33DA64CD-E0AD-4E97-838C-86A801B8FC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78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2" name="Freeform 814">
                <a:extLst>
                  <a:ext uri="{FF2B5EF4-FFF2-40B4-BE49-F238E27FC236}">
                    <a16:creationId xmlns:a16="http://schemas.microsoft.com/office/drawing/2014/main" id="{3B7602A9-E426-411D-AA0E-44E5C350CE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77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3" name="Freeform 815">
                <a:extLst>
                  <a:ext uri="{FF2B5EF4-FFF2-40B4-BE49-F238E27FC236}">
                    <a16:creationId xmlns:a16="http://schemas.microsoft.com/office/drawing/2014/main" id="{0B5A65ED-5FD8-4DBA-94A9-3F6A704199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75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4" name="Freeform 816">
                <a:extLst>
                  <a:ext uri="{FF2B5EF4-FFF2-40B4-BE49-F238E27FC236}">
                    <a16:creationId xmlns:a16="http://schemas.microsoft.com/office/drawing/2014/main" id="{7232BAB4-551B-4B66-92A7-AEE69F54CA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74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5" name="Freeform 817">
                <a:extLst>
                  <a:ext uri="{FF2B5EF4-FFF2-40B4-BE49-F238E27FC236}">
                    <a16:creationId xmlns:a16="http://schemas.microsoft.com/office/drawing/2014/main" id="{63A8443F-0CD7-4C8F-8F59-E79B824617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72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6" name="Freeform 818">
                <a:extLst>
                  <a:ext uri="{FF2B5EF4-FFF2-40B4-BE49-F238E27FC236}">
                    <a16:creationId xmlns:a16="http://schemas.microsoft.com/office/drawing/2014/main" id="{0205610A-1327-4096-9271-76CFFBC49A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7" name="Freeform 819">
                <a:extLst>
                  <a:ext uri="{FF2B5EF4-FFF2-40B4-BE49-F238E27FC236}">
                    <a16:creationId xmlns:a16="http://schemas.microsoft.com/office/drawing/2014/main" id="{034E7FB3-766A-427D-9C5B-758FF56D95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8" name="Freeform 820">
                <a:extLst>
                  <a:ext uri="{FF2B5EF4-FFF2-40B4-BE49-F238E27FC236}">
                    <a16:creationId xmlns:a16="http://schemas.microsoft.com/office/drawing/2014/main" id="{60670EC4-93EA-4723-B79B-3181D88C50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9" name="Freeform 821">
                <a:extLst>
                  <a:ext uri="{FF2B5EF4-FFF2-40B4-BE49-F238E27FC236}">
                    <a16:creationId xmlns:a16="http://schemas.microsoft.com/office/drawing/2014/main" id="{96F32203-E40B-4EBA-86A6-E8811A2B67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0" name="Freeform 822">
                <a:extLst>
                  <a:ext uri="{FF2B5EF4-FFF2-40B4-BE49-F238E27FC236}">
                    <a16:creationId xmlns:a16="http://schemas.microsoft.com/office/drawing/2014/main" id="{5C99E09C-178F-4A8A-9AEE-2112EA0F5F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1" name="Freeform 823">
                <a:extLst>
                  <a:ext uri="{FF2B5EF4-FFF2-40B4-BE49-F238E27FC236}">
                    <a16:creationId xmlns:a16="http://schemas.microsoft.com/office/drawing/2014/main" id="{943C168B-662C-4E2E-AB50-1BA0FB1E10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2" name="Freeform 824">
                <a:extLst>
                  <a:ext uri="{FF2B5EF4-FFF2-40B4-BE49-F238E27FC236}">
                    <a16:creationId xmlns:a16="http://schemas.microsoft.com/office/drawing/2014/main" id="{9ED8F3DA-D215-4123-B3C6-0A060718F2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3" name="Freeform 825">
                <a:extLst>
                  <a:ext uri="{FF2B5EF4-FFF2-40B4-BE49-F238E27FC236}">
                    <a16:creationId xmlns:a16="http://schemas.microsoft.com/office/drawing/2014/main" id="{5FF8F560-FF2D-4B3B-AAC2-53088E1178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601"/>
                <a:ext cx="17" cy="11"/>
              </a:xfrm>
              <a:custGeom>
                <a:avLst/>
                <a:gdLst>
                  <a:gd name="T0" fmla="*/ 6 w 8"/>
                  <a:gd name="T1" fmla="*/ 4 h 5"/>
                  <a:gd name="T2" fmla="*/ 1 w 8"/>
                  <a:gd name="T3" fmla="*/ 4 h 5"/>
                  <a:gd name="T4" fmla="*/ 1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4" name="Freeform 826">
                <a:extLst>
                  <a:ext uri="{FF2B5EF4-FFF2-40B4-BE49-F238E27FC236}">
                    <a16:creationId xmlns:a16="http://schemas.microsoft.com/office/drawing/2014/main" id="{7B63990D-2FCA-4334-B0D2-86CAA498C8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774"/>
                <a:ext cx="17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5" name="Freeform 827">
                <a:extLst>
                  <a:ext uri="{FF2B5EF4-FFF2-40B4-BE49-F238E27FC236}">
                    <a16:creationId xmlns:a16="http://schemas.microsoft.com/office/drawing/2014/main" id="{1F3DD0D2-0136-4EBD-910F-D560DCBE47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75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6" name="Freeform 828">
                <a:extLst>
                  <a:ext uri="{FF2B5EF4-FFF2-40B4-BE49-F238E27FC236}">
                    <a16:creationId xmlns:a16="http://schemas.microsoft.com/office/drawing/2014/main" id="{55FE11A3-9CD3-4356-803C-769C053984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74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7" name="Freeform 829">
                <a:extLst>
                  <a:ext uri="{FF2B5EF4-FFF2-40B4-BE49-F238E27FC236}">
                    <a16:creationId xmlns:a16="http://schemas.microsoft.com/office/drawing/2014/main" id="{2131A16E-713C-44C6-A067-5551A666E4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72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8" name="Freeform 830">
                <a:extLst>
                  <a:ext uri="{FF2B5EF4-FFF2-40B4-BE49-F238E27FC236}">
                    <a16:creationId xmlns:a16="http://schemas.microsoft.com/office/drawing/2014/main" id="{6B3E3A67-ED87-4DD8-AE6D-905A8E0B88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9" name="Freeform 831">
                <a:extLst>
                  <a:ext uri="{FF2B5EF4-FFF2-40B4-BE49-F238E27FC236}">
                    <a16:creationId xmlns:a16="http://schemas.microsoft.com/office/drawing/2014/main" id="{BC19A0B6-E873-4D74-B72A-BEA14D5678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0" name="Freeform 832">
                <a:extLst>
                  <a:ext uri="{FF2B5EF4-FFF2-40B4-BE49-F238E27FC236}">
                    <a16:creationId xmlns:a16="http://schemas.microsoft.com/office/drawing/2014/main" id="{C59F7E25-3726-4933-A7F9-6F8416BAE4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1" name="Freeform 833">
                <a:extLst>
                  <a:ext uri="{FF2B5EF4-FFF2-40B4-BE49-F238E27FC236}">
                    <a16:creationId xmlns:a16="http://schemas.microsoft.com/office/drawing/2014/main" id="{62C3863F-1FA9-4DB7-8A0C-A74D2BA912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2" name="Freeform 834">
                <a:extLst>
                  <a:ext uri="{FF2B5EF4-FFF2-40B4-BE49-F238E27FC236}">
                    <a16:creationId xmlns:a16="http://schemas.microsoft.com/office/drawing/2014/main" id="{DC1FC2ED-6BBF-4DE2-A886-7052825C6A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3" name="Freeform 835">
                <a:extLst>
                  <a:ext uri="{FF2B5EF4-FFF2-40B4-BE49-F238E27FC236}">
                    <a16:creationId xmlns:a16="http://schemas.microsoft.com/office/drawing/2014/main" id="{663A8AC6-6A21-4D5B-82BD-F10123972F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4" name="Freeform 836">
                <a:extLst>
                  <a:ext uri="{FF2B5EF4-FFF2-40B4-BE49-F238E27FC236}">
                    <a16:creationId xmlns:a16="http://schemas.microsoft.com/office/drawing/2014/main" id="{B99889E4-6127-4C3A-A1A8-2B7DBD3274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5" name="Freeform 837">
                <a:extLst>
                  <a:ext uri="{FF2B5EF4-FFF2-40B4-BE49-F238E27FC236}">
                    <a16:creationId xmlns:a16="http://schemas.microsoft.com/office/drawing/2014/main" id="{95278BFB-7B81-48C9-A087-D2CA4F0B45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6" name="Freeform 838">
                <a:extLst>
                  <a:ext uri="{FF2B5EF4-FFF2-40B4-BE49-F238E27FC236}">
                    <a16:creationId xmlns:a16="http://schemas.microsoft.com/office/drawing/2014/main" id="{80FD7827-D8E4-4446-B6A1-CB0F53D19D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757"/>
                <a:ext cx="16" cy="11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7" name="Freeform 839">
                <a:extLst>
                  <a:ext uri="{FF2B5EF4-FFF2-40B4-BE49-F238E27FC236}">
                    <a16:creationId xmlns:a16="http://schemas.microsoft.com/office/drawing/2014/main" id="{62ABB340-C974-45C0-9AB7-4666A9DA6D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74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8" name="Freeform 840">
                <a:extLst>
                  <a:ext uri="{FF2B5EF4-FFF2-40B4-BE49-F238E27FC236}">
                    <a16:creationId xmlns:a16="http://schemas.microsoft.com/office/drawing/2014/main" id="{956E9E94-F398-4563-9731-7BDC740A33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72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9" name="Freeform 841">
                <a:extLst>
                  <a:ext uri="{FF2B5EF4-FFF2-40B4-BE49-F238E27FC236}">
                    <a16:creationId xmlns:a16="http://schemas.microsoft.com/office/drawing/2014/main" id="{29712F81-AE08-4E38-A3C7-A602E75505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0" name="Freeform 842">
                <a:extLst>
                  <a:ext uri="{FF2B5EF4-FFF2-40B4-BE49-F238E27FC236}">
                    <a16:creationId xmlns:a16="http://schemas.microsoft.com/office/drawing/2014/main" id="{A8DA7FB7-2A2B-4F8A-AC95-F4AF870BA1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1" name="Freeform 843">
                <a:extLst>
                  <a:ext uri="{FF2B5EF4-FFF2-40B4-BE49-F238E27FC236}">
                    <a16:creationId xmlns:a16="http://schemas.microsoft.com/office/drawing/2014/main" id="{32681886-83A2-48E8-BCF2-65CBAB52F5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2" name="Freeform 844">
                <a:extLst>
                  <a:ext uri="{FF2B5EF4-FFF2-40B4-BE49-F238E27FC236}">
                    <a16:creationId xmlns:a16="http://schemas.microsoft.com/office/drawing/2014/main" id="{E9B71934-F7E4-4267-8F42-A63C754586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3" name="Freeform 845">
                <a:extLst>
                  <a:ext uri="{FF2B5EF4-FFF2-40B4-BE49-F238E27FC236}">
                    <a16:creationId xmlns:a16="http://schemas.microsoft.com/office/drawing/2014/main" id="{F9C2F1CE-1505-414E-BCA8-3FC1BB1FE5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4" name="Freeform 846">
                <a:extLst>
                  <a:ext uri="{FF2B5EF4-FFF2-40B4-BE49-F238E27FC236}">
                    <a16:creationId xmlns:a16="http://schemas.microsoft.com/office/drawing/2014/main" id="{31105073-2E1B-4403-903D-A2CC79CCDB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5" name="Freeform 847">
                <a:extLst>
                  <a:ext uri="{FF2B5EF4-FFF2-40B4-BE49-F238E27FC236}">
                    <a16:creationId xmlns:a16="http://schemas.microsoft.com/office/drawing/2014/main" id="{F4A8ABB6-DDDD-407F-BECC-FE5726E106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6" name="Freeform 848">
                <a:extLst>
                  <a:ext uri="{FF2B5EF4-FFF2-40B4-BE49-F238E27FC236}">
                    <a16:creationId xmlns:a16="http://schemas.microsoft.com/office/drawing/2014/main" id="{98216BE2-E5B1-40A3-92CB-BF745B7900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7" name="Freeform 849">
                <a:extLst>
                  <a:ext uri="{FF2B5EF4-FFF2-40B4-BE49-F238E27FC236}">
                    <a16:creationId xmlns:a16="http://schemas.microsoft.com/office/drawing/2014/main" id="{A83A9DB9-167C-4EAE-B220-597580D26D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8" name="Freeform 850">
                <a:extLst>
                  <a:ext uri="{FF2B5EF4-FFF2-40B4-BE49-F238E27FC236}">
                    <a16:creationId xmlns:a16="http://schemas.microsoft.com/office/drawing/2014/main" id="{6B6D033B-EF9A-4FD3-8FFE-44373A212C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743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9" name="Freeform 851">
                <a:extLst>
                  <a:ext uri="{FF2B5EF4-FFF2-40B4-BE49-F238E27FC236}">
                    <a16:creationId xmlns:a16="http://schemas.microsoft.com/office/drawing/2014/main" id="{F8C56D8C-719C-4365-8190-4062CDAA05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72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0" name="Freeform 852">
                <a:extLst>
                  <a:ext uri="{FF2B5EF4-FFF2-40B4-BE49-F238E27FC236}">
                    <a16:creationId xmlns:a16="http://schemas.microsoft.com/office/drawing/2014/main" id="{DA13FBB4-4EDF-48FB-A0A6-E57EBE3D24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1" name="Freeform 853">
                <a:extLst>
                  <a:ext uri="{FF2B5EF4-FFF2-40B4-BE49-F238E27FC236}">
                    <a16:creationId xmlns:a16="http://schemas.microsoft.com/office/drawing/2014/main" id="{134D7AFF-CBC6-4323-9735-509B65BFB7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2" name="Freeform 854">
                <a:extLst>
                  <a:ext uri="{FF2B5EF4-FFF2-40B4-BE49-F238E27FC236}">
                    <a16:creationId xmlns:a16="http://schemas.microsoft.com/office/drawing/2014/main" id="{0BC666B5-01A6-4454-938E-9A667058AB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3" name="Freeform 855">
                <a:extLst>
                  <a:ext uri="{FF2B5EF4-FFF2-40B4-BE49-F238E27FC236}">
                    <a16:creationId xmlns:a16="http://schemas.microsoft.com/office/drawing/2014/main" id="{7D0342B4-6EEB-405C-9344-CB8D323FA7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4" name="Freeform 856">
                <a:extLst>
                  <a:ext uri="{FF2B5EF4-FFF2-40B4-BE49-F238E27FC236}">
                    <a16:creationId xmlns:a16="http://schemas.microsoft.com/office/drawing/2014/main" id="{871FBB82-4C6F-4202-B519-9232C871F9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5" name="Freeform 857">
                <a:extLst>
                  <a:ext uri="{FF2B5EF4-FFF2-40B4-BE49-F238E27FC236}">
                    <a16:creationId xmlns:a16="http://schemas.microsoft.com/office/drawing/2014/main" id="{CE819FC2-35B7-4B26-AA6E-067EBC97C6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6" name="Freeform 858">
                <a:extLst>
                  <a:ext uri="{FF2B5EF4-FFF2-40B4-BE49-F238E27FC236}">
                    <a16:creationId xmlns:a16="http://schemas.microsoft.com/office/drawing/2014/main" id="{91843C8F-FAA1-447D-83A6-062D8FE3D2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7" name="Freeform 859">
                <a:extLst>
                  <a:ext uri="{FF2B5EF4-FFF2-40B4-BE49-F238E27FC236}">
                    <a16:creationId xmlns:a16="http://schemas.microsoft.com/office/drawing/2014/main" id="{815C1D94-CBE2-4273-8580-9D7F7D65E2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8" name="Freeform 860">
                <a:extLst>
                  <a:ext uri="{FF2B5EF4-FFF2-40B4-BE49-F238E27FC236}">
                    <a16:creationId xmlns:a16="http://schemas.microsoft.com/office/drawing/2014/main" id="{C0DBF1CF-C944-4B29-B925-2507648921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9" name="Freeform 861">
                <a:extLst>
                  <a:ext uri="{FF2B5EF4-FFF2-40B4-BE49-F238E27FC236}">
                    <a16:creationId xmlns:a16="http://schemas.microsoft.com/office/drawing/2014/main" id="{498AA9D3-2A76-4AB7-A9C1-31B86D5E89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7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0" name="Freeform 862">
                <a:extLst>
                  <a:ext uri="{FF2B5EF4-FFF2-40B4-BE49-F238E27FC236}">
                    <a16:creationId xmlns:a16="http://schemas.microsoft.com/office/drawing/2014/main" id="{69EDAD4A-FF3A-42CC-8C59-69C3C5D1BD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556"/>
                <a:ext cx="17" cy="8"/>
              </a:xfrm>
              <a:custGeom>
                <a:avLst/>
                <a:gdLst>
                  <a:gd name="T0" fmla="*/ 6 w 8"/>
                  <a:gd name="T1" fmla="*/ 3 h 4"/>
                  <a:gd name="T2" fmla="*/ 1 w 8"/>
                  <a:gd name="T3" fmla="*/ 3 h 4"/>
                  <a:gd name="T4" fmla="*/ 1 w 8"/>
                  <a:gd name="T5" fmla="*/ 1 h 4"/>
                  <a:gd name="T6" fmla="*/ 6 w 8"/>
                  <a:gd name="T7" fmla="*/ 1 h 4"/>
                  <a:gd name="T8" fmla="*/ 6 w 8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3"/>
                    </a:move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3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1" name="Freeform 863">
                <a:extLst>
                  <a:ext uri="{FF2B5EF4-FFF2-40B4-BE49-F238E27FC236}">
                    <a16:creationId xmlns:a16="http://schemas.microsoft.com/office/drawing/2014/main" id="{8BC4DD11-E174-41D8-9ABC-82008A3F15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726"/>
                <a:ext cx="16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2" name="Freeform 864">
                <a:extLst>
                  <a:ext uri="{FF2B5EF4-FFF2-40B4-BE49-F238E27FC236}">
                    <a16:creationId xmlns:a16="http://schemas.microsoft.com/office/drawing/2014/main" id="{FAD3C1A4-F79F-4519-9AD3-2B89AA31FA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71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3" name="Freeform 865">
                <a:extLst>
                  <a:ext uri="{FF2B5EF4-FFF2-40B4-BE49-F238E27FC236}">
                    <a16:creationId xmlns:a16="http://schemas.microsoft.com/office/drawing/2014/main" id="{2C3C85CD-DE5B-4C08-A687-7144E11CAC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69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4" name="Freeform 866">
                <a:extLst>
                  <a:ext uri="{FF2B5EF4-FFF2-40B4-BE49-F238E27FC236}">
                    <a16:creationId xmlns:a16="http://schemas.microsoft.com/office/drawing/2014/main" id="{5A16D8D2-4110-4AC5-8338-669BFCA439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5" name="Freeform 867">
                <a:extLst>
                  <a:ext uri="{FF2B5EF4-FFF2-40B4-BE49-F238E27FC236}">
                    <a16:creationId xmlns:a16="http://schemas.microsoft.com/office/drawing/2014/main" id="{FB4E6ADE-1DF4-4029-817C-4A65510436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6" name="Freeform 868">
                <a:extLst>
                  <a:ext uri="{FF2B5EF4-FFF2-40B4-BE49-F238E27FC236}">
                    <a16:creationId xmlns:a16="http://schemas.microsoft.com/office/drawing/2014/main" id="{FBEE5353-082B-411E-8D0D-5158C8F85C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7" name="Freeform 869">
                <a:extLst>
                  <a:ext uri="{FF2B5EF4-FFF2-40B4-BE49-F238E27FC236}">
                    <a16:creationId xmlns:a16="http://schemas.microsoft.com/office/drawing/2014/main" id="{434D16BA-F3EE-4502-AC3F-1922693CDB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8" name="Freeform 870">
                <a:extLst>
                  <a:ext uri="{FF2B5EF4-FFF2-40B4-BE49-F238E27FC236}">
                    <a16:creationId xmlns:a16="http://schemas.microsoft.com/office/drawing/2014/main" id="{8EFC48A1-D978-4C33-AC7D-46D88D2199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9" name="Freeform 871">
                <a:extLst>
                  <a:ext uri="{FF2B5EF4-FFF2-40B4-BE49-F238E27FC236}">
                    <a16:creationId xmlns:a16="http://schemas.microsoft.com/office/drawing/2014/main" id="{D4E6DA12-2B89-46A0-871F-0659D4D1BF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0" name="Freeform 872">
                <a:extLst>
                  <a:ext uri="{FF2B5EF4-FFF2-40B4-BE49-F238E27FC236}">
                    <a16:creationId xmlns:a16="http://schemas.microsoft.com/office/drawing/2014/main" id="{6160CF79-4E6E-4E72-8915-25C37775DC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1" name="Freeform 873">
                <a:extLst>
                  <a:ext uri="{FF2B5EF4-FFF2-40B4-BE49-F238E27FC236}">
                    <a16:creationId xmlns:a16="http://schemas.microsoft.com/office/drawing/2014/main" id="{FAC690D1-5022-495F-967E-9C23F7EF1C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57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2" name="Freeform 874">
                <a:extLst>
                  <a:ext uri="{FF2B5EF4-FFF2-40B4-BE49-F238E27FC236}">
                    <a16:creationId xmlns:a16="http://schemas.microsoft.com/office/drawing/2014/main" id="{B376CDB7-A924-4748-AF67-8756C6D0F9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556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3" name="Freeform 875">
                <a:extLst>
                  <a:ext uri="{FF2B5EF4-FFF2-40B4-BE49-F238E27FC236}">
                    <a16:creationId xmlns:a16="http://schemas.microsoft.com/office/drawing/2014/main" id="{878626B9-7FF3-4D8A-9146-13C41D93C9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39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4" name="Freeform 876">
                <a:extLst>
                  <a:ext uri="{FF2B5EF4-FFF2-40B4-BE49-F238E27FC236}">
                    <a16:creationId xmlns:a16="http://schemas.microsoft.com/office/drawing/2014/main" id="{D7AAEB56-6037-45D6-A37D-6D429BC47D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712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5" name="Freeform 877">
                <a:extLst>
                  <a:ext uri="{FF2B5EF4-FFF2-40B4-BE49-F238E27FC236}">
                    <a16:creationId xmlns:a16="http://schemas.microsoft.com/office/drawing/2014/main" id="{DAF1853B-2355-4D46-84AD-01EC0EC09C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69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6" name="Freeform 878">
                <a:extLst>
                  <a:ext uri="{FF2B5EF4-FFF2-40B4-BE49-F238E27FC236}">
                    <a16:creationId xmlns:a16="http://schemas.microsoft.com/office/drawing/2014/main" id="{678F1DA0-C321-4973-BD65-80B23DEDAF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680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7" name="Freeform 879">
                <a:extLst>
                  <a:ext uri="{FF2B5EF4-FFF2-40B4-BE49-F238E27FC236}">
                    <a16:creationId xmlns:a16="http://schemas.microsoft.com/office/drawing/2014/main" id="{A9751B17-C38A-4539-BE0F-B83A47C45C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8" name="Freeform 880">
                <a:extLst>
                  <a:ext uri="{FF2B5EF4-FFF2-40B4-BE49-F238E27FC236}">
                    <a16:creationId xmlns:a16="http://schemas.microsoft.com/office/drawing/2014/main" id="{22DAE5DD-A9E6-4617-874C-46ED320204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9" name="Freeform 881">
                <a:extLst>
                  <a:ext uri="{FF2B5EF4-FFF2-40B4-BE49-F238E27FC236}">
                    <a16:creationId xmlns:a16="http://schemas.microsoft.com/office/drawing/2014/main" id="{71448F8E-D366-4C06-A547-0B0C8E50E5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0" name="Freeform 882">
                <a:extLst>
                  <a:ext uri="{FF2B5EF4-FFF2-40B4-BE49-F238E27FC236}">
                    <a16:creationId xmlns:a16="http://schemas.microsoft.com/office/drawing/2014/main" id="{B8C1F327-B4F6-4E7C-AB38-D11A2EA7C6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1" name="Freeform 883">
                <a:extLst>
                  <a:ext uri="{FF2B5EF4-FFF2-40B4-BE49-F238E27FC236}">
                    <a16:creationId xmlns:a16="http://schemas.microsoft.com/office/drawing/2014/main" id="{3CFF09A3-1FBE-4952-A564-85A3732FAE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2" name="Freeform 884">
                <a:extLst>
                  <a:ext uri="{FF2B5EF4-FFF2-40B4-BE49-F238E27FC236}">
                    <a16:creationId xmlns:a16="http://schemas.microsoft.com/office/drawing/2014/main" id="{A9961F2C-246B-445A-946D-BB4D4A664F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3" name="Freeform 885">
                <a:extLst>
                  <a:ext uri="{FF2B5EF4-FFF2-40B4-BE49-F238E27FC236}">
                    <a16:creationId xmlns:a16="http://schemas.microsoft.com/office/drawing/2014/main" id="{1456512C-6B86-4C8D-BFF0-EB60DDF490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57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4" name="Freeform 886">
                <a:extLst>
                  <a:ext uri="{FF2B5EF4-FFF2-40B4-BE49-F238E27FC236}">
                    <a16:creationId xmlns:a16="http://schemas.microsoft.com/office/drawing/2014/main" id="{5F14D5BA-9741-44ED-A254-C15512767C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556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5" name="Freeform 887">
                <a:extLst>
                  <a:ext uri="{FF2B5EF4-FFF2-40B4-BE49-F238E27FC236}">
                    <a16:creationId xmlns:a16="http://schemas.microsoft.com/office/drawing/2014/main" id="{05DBB738-BA48-48EC-BA46-9E960DF97B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539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6" name="Freeform 888">
                <a:extLst>
                  <a:ext uri="{FF2B5EF4-FFF2-40B4-BE49-F238E27FC236}">
                    <a16:creationId xmlns:a16="http://schemas.microsoft.com/office/drawing/2014/main" id="{64270962-9452-44FF-849B-F507F5E2DA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524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7" name="Freeform 889">
                <a:extLst>
                  <a:ext uri="{FF2B5EF4-FFF2-40B4-BE49-F238E27FC236}">
                    <a16:creationId xmlns:a16="http://schemas.microsoft.com/office/drawing/2014/main" id="{2E2BA625-A2A2-4DC3-B1CE-E6F3BC526F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08"/>
                <a:ext cx="17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8" name="Freeform 890">
                <a:extLst>
                  <a:ext uri="{FF2B5EF4-FFF2-40B4-BE49-F238E27FC236}">
                    <a16:creationId xmlns:a16="http://schemas.microsoft.com/office/drawing/2014/main" id="{79D4AC11-27B8-4468-8489-B17D743D6B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08"/>
                <a:ext cx="17" cy="10"/>
              </a:xfrm>
              <a:custGeom>
                <a:avLst/>
                <a:gdLst>
                  <a:gd name="T0" fmla="*/ 6 w 8"/>
                  <a:gd name="T1" fmla="*/ 4 h 5"/>
                  <a:gd name="T2" fmla="*/ 1 w 8"/>
                  <a:gd name="T3" fmla="*/ 4 h 5"/>
                  <a:gd name="T4" fmla="*/ 1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9" name="Freeform 891">
                <a:extLst>
                  <a:ext uri="{FF2B5EF4-FFF2-40B4-BE49-F238E27FC236}">
                    <a16:creationId xmlns:a16="http://schemas.microsoft.com/office/drawing/2014/main" id="{CF1AB7B5-7ADF-4B9E-9CC9-903BCD5387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695"/>
                <a:ext cx="16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0" name="Freeform 892">
                <a:extLst>
                  <a:ext uri="{FF2B5EF4-FFF2-40B4-BE49-F238E27FC236}">
                    <a16:creationId xmlns:a16="http://schemas.microsoft.com/office/drawing/2014/main" id="{04FDD528-2A5C-4C53-A723-80AADEC3AE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680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1" name="Freeform 893">
                <a:extLst>
                  <a:ext uri="{FF2B5EF4-FFF2-40B4-BE49-F238E27FC236}">
                    <a16:creationId xmlns:a16="http://schemas.microsoft.com/office/drawing/2014/main" id="{35DEF430-9BEC-4014-85C7-CF57D0D8D9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2" name="Freeform 894">
                <a:extLst>
                  <a:ext uri="{FF2B5EF4-FFF2-40B4-BE49-F238E27FC236}">
                    <a16:creationId xmlns:a16="http://schemas.microsoft.com/office/drawing/2014/main" id="{BC3D841F-9C25-46FA-A93C-ACA7FB97FE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64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3" name="Freeform 895">
                <a:extLst>
                  <a:ext uri="{FF2B5EF4-FFF2-40B4-BE49-F238E27FC236}">
                    <a16:creationId xmlns:a16="http://schemas.microsoft.com/office/drawing/2014/main" id="{95C12196-774D-42F4-BE1F-FCC710E6A0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633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4" name="Freeform 896">
                <a:extLst>
                  <a:ext uri="{FF2B5EF4-FFF2-40B4-BE49-F238E27FC236}">
                    <a16:creationId xmlns:a16="http://schemas.microsoft.com/office/drawing/2014/main" id="{2B3D923C-438A-45AE-88F3-623C361149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5" name="Freeform 897">
                <a:extLst>
                  <a:ext uri="{FF2B5EF4-FFF2-40B4-BE49-F238E27FC236}">
                    <a16:creationId xmlns:a16="http://schemas.microsoft.com/office/drawing/2014/main" id="{623EE788-13FC-4E2B-8E18-E79F032FF1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6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6" name="Freeform 898">
                <a:extLst>
                  <a:ext uri="{FF2B5EF4-FFF2-40B4-BE49-F238E27FC236}">
                    <a16:creationId xmlns:a16="http://schemas.microsoft.com/office/drawing/2014/main" id="{F97F4BBA-7964-4D89-A2B3-423AAD7782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680"/>
                <a:ext cx="16" cy="9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7" name="Freeform 899">
                <a:extLst>
                  <a:ext uri="{FF2B5EF4-FFF2-40B4-BE49-F238E27FC236}">
                    <a16:creationId xmlns:a16="http://schemas.microsoft.com/office/drawing/2014/main" id="{681D0692-7872-4C9D-A8DF-7DBB43CE86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8" name="Freeform 900">
                <a:extLst>
                  <a:ext uri="{FF2B5EF4-FFF2-40B4-BE49-F238E27FC236}">
                    <a16:creationId xmlns:a16="http://schemas.microsoft.com/office/drawing/2014/main" id="{53727F24-2EEB-40F1-85E7-EFB169C0C6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64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9" name="Freeform 901">
                <a:extLst>
                  <a:ext uri="{FF2B5EF4-FFF2-40B4-BE49-F238E27FC236}">
                    <a16:creationId xmlns:a16="http://schemas.microsoft.com/office/drawing/2014/main" id="{6CB7CC76-6D30-4367-AC2F-BE08C7048A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633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6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0" name="Freeform 902">
                <a:extLst>
                  <a:ext uri="{FF2B5EF4-FFF2-40B4-BE49-F238E27FC236}">
                    <a16:creationId xmlns:a16="http://schemas.microsoft.com/office/drawing/2014/main" id="{443648CF-6A80-4D6B-8559-88FBB5EF77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6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1" name="Freeform 903">
                <a:extLst>
                  <a:ext uri="{FF2B5EF4-FFF2-40B4-BE49-F238E27FC236}">
                    <a16:creationId xmlns:a16="http://schemas.microsoft.com/office/drawing/2014/main" id="{FF6B9310-A59E-4926-BE9A-08A139B240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4" y="2834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2" name="Freeform 904">
                <a:extLst>
                  <a:ext uri="{FF2B5EF4-FFF2-40B4-BE49-F238E27FC236}">
                    <a16:creationId xmlns:a16="http://schemas.microsoft.com/office/drawing/2014/main" id="{21060BB3-B1D8-4446-9ECD-F84023DDF5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11" y="2819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3" name="Freeform 905">
                <a:extLst>
                  <a:ext uri="{FF2B5EF4-FFF2-40B4-BE49-F238E27FC236}">
                    <a16:creationId xmlns:a16="http://schemas.microsoft.com/office/drawing/2014/main" id="{04C435C0-408B-49C6-91B6-249D89A0C6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8" y="2803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4" name="Freeform 906">
                <a:extLst>
                  <a:ext uri="{FF2B5EF4-FFF2-40B4-BE49-F238E27FC236}">
                    <a16:creationId xmlns:a16="http://schemas.microsoft.com/office/drawing/2014/main" id="{D1846522-0FE9-4EF3-BA58-1AF7900A61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9" y="275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5" name="Freeform 907">
                <a:extLst>
                  <a:ext uri="{FF2B5EF4-FFF2-40B4-BE49-F238E27FC236}">
                    <a16:creationId xmlns:a16="http://schemas.microsoft.com/office/drawing/2014/main" id="{935535F6-D04A-42C3-B344-16155FB6D7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74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6" name="Freeform 908">
                <a:extLst>
                  <a:ext uri="{FF2B5EF4-FFF2-40B4-BE49-F238E27FC236}">
                    <a16:creationId xmlns:a16="http://schemas.microsoft.com/office/drawing/2014/main" id="{AE61F257-96B5-4A22-88D8-0077E79208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72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7" name="Freeform 909">
                <a:extLst>
                  <a:ext uri="{FF2B5EF4-FFF2-40B4-BE49-F238E27FC236}">
                    <a16:creationId xmlns:a16="http://schemas.microsoft.com/office/drawing/2014/main" id="{CED21423-F497-4535-94F8-F7078EA263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70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8" name="Freeform 910">
                <a:extLst>
                  <a:ext uri="{FF2B5EF4-FFF2-40B4-BE49-F238E27FC236}">
                    <a16:creationId xmlns:a16="http://schemas.microsoft.com/office/drawing/2014/main" id="{E676967C-81F4-4ED3-B38F-A35C21EEAA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95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9" name="Freeform 911">
                <a:extLst>
                  <a:ext uri="{FF2B5EF4-FFF2-40B4-BE49-F238E27FC236}">
                    <a16:creationId xmlns:a16="http://schemas.microsoft.com/office/drawing/2014/main" id="{CED487D5-A493-4FB2-B555-3F8BE9FF74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678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0" name="Freeform 912">
                <a:extLst>
                  <a:ext uri="{FF2B5EF4-FFF2-40B4-BE49-F238E27FC236}">
                    <a16:creationId xmlns:a16="http://schemas.microsoft.com/office/drawing/2014/main" id="{BAD69708-AB35-43FE-B2F0-94828B805F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664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1" name="Freeform 913">
                <a:extLst>
                  <a:ext uri="{FF2B5EF4-FFF2-40B4-BE49-F238E27FC236}">
                    <a16:creationId xmlns:a16="http://schemas.microsoft.com/office/drawing/2014/main" id="{E74E1677-4027-497E-B954-80F8FA68F8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5" y="2788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2" name="Freeform 914">
                <a:extLst>
                  <a:ext uri="{FF2B5EF4-FFF2-40B4-BE49-F238E27FC236}">
                    <a16:creationId xmlns:a16="http://schemas.microsoft.com/office/drawing/2014/main" id="{81219C8A-A795-4426-BED6-D293EDDB1D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2" y="277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3" name="Freeform 915">
                <a:extLst>
                  <a:ext uri="{FF2B5EF4-FFF2-40B4-BE49-F238E27FC236}">
                    <a16:creationId xmlns:a16="http://schemas.microsoft.com/office/drawing/2014/main" id="{5D216549-2CD0-4400-80F0-1CA75C3684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30" y="2834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4" name="Freeform 916">
                <a:extLst>
                  <a:ext uri="{FF2B5EF4-FFF2-40B4-BE49-F238E27FC236}">
                    <a16:creationId xmlns:a16="http://schemas.microsoft.com/office/drawing/2014/main" id="{0FD06671-BAAE-4652-A722-6526F73625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7" y="2819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5" name="Freeform 917">
                <a:extLst>
                  <a:ext uri="{FF2B5EF4-FFF2-40B4-BE49-F238E27FC236}">
                    <a16:creationId xmlns:a16="http://schemas.microsoft.com/office/drawing/2014/main" id="{12AEB921-C1D3-4D0B-B548-B99F89D926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4" y="2803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6" name="Freeform 918">
                <a:extLst>
                  <a:ext uri="{FF2B5EF4-FFF2-40B4-BE49-F238E27FC236}">
                    <a16:creationId xmlns:a16="http://schemas.microsoft.com/office/drawing/2014/main" id="{0F9CB17D-98B1-4539-AF61-08F5A82E17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11" y="2788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7" name="Freeform 919">
                <a:extLst>
                  <a:ext uri="{FF2B5EF4-FFF2-40B4-BE49-F238E27FC236}">
                    <a16:creationId xmlns:a16="http://schemas.microsoft.com/office/drawing/2014/main" id="{1746A2DA-7D99-43F9-B0C5-F28837596F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2" y="274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8" name="Freeform 920">
                <a:extLst>
                  <a:ext uri="{FF2B5EF4-FFF2-40B4-BE49-F238E27FC236}">
                    <a16:creationId xmlns:a16="http://schemas.microsoft.com/office/drawing/2014/main" id="{F2E08481-B0B8-4D93-8A24-C29CAABA7D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9" y="272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9" name="Freeform 921">
                <a:extLst>
                  <a:ext uri="{FF2B5EF4-FFF2-40B4-BE49-F238E27FC236}">
                    <a16:creationId xmlns:a16="http://schemas.microsoft.com/office/drawing/2014/main" id="{9550586F-4F75-4C8E-8BD3-2525781196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70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0" name="Freeform 922">
                <a:extLst>
                  <a:ext uri="{FF2B5EF4-FFF2-40B4-BE49-F238E27FC236}">
                    <a16:creationId xmlns:a16="http://schemas.microsoft.com/office/drawing/2014/main" id="{03518E15-6A1F-475B-850C-15E4BEA004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69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1" name="Freeform 923">
                <a:extLst>
                  <a:ext uri="{FF2B5EF4-FFF2-40B4-BE49-F238E27FC236}">
                    <a16:creationId xmlns:a16="http://schemas.microsoft.com/office/drawing/2014/main" id="{72776F94-5B84-4BB3-B9A8-26D2A54391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67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2" name="Freeform 924">
                <a:extLst>
                  <a:ext uri="{FF2B5EF4-FFF2-40B4-BE49-F238E27FC236}">
                    <a16:creationId xmlns:a16="http://schemas.microsoft.com/office/drawing/2014/main" id="{ED444BD7-9556-4D5C-8F92-AD38C2C212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64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3" name="Freeform 925">
                <a:extLst>
                  <a:ext uri="{FF2B5EF4-FFF2-40B4-BE49-F238E27FC236}">
                    <a16:creationId xmlns:a16="http://schemas.microsoft.com/office/drawing/2014/main" id="{2FFF3FD1-35DD-4B7C-8F05-27EB7A1472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647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4" name="Freeform 926">
                <a:extLst>
                  <a:ext uri="{FF2B5EF4-FFF2-40B4-BE49-F238E27FC236}">
                    <a16:creationId xmlns:a16="http://schemas.microsoft.com/office/drawing/2014/main" id="{3E79F8D3-AF57-4E27-96B6-A56BB381C8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8" y="277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5" name="Freeform 927">
                <a:extLst>
                  <a:ext uri="{FF2B5EF4-FFF2-40B4-BE49-F238E27FC236}">
                    <a16:creationId xmlns:a16="http://schemas.microsoft.com/office/drawing/2014/main" id="{477064F7-2B21-440A-9882-AAC5C21CB5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5" y="275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6" name="Freeform 928">
                <a:extLst>
                  <a:ext uri="{FF2B5EF4-FFF2-40B4-BE49-F238E27FC236}">
                    <a16:creationId xmlns:a16="http://schemas.microsoft.com/office/drawing/2014/main" id="{52A2565F-EF61-44D1-9C53-9CC93AFBE8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83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7" name="Freeform 929">
                <a:extLst>
                  <a:ext uri="{FF2B5EF4-FFF2-40B4-BE49-F238E27FC236}">
                    <a16:creationId xmlns:a16="http://schemas.microsoft.com/office/drawing/2014/main" id="{5C47D5A8-6FF8-4843-A8FB-721B6A030D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819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8" name="Freeform 930">
                <a:extLst>
                  <a:ext uri="{FF2B5EF4-FFF2-40B4-BE49-F238E27FC236}">
                    <a16:creationId xmlns:a16="http://schemas.microsoft.com/office/drawing/2014/main" id="{E5226CC4-68A6-47FF-80AD-75CB04A148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30" y="2803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9" name="Freeform 931">
                <a:extLst>
                  <a:ext uri="{FF2B5EF4-FFF2-40B4-BE49-F238E27FC236}">
                    <a16:creationId xmlns:a16="http://schemas.microsoft.com/office/drawing/2014/main" id="{853DAD92-518A-464F-9DB7-D676200C5C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7" y="2788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0" name="Freeform 932">
                <a:extLst>
                  <a:ext uri="{FF2B5EF4-FFF2-40B4-BE49-F238E27FC236}">
                    <a16:creationId xmlns:a16="http://schemas.microsoft.com/office/drawing/2014/main" id="{A84B2F71-B5BA-464D-87D1-5AAEF51961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4" y="277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1" name="Freeform 933">
                <a:extLst>
                  <a:ext uri="{FF2B5EF4-FFF2-40B4-BE49-F238E27FC236}">
                    <a16:creationId xmlns:a16="http://schemas.microsoft.com/office/drawing/2014/main" id="{60AE630C-5AFB-4728-84D9-C733BDF122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5" y="272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2" name="Freeform 934">
                <a:extLst>
                  <a:ext uri="{FF2B5EF4-FFF2-40B4-BE49-F238E27FC236}">
                    <a16:creationId xmlns:a16="http://schemas.microsoft.com/office/drawing/2014/main" id="{E0EF22DF-3DDA-401A-BA05-3DB62B38E1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2" y="270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3" name="Freeform 935">
                <a:extLst>
                  <a:ext uri="{FF2B5EF4-FFF2-40B4-BE49-F238E27FC236}">
                    <a16:creationId xmlns:a16="http://schemas.microsoft.com/office/drawing/2014/main" id="{687669E3-523B-4F32-B83A-07AC822678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9" y="269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4" name="Freeform 936">
                <a:extLst>
                  <a:ext uri="{FF2B5EF4-FFF2-40B4-BE49-F238E27FC236}">
                    <a16:creationId xmlns:a16="http://schemas.microsoft.com/office/drawing/2014/main" id="{9EB02C7E-2E10-4A83-81A8-A62C9C9A80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67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5" name="Freeform 937">
                <a:extLst>
                  <a:ext uri="{FF2B5EF4-FFF2-40B4-BE49-F238E27FC236}">
                    <a16:creationId xmlns:a16="http://schemas.microsoft.com/office/drawing/2014/main" id="{FDC52310-9BAD-481A-BA56-CF5AC8107A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664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6" name="Freeform 938">
                <a:extLst>
                  <a:ext uri="{FF2B5EF4-FFF2-40B4-BE49-F238E27FC236}">
                    <a16:creationId xmlns:a16="http://schemas.microsoft.com/office/drawing/2014/main" id="{9C228A0B-2B35-4072-86F1-1BA7F5B440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64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7" name="Freeform 939">
                <a:extLst>
                  <a:ext uri="{FF2B5EF4-FFF2-40B4-BE49-F238E27FC236}">
                    <a16:creationId xmlns:a16="http://schemas.microsoft.com/office/drawing/2014/main" id="{5EFB4ABD-C84E-4FBD-8F06-C468253D7D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32"/>
                <a:ext cx="14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8" name="Freeform 940">
                <a:extLst>
                  <a:ext uri="{FF2B5EF4-FFF2-40B4-BE49-F238E27FC236}">
                    <a16:creationId xmlns:a16="http://schemas.microsoft.com/office/drawing/2014/main" id="{10586232-ECBF-452B-8A7C-05A7155A9A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11" y="275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9" name="Freeform 941">
                <a:extLst>
                  <a:ext uri="{FF2B5EF4-FFF2-40B4-BE49-F238E27FC236}">
                    <a16:creationId xmlns:a16="http://schemas.microsoft.com/office/drawing/2014/main" id="{1DD8677C-83F6-4977-A3D3-2704D3B6EC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8" y="274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0" name="Freeform 942">
                <a:extLst>
                  <a:ext uri="{FF2B5EF4-FFF2-40B4-BE49-F238E27FC236}">
                    <a16:creationId xmlns:a16="http://schemas.microsoft.com/office/drawing/2014/main" id="{6A0A1873-675C-4C93-A485-35837410EF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83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1" name="Freeform 943">
                <a:extLst>
                  <a:ext uri="{FF2B5EF4-FFF2-40B4-BE49-F238E27FC236}">
                    <a16:creationId xmlns:a16="http://schemas.microsoft.com/office/drawing/2014/main" id="{7A0D884F-F0CD-46DC-B932-627972843C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819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2" name="Freeform 944">
                <a:extLst>
                  <a:ext uri="{FF2B5EF4-FFF2-40B4-BE49-F238E27FC236}">
                    <a16:creationId xmlns:a16="http://schemas.microsoft.com/office/drawing/2014/main" id="{B8D269F5-449D-4A1E-98DF-A5838C1FBE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803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3" name="Freeform 945">
                <a:extLst>
                  <a:ext uri="{FF2B5EF4-FFF2-40B4-BE49-F238E27FC236}">
                    <a16:creationId xmlns:a16="http://schemas.microsoft.com/office/drawing/2014/main" id="{C0533FF5-5ABA-4101-9376-3A51A660A0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4" name="Freeform 946">
                <a:extLst>
                  <a:ext uri="{FF2B5EF4-FFF2-40B4-BE49-F238E27FC236}">
                    <a16:creationId xmlns:a16="http://schemas.microsoft.com/office/drawing/2014/main" id="{BC5093C9-7D0D-4E3B-8A0F-8F4028D5CF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5" name="Freeform 947">
                <a:extLst>
                  <a:ext uri="{FF2B5EF4-FFF2-40B4-BE49-F238E27FC236}">
                    <a16:creationId xmlns:a16="http://schemas.microsoft.com/office/drawing/2014/main" id="{134BE163-1DD3-4E5C-90CF-84978CB190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6" name="Freeform 948">
                <a:extLst>
                  <a:ext uri="{FF2B5EF4-FFF2-40B4-BE49-F238E27FC236}">
                    <a16:creationId xmlns:a16="http://schemas.microsoft.com/office/drawing/2014/main" id="{BFEB92AC-40EB-4186-987D-AB5F0C6C87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7" name="Freeform 949">
                <a:extLst>
                  <a:ext uri="{FF2B5EF4-FFF2-40B4-BE49-F238E27FC236}">
                    <a16:creationId xmlns:a16="http://schemas.microsoft.com/office/drawing/2014/main" id="{A3145C47-7836-4CF3-9FF9-208D1430A0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8" name="Freeform 950">
                <a:extLst>
                  <a:ext uri="{FF2B5EF4-FFF2-40B4-BE49-F238E27FC236}">
                    <a16:creationId xmlns:a16="http://schemas.microsoft.com/office/drawing/2014/main" id="{F3D25F19-563A-46CE-B80F-D9BE2D071F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9" name="Freeform 951">
                <a:extLst>
                  <a:ext uri="{FF2B5EF4-FFF2-40B4-BE49-F238E27FC236}">
                    <a16:creationId xmlns:a16="http://schemas.microsoft.com/office/drawing/2014/main" id="{AA960D76-E361-42F6-8524-2A45D686BF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0" name="Freeform 952">
                <a:extLst>
                  <a:ext uri="{FF2B5EF4-FFF2-40B4-BE49-F238E27FC236}">
                    <a16:creationId xmlns:a16="http://schemas.microsoft.com/office/drawing/2014/main" id="{65DBB91A-7534-4813-AA84-FC681F45F9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1" name="Freeform 953">
                <a:extLst>
                  <a:ext uri="{FF2B5EF4-FFF2-40B4-BE49-F238E27FC236}">
                    <a16:creationId xmlns:a16="http://schemas.microsoft.com/office/drawing/2014/main" id="{906A54DB-B5B0-4D44-8F49-AA6FCEAFBF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2" name="Freeform 954">
                <a:extLst>
                  <a:ext uri="{FF2B5EF4-FFF2-40B4-BE49-F238E27FC236}">
                    <a16:creationId xmlns:a16="http://schemas.microsoft.com/office/drawing/2014/main" id="{7465D8E0-6FAD-4FE6-9AD2-2674CB496C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3" name="Freeform 955">
                <a:extLst>
                  <a:ext uri="{FF2B5EF4-FFF2-40B4-BE49-F238E27FC236}">
                    <a16:creationId xmlns:a16="http://schemas.microsoft.com/office/drawing/2014/main" id="{9F4C3C37-654D-4F0B-851B-638E8A6D46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4" name="Freeform 956">
                <a:extLst>
                  <a:ext uri="{FF2B5EF4-FFF2-40B4-BE49-F238E27FC236}">
                    <a16:creationId xmlns:a16="http://schemas.microsoft.com/office/drawing/2014/main" id="{7E9BB4A1-094E-4A44-AE4B-EDFCE3BA34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5" name="Freeform 957">
                <a:extLst>
                  <a:ext uri="{FF2B5EF4-FFF2-40B4-BE49-F238E27FC236}">
                    <a16:creationId xmlns:a16="http://schemas.microsoft.com/office/drawing/2014/main" id="{A1223F3A-0C9C-4D5E-8DA0-EF37380F59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819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6" name="Freeform 958">
                <a:extLst>
                  <a:ext uri="{FF2B5EF4-FFF2-40B4-BE49-F238E27FC236}">
                    <a16:creationId xmlns:a16="http://schemas.microsoft.com/office/drawing/2014/main" id="{028093B0-27C4-4F74-AF1B-993BE5EB91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803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7" name="Freeform 959">
                <a:extLst>
                  <a:ext uri="{FF2B5EF4-FFF2-40B4-BE49-F238E27FC236}">
                    <a16:creationId xmlns:a16="http://schemas.microsoft.com/office/drawing/2014/main" id="{D1472AB5-64B1-4831-A7EC-E4D9D58211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8" name="Freeform 960">
                <a:extLst>
                  <a:ext uri="{FF2B5EF4-FFF2-40B4-BE49-F238E27FC236}">
                    <a16:creationId xmlns:a16="http://schemas.microsoft.com/office/drawing/2014/main" id="{53149B91-3A24-481E-A302-6F494C1B0B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9" name="Freeform 961">
                <a:extLst>
                  <a:ext uri="{FF2B5EF4-FFF2-40B4-BE49-F238E27FC236}">
                    <a16:creationId xmlns:a16="http://schemas.microsoft.com/office/drawing/2014/main" id="{F35F973C-1C13-49C2-868E-D112DDF57E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0" name="Freeform 962">
                <a:extLst>
                  <a:ext uri="{FF2B5EF4-FFF2-40B4-BE49-F238E27FC236}">
                    <a16:creationId xmlns:a16="http://schemas.microsoft.com/office/drawing/2014/main" id="{D4B6623D-1F7B-4005-A0FC-750F9F0235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1" name="Freeform 963">
                <a:extLst>
                  <a:ext uri="{FF2B5EF4-FFF2-40B4-BE49-F238E27FC236}">
                    <a16:creationId xmlns:a16="http://schemas.microsoft.com/office/drawing/2014/main" id="{CBA14509-8DDE-4EE8-AF7F-F8B277DE87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2" name="Freeform 964">
                <a:extLst>
                  <a:ext uri="{FF2B5EF4-FFF2-40B4-BE49-F238E27FC236}">
                    <a16:creationId xmlns:a16="http://schemas.microsoft.com/office/drawing/2014/main" id="{32F9408E-0117-4BE0-A716-2A6A2CD95B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3" name="Freeform 965">
                <a:extLst>
                  <a:ext uri="{FF2B5EF4-FFF2-40B4-BE49-F238E27FC236}">
                    <a16:creationId xmlns:a16="http://schemas.microsoft.com/office/drawing/2014/main" id="{C15C012F-D23A-4136-8A0D-7BAFF411B2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4" name="Freeform 966">
                <a:extLst>
                  <a:ext uri="{FF2B5EF4-FFF2-40B4-BE49-F238E27FC236}">
                    <a16:creationId xmlns:a16="http://schemas.microsoft.com/office/drawing/2014/main" id="{0DA3979C-AAC6-4739-950D-DA06B83C96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5" name="Freeform 967">
                <a:extLst>
                  <a:ext uri="{FF2B5EF4-FFF2-40B4-BE49-F238E27FC236}">
                    <a16:creationId xmlns:a16="http://schemas.microsoft.com/office/drawing/2014/main" id="{29FB0AF1-E7E8-44AD-A78F-3AAB3D8566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6" name="Freeform 968">
                <a:extLst>
                  <a:ext uri="{FF2B5EF4-FFF2-40B4-BE49-F238E27FC236}">
                    <a16:creationId xmlns:a16="http://schemas.microsoft.com/office/drawing/2014/main" id="{FF168C2E-80DA-4E1B-A392-4857F38594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7" name="Freeform 969">
                <a:extLst>
                  <a:ext uri="{FF2B5EF4-FFF2-40B4-BE49-F238E27FC236}">
                    <a16:creationId xmlns:a16="http://schemas.microsoft.com/office/drawing/2014/main" id="{5089BCBE-F827-4F6B-B4AF-A11D737B49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60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8" name="Freeform 970">
                <a:extLst>
                  <a:ext uri="{FF2B5EF4-FFF2-40B4-BE49-F238E27FC236}">
                    <a16:creationId xmlns:a16="http://schemas.microsoft.com/office/drawing/2014/main" id="{ABDBACF6-49FB-40AF-949D-EDE3953BAA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9" name="Freeform 971">
                <a:extLst>
                  <a:ext uri="{FF2B5EF4-FFF2-40B4-BE49-F238E27FC236}">
                    <a16:creationId xmlns:a16="http://schemas.microsoft.com/office/drawing/2014/main" id="{615C0AEA-35F5-4F5E-B839-723B741DBF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0" name="Freeform 972">
                <a:extLst>
                  <a:ext uri="{FF2B5EF4-FFF2-40B4-BE49-F238E27FC236}">
                    <a16:creationId xmlns:a16="http://schemas.microsoft.com/office/drawing/2014/main" id="{E5C9D935-E79C-453D-95A8-F7AE187A25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803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1" name="Freeform 973">
                <a:extLst>
                  <a:ext uri="{FF2B5EF4-FFF2-40B4-BE49-F238E27FC236}">
                    <a16:creationId xmlns:a16="http://schemas.microsoft.com/office/drawing/2014/main" id="{0633A614-0D96-44EE-8F68-826660615C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2" name="Freeform 974">
                <a:extLst>
                  <a:ext uri="{FF2B5EF4-FFF2-40B4-BE49-F238E27FC236}">
                    <a16:creationId xmlns:a16="http://schemas.microsoft.com/office/drawing/2014/main" id="{1D4A5FED-0878-4A5C-9F0D-EAA886CC10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3" name="Freeform 975">
                <a:extLst>
                  <a:ext uri="{FF2B5EF4-FFF2-40B4-BE49-F238E27FC236}">
                    <a16:creationId xmlns:a16="http://schemas.microsoft.com/office/drawing/2014/main" id="{0A20B0D0-F0F7-49E3-8C73-09B12E95D7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4" name="Freeform 976">
                <a:extLst>
                  <a:ext uri="{FF2B5EF4-FFF2-40B4-BE49-F238E27FC236}">
                    <a16:creationId xmlns:a16="http://schemas.microsoft.com/office/drawing/2014/main" id="{15412430-09A4-4921-BFED-3120F9439B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5" name="Freeform 977">
                <a:extLst>
                  <a:ext uri="{FF2B5EF4-FFF2-40B4-BE49-F238E27FC236}">
                    <a16:creationId xmlns:a16="http://schemas.microsoft.com/office/drawing/2014/main" id="{4653711B-A918-4B11-A16C-058A87D0BD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6" name="Freeform 978">
                <a:extLst>
                  <a:ext uri="{FF2B5EF4-FFF2-40B4-BE49-F238E27FC236}">
                    <a16:creationId xmlns:a16="http://schemas.microsoft.com/office/drawing/2014/main" id="{2B97C986-324C-40E9-B1FC-B9C3A3C1F6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7" name="Freeform 979">
                <a:extLst>
                  <a:ext uri="{FF2B5EF4-FFF2-40B4-BE49-F238E27FC236}">
                    <a16:creationId xmlns:a16="http://schemas.microsoft.com/office/drawing/2014/main" id="{1C75CD19-B626-490B-9B6C-167A0AF894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8" name="Freeform 980">
                <a:extLst>
                  <a:ext uri="{FF2B5EF4-FFF2-40B4-BE49-F238E27FC236}">
                    <a16:creationId xmlns:a16="http://schemas.microsoft.com/office/drawing/2014/main" id="{FC084C0A-E45B-43F3-964D-AA18920B99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9" name="Freeform 981">
                <a:extLst>
                  <a:ext uri="{FF2B5EF4-FFF2-40B4-BE49-F238E27FC236}">
                    <a16:creationId xmlns:a16="http://schemas.microsoft.com/office/drawing/2014/main" id="{6945384B-0A47-4618-954D-1B6AD2439C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0" name="Freeform 982">
                <a:extLst>
                  <a:ext uri="{FF2B5EF4-FFF2-40B4-BE49-F238E27FC236}">
                    <a16:creationId xmlns:a16="http://schemas.microsoft.com/office/drawing/2014/main" id="{B00EE93B-35A0-45DA-A754-9D9719E3F1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1" name="Freeform 983">
                <a:extLst>
                  <a:ext uri="{FF2B5EF4-FFF2-40B4-BE49-F238E27FC236}">
                    <a16:creationId xmlns:a16="http://schemas.microsoft.com/office/drawing/2014/main" id="{B6419313-FCA7-4D5E-93BB-CF79A1D7DE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60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2" name="Freeform 984">
                <a:extLst>
                  <a:ext uri="{FF2B5EF4-FFF2-40B4-BE49-F238E27FC236}">
                    <a16:creationId xmlns:a16="http://schemas.microsoft.com/office/drawing/2014/main" id="{772FD798-B4EE-46AB-9229-EDC015E902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58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3" name="Freeform 985">
                <a:extLst>
                  <a:ext uri="{FF2B5EF4-FFF2-40B4-BE49-F238E27FC236}">
                    <a16:creationId xmlns:a16="http://schemas.microsoft.com/office/drawing/2014/main" id="{86B364EB-42D1-476E-A4ED-36FDB2F1DE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4" name="Freeform 986">
                <a:extLst>
                  <a:ext uri="{FF2B5EF4-FFF2-40B4-BE49-F238E27FC236}">
                    <a16:creationId xmlns:a16="http://schemas.microsoft.com/office/drawing/2014/main" id="{28233734-CBC7-4B42-B55C-4D72310427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5" name="Freeform 987">
                <a:extLst>
                  <a:ext uri="{FF2B5EF4-FFF2-40B4-BE49-F238E27FC236}">
                    <a16:creationId xmlns:a16="http://schemas.microsoft.com/office/drawing/2014/main" id="{5EE28EC4-8B54-4340-9146-EED5A0F022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6" name="Freeform 988">
                <a:extLst>
                  <a:ext uri="{FF2B5EF4-FFF2-40B4-BE49-F238E27FC236}">
                    <a16:creationId xmlns:a16="http://schemas.microsoft.com/office/drawing/2014/main" id="{F22E4B8B-EA0D-4C19-91BC-D86D2AC934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7" name="Freeform 989">
                <a:extLst>
                  <a:ext uri="{FF2B5EF4-FFF2-40B4-BE49-F238E27FC236}">
                    <a16:creationId xmlns:a16="http://schemas.microsoft.com/office/drawing/2014/main" id="{902C08D9-F7B8-4E80-9D4A-57C1791F9C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8" name="Freeform 990">
                <a:extLst>
                  <a:ext uri="{FF2B5EF4-FFF2-40B4-BE49-F238E27FC236}">
                    <a16:creationId xmlns:a16="http://schemas.microsoft.com/office/drawing/2014/main" id="{1040A32B-22D5-42B9-8449-6BF229C96E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9" name="Freeform 991">
                <a:extLst>
                  <a:ext uri="{FF2B5EF4-FFF2-40B4-BE49-F238E27FC236}">
                    <a16:creationId xmlns:a16="http://schemas.microsoft.com/office/drawing/2014/main" id="{282DD2B8-2E3B-4D5E-B518-2C206F1A64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" name="Freeform 992">
                <a:extLst>
                  <a:ext uri="{FF2B5EF4-FFF2-40B4-BE49-F238E27FC236}">
                    <a16:creationId xmlns:a16="http://schemas.microsoft.com/office/drawing/2014/main" id="{7FC131CD-F21C-4A62-8344-546A69AEDE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" name="Freeform 993">
                <a:extLst>
                  <a:ext uri="{FF2B5EF4-FFF2-40B4-BE49-F238E27FC236}">
                    <a16:creationId xmlns:a16="http://schemas.microsoft.com/office/drawing/2014/main" id="{AD42FAA7-227D-46EC-995A-6099181688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" name="Freeform 994">
                <a:extLst>
                  <a:ext uri="{FF2B5EF4-FFF2-40B4-BE49-F238E27FC236}">
                    <a16:creationId xmlns:a16="http://schemas.microsoft.com/office/drawing/2014/main" id="{F9EBF0F7-3E4C-477C-AC39-394B922F79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" name="Freeform 995">
                <a:extLst>
                  <a:ext uri="{FF2B5EF4-FFF2-40B4-BE49-F238E27FC236}">
                    <a16:creationId xmlns:a16="http://schemas.microsoft.com/office/drawing/2014/main" id="{DA536CF5-447A-4D2C-8A5B-7E10873C5D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" name="Freeform 996">
                <a:extLst>
                  <a:ext uri="{FF2B5EF4-FFF2-40B4-BE49-F238E27FC236}">
                    <a16:creationId xmlns:a16="http://schemas.microsoft.com/office/drawing/2014/main" id="{329B9A77-AE44-436E-AA5B-2050F28E01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" name="Freeform 997">
                <a:extLst>
                  <a:ext uri="{FF2B5EF4-FFF2-40B4-BE49-F238E27FC236}">
                    <a16:creationId xmlns:a16="http://schemas.microsoft.com/office/drawing/2014/main" id="{D05BE16E-5296-4378-B815-5958347FD7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0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" name="Freeform 998">
                <a:extLst>
                  <a:ext uri="{FF2B5EF4-FFF2-40B4-BE49-F238E27FC236}">
                    <a16:creationId xmlns:a16="http://schemas.microsoft.com/office/drawing/2014/main" id="{3056A94F-54EC-4252-83A3-6FAB2E8F50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58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" name="Freeform 999">
                <a:extLst>
                  <a:ext uri="{FF2B5EF4-FFF2-40B4-BE49-F238E27FC236}">
                    <a16:creationId xmlns:a16="http://schemas.microsoft.com/office/drawing/2014/main" id="{7B29A788-4171-4315-A39B-DEF2895110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56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" name="Freeform 1000">
                <a:extLst>
                  <a:ext uri="{FF2B5EF4-FFF2-40B4-BE49-F238E27FC236}">
                    <a16:creationId xmlns:a16="http://schemas.microsoft.com/office/drawing/2014/main" id="{007E8885-FBFE-41A9-A5EA-C840E001EC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" name="Freeform 1001">
                <a:extLst>
                  <a:ext uri="{FF2B5EF4-FFF2-40B4-BE49-F238E27FC236}">
                    <a16:creationId xmlns:a16="http://schemas.microsoft.com/office/drawing/2014/main" id="{5B5FA350-3778-49CD-9FAC-4121F4A166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" name="Freeform 1002">
                <a:extLst>
                  <a:ext uri="{FF2B5EF4-FFF2-40B4-BE49-F238E27FC236}">
                    <a16:creationId xmlns:a16="http://schemas.microsoft.com/office/drawing/2014/main" id="{D9C2E0CF-4BDE-4B65-88DE-21594FD4FB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647"/>
                <a:ext cx="14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" name="Freeform 1003">
                <a:extLst>
                  <a:ext uri="{FF2B5EF4-FFF2-40B4-BE49-F238E27FC236}">
                    <a16:creationId xmlns:a16="http://schemas.microsoft.com/office/drawing/2014/main" id="{DF18700B-326E-4C65-A8C7-823A869589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632"/>
                <a:ext cx="14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" name="Freeform 1004">
                <a:extLst>
                  <a:ext uri="{FF2B5EF4-FFF2-40B4-BE49-F238E27FC236}">
                    <a16:creationId xmlns:a16="http://schemas.microsoft.com/office/drawing/2014/main" id="{55BDF6B1-CDE4-4FA2-912E-8A96DB0D62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61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" name="Freeform 1005">
                <a:extLst>
                  <a:ext uri="{FF2B5EF4-FFF2-40B4-BE49-F238E27FC236}">
                    <a16:creationId xmlns:a16="http://schemas.microsoft.com/office/drawing/2014/main" id="{E94B5137-6583-4209-BC8D-DE25BD56C2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601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" name="Freeform 1006">
                <a:extLst>
                  <a:ext uri="{FF2B5EF4-FFF2-40B4-BE49-F238E27FC236}">
                    <a16:creationId xmlns:a16="http://schemas.microsoft.com/office/drawing/2014/main" id="{5EEAD35D-A378-4D26-8978-21149E4EFD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" name="Freeform 1007">
                <a:extLst>
                  <a:ext uri="{FF2B5EF4-FFF2-40B4-BE49-F238E27FC236}">
                    <a16:creationId xmlns:a16="http://schemas.microsoft.com/office/drawing/2014/main" id="{7849AF48-F77B-48D7-B769-91FDD9FFAA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57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" name="Freeform 1008">
                <a:extLst>
                  <a:ext uri="{FF2B5EF4-FFF2-40B4-BE49-F238E27FC236}">
                    <a16:creationId xmlns:a16="http://schemas.microsoft.com/office/drawing/2014/main" id="{211B5DB0-44DC-423A-8856-A14E91B8B8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11" name="Group 1210">
              <a:extLst>
                <a:ext uri="{FF2B5EF4-FFF2-40B4-BE49-F238E27FC236}">
                  <a16:creationId xmlns:a16="http://schemas.microsoft.com/office/drawing/2014/main" id="{1E43398B-1FF5-45DB-89CF-3279B656C595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7775192" y="3730585"/>
              <a:ext cx="2102515" cy="1148951"/>
              <a:chOff x="5146" y="2100"/>
              <a:chExt cx="990" cy="541"/>
            </a:xfrm>
          </p:grpSpPr>
          <p:sp>
            <p:nvSpPr>
              <p:cNvPr id="607" name="Freeform 1010">
                <a:extLst>
                  <a:ext uri="{FF2B5EF4-FFF2-40B4-BE49-F238E27FC236}">
                    <a16:creationId xmlns:a16="http://schemas.microsoft.com/office/drawing/2014/main" id="{CBD95844-A95B-49BA-8450-AE1939B4A3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53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8" name="Freeform 1011">
                <a:extLst>
                  <a:ext uri="{FF2B5EF4-FFF2-40B4-BE49-F238E27FC236}">
                    <a16:creationId xmlns:a16="http://schemas.microsoft.com/office/drawing/2014/main" id="{1AC620FA-923E-4AD5-ABAE-5D20B60856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9" name="Freeform 1012">
                <a:extLst>
                  <a:ext uri="{FF2B5EF4-FFF2-40B4-BE49-F238E27FC236}">
                    <a16:creationId xmlns:a16="http://schemas.microsoft.com/office/drawing/2014/main" id="{AABB1FD2-0F46-4C60-8044-99FD872FF6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0" name="Freeform 1013">
                <a:extLst>
                  <a:ext uri="{FF2B5EF4-FFF2-40B4-BE49-F238E27FC236}">
                    <a16:creationId xmlns:a16="http://schemas.microsoft.com/office/drawing/2014/main" id="{26BE70ED-CC52-4A08-9C9B-74EA5E7459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1" name="Freeform 1014">
                <a:extLst>
                  <a:ext uri="{FF2B5EF4-FFF2-40B4-BE49-F238E27FC236}">
                    <a16:creationId xmlns:a16="http://schemas.microsoft.com/office/drawing/2014/main" id="{6A035217-136E-495E-9D3A-432EA1905A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2" name="Freeform 1015">
                <a:extLst>
                  <a:ext uri="{FF2B5EF4-FFF2-40B4-BE49-F238E27FC236}">
                    <a16:creationId xmlns:a16="http://schemas.microsoft.com/office/drawing/2014/main" id="{93F6038A-3A7D-4A68-BCD8-6EB6305E13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3" name="Freeform 1016">
                <a:extLst>
                  <a:ext uri="{FF2B5EF4-FFF2-40B4-BE49-F238E27FC236}">
                    <a16:creationId xmlns:a16="http://schemas.microsoft.com/office/drawing/2014/main" id="{641BCEB0-EB47-40F9-838A-AD2664858D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4" name="Freeform 1017">
                <a:extLst>
                  <a:ext uri="{FF2B5EF4-FFF2-40B4-BE49-F238E27FC236}">
                    <a16:creationId xmlns:a16="http://schemas.microsoft.com/office/drawing/2014/main" id="{A0FE27DD-8CDA-415E-A2FD-E815086380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632"/>
                <a:ext cx="14" cy="9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5" name="Freeform 1018">
                <a:extLst>
                  <a:ext uri="{FF2B5EF4-FFF2-40B4-BE49-F238E27FC236}">
                    <a16:creationId xmlns:a16="http://schemas.microsoft.com/office/drawing/2014/main" id="{E5DC3088-4748-46F2-95B9-72170C70A5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61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6" name="Freeform 1019">
                <a:extLst>
                  <a:ext uri="{FF2B5EF4-FFF2-40B4-BE49-F238E27FC236}">
                    <a16:creationId xmlns:a16="http://schemas.microsoft.com/office/drawing/2014/main" id="{C3FAC307-7434-4B1F-843E-A784DFF5A8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601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7" name="Freeform 1020">
                <a:extLst>
                  <a:ext uri="{FF2B5EF4-FFF2-40B4-BE49-F238E27FC236}">
                    <a16:creationId xmlns:a16="http://schemas.microsoft.com/office/drawing/2014/main" id="{700D256B-CAC3-4980-BF26-056E9CEBC6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8" name="Freeform 1021">
                <a:extLst>
                  <a:ext uri="{FF2B5EF4-FFF2-40B4-BE49-F238E27FC236}">
                    <a16:creationId xmlns:a16="http://schemas.microsoft.com/office/drawing/2014/main" id="{2B9618F3-A9FB-4909-9553-C8FA9AFB5D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9" name="Freeform 1022">
                <a:extLst>
                  <a:ext uri="{FF2B5EF4-FFF2-40B4-BE49-F238E27FC236}">
                    <a16:creationId xmlns:a16="http://schemas.microsoft.com/office/drawing/2014/main" id="{933CAA01-F8B4-4C6B-B61F-D311A3447B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0" name="Freeform 1023">
                <a:extLst>
                  <a:ext uri="{FF2B5EF4-FFF2-40B4-BE49-F238E27FC236}">
                    <a16:creationId xmlns:a16="http://schemas.microsoft.com/office/drawing/2014/main" id="{4C8F8E36-63CE-44C1-A4AD-F356FCEE5A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53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1" name="Freeform 1024">
                <a:extLst>
                  <a:ext uri="{FF2B5EF4-FFF2-40B4-BE49-F238E27FC236}">
                    <a16:creationId xmlns:a16="http://schemas.microsoft.com/office/drawing/2014/main" id="{EED2049C-6465-4E1C-B4C5-7E8F80E073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2" name="Freeform 1025">
                <a:extLst>
                  <a:ext uri="{FF2B5EF4-FFF2-40B4-BE49-F238E27FC236}">
                    <a16:creationId xmlns:a16="http://schemas.microsoft.com/office/drawing/2014/main" id="{919DDAD3-586D-4836-BAC4-52EC946CB8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50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3" name="Freeform 1026">
                <a:extLst>
                  <a:ext uri="{FF2B5EF4-FFF2-40B4-BE49-F238E27FC236}">
                    <a16:creationId xmlns:a16="http://schemas.microsoft.com/office/drawing/2014/main" id="{A870A5BA-0CDA-4817-B0EE-2356385641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4" name="Freeform 1027">
                <a:extLst>
                  <a:ext uri="{FF2B5EF4-FFF2-40B4-BE49-F238E27FC236}">
                    <a16:creationId xmlns:a16="http://schemas.microsoft.com/office/drawing/2014/main" id="{6C4F1CA9-96D6-4520-9A18-3A4B33BC45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5" name="Freeform 1028">
                <a:extLst>
                  <a:ext uri="{FF2B5EF4-FFF2-40B4-BE49-F238E27FC236}">
                    <a16:creationId xmlns:a16="http://schemas.microsoft.com/office/drawing/2014/main" id="{400E68DF-67CF-437A-B131-1CC23C841A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6" name="Freeform 1029">
                <a:extLst>
                  <a:ext uri="{FF2B5EF4-FFF2-40B4-BE49-F238E27FC236}">
                    <a16:creationId xmlns:a16="http://schemas.microsoft.com/office/drawing/2014/main" id="{F2E8BAB7-C1D8-4DAC-86BF-604EFA0AC5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7" name="Freeform 1030">
                <a:extLst>
                  <a:ext uri="{FF2B5EF4-FFF2-40B4-BE49-F238E27FC236}">
                    <a16:creationId xmlns:a16="http://schemas.microsoft.com/office/drawing/2014/main" id="{E68ACFF1-C691-4156-A060-63A0284A6C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42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8" name="Freeform 1031">
                <a:extLst>
                  <a:ext uri="{FF2B5EF4-FFF2-40B4-BE49-F238E27FC236}">
                    <a16:creationId xmlns:a16="http://schemas.microsoft.com/office/drawing/2014/main" id="{8C97D330-C86B-409F-B5C6-A3419A122C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41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9" name="Freeform 1032">
                <a:extLst>
                  <a:ext uri="{FF2B5EF4-FFF2-40B4-BE49-F238E27FC236}">
                    <a16:creationId xmlns:a16="http://schemas.microsoft.com/office/drawing/2014/main" id="{9D9F7F80-6A65-4286-B447-0018E9349F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42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0" name="Freeform 1033">
                <a:extLst>
                  <a:ext uri="{FF2B5EF4-FFF2-40B4-BE49-F238E27FC236}">
                    <a16:creationId xmlns:a16="http://schemas.microsoft.com/office/drawing/2014/main" id="{2B5F7182-EB63-4EC4-8C66-2272157BF6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616"/>
                <a:ext cx="14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1" name="Freeform 1034">
                <a:extLst>
                  <a:ext uri="{FF2B5EF4-FFF2-40B4-BE49-F238E27FC236}">
                    <a16:creationId xmlns:a16="http://schemas.microsoft.com/office/drawing/2014/main" id="{C0FBD443-38F8-4B69-A3B3-9F824C7187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601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2" name="Freeform 1035">
                <a:extLst>
                  <a:ext uri="{FF2B5EF4-FFF2-40B4-BE49-F238E27FC236}">
                    <a16:creationId xmlns:a16="http://schemas.microsoft.com/office/drawing/2014/main" id="{82882189-EAEE-4C1C-9E5D-503122D46A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3" name="Freeform 1036">
                <a:extLst>
                  <a:ext uri="{FF2B5EF4-FFF2-40B4-BE49-F238E27FC236}">
                    <a16:creationId xmlns:a16="http://schemas.microsoft.com/office/drawing/2014/main" id="{19B9D9ED-62E3-4D31-AE6A-843B2B3A69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4" name="Freeform 1037">
                <a:extLst>
                  <a:ext uri="{FF2B5EF4-FFF2-40B4-BE49-F238E27FC236}">
                    <a16:creationId xmlns:a16="http://schemas.microsoft.com/office/drawing/2014/main" id="{5ED0C8E8-FFCE-4E9B-A464-7577A4F8AF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5" name="Freeform 1038">
                <a:extLst>
                  <a:ext uri="{FF2B5EF4-FFF2-40B4-BE49-F238E27FC236}">
                    <a16:creationId xmlns:a16="http://schemas.microsoft.com/office/drawing/2014/main" id="{2D794171-02B4-467A-8D68-586DB3A510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6" name="Freeform 1039">
                <a:extLst>
                  <a:ext uri="{FF2B5EF4-FFF2-40B4-BE49-F238E27FC236}">
                    <a16:creationId xmlns:a16="http://schemas.microsoft.com/office/drawing/2014/main" id="{657EEEDC-D8B6-4833-8B27-51495F054B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522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7" name="Freeform 1040">
                <a:extLst>
                  <a:ext uri="{FF2B5EF4-FFF2-40B4-BE49-F238E27FC236}">
                    <a16:creationId xmlns:a16="http://schemas.microsoft.com/office/drawing/2014/main" id="{9E400127-36D2-48D7-9A84-CB8BBB83F5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50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8" name="Freeform 1041">
                <a:extLst>
                  <a:ext uri="{FF2B5EF4-FFF2-40B4-BE49-F238E27FC236}">
                    <a16:creationId xmlns:a16="http://schemas.microsoft.com/office/drawing/2014/main" id="{67F99B36-9BCC-4F3A-9F0B-2DBFDD511C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9" name="Freeform 1042">
                <a:extLst>
                  <a:ext uri="{FF2B5EF4-FFF2-40B4-BE49-F238E27FC236}">
                    <a16:creationId xmlns:a16="http://schemas.microsoft.com/office/drawing/2014/main" id="{AF926D61-B5AC-4040-B774-F43B8310E2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0" name="Freeform 1043">
                <a:extLst>
                  <a:ext uri="{FF2B5EF4-FFF2-40B4-BE49-F238E27FC236}">
                    <a16:creationId xmlns:a16="http://schemas.microsoft.com/office/drawing/2014/main" id="{8AE73642-DD38-408F-B3A2-40DC109741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1" name="Freeform 1044">
                <a:extLst>
                  <a:ext uri="{FF2B5EF4-FFF2-40B4-BE49-F238E27FC236}">
                    <a16:creationId xmlns:a16="http://schemas.microsoft.com/office/drawing/2014/main" id="{9043A58A-BBB8-4461-AF9A-2454F9D5E6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2" name="Freeform 1045">
                <a:extLst>
                  <a:ext uri="{FF2B5EF4-FFF2-40B4-BE49-F238E27FC236}">
                    <a16:creationId xmlns:a16="http://schemas.microsoft.com/office/drawing/2014/main" id="{F77D350D-FCC9-43AD-B908-159A538DB5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42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3" name="Freeform 1046">
                <a:extLst>
                  <a:ext uri="{FF2B5EF4-FFF2-40B4-BE49-F238E27FC236}">
                    <a16:creationId xmlns:a16="http://schemas.microsoft.com/office/drawing/2014/main" id="{B3ADE7F1-657F-4599-B48C-04B5A3A6E1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41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4" name="Freeform 1047">
                <a:extLst>
                  <a:ext uri="{FF2B5EF4-FFF2-40B4-BE49-F238E27FC236}">
                    <a16:creationId xmlns:a16="http://schemas.microsoft.com/office/drawing/2014/main" id="{20BB7FFA-07FC-4770-AA0E-61BAD8FD19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41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5" name="Freeform 1048">
                <a:extLst>
                  <a:ext uri="{FF2B5EF4-FFF2-40B4-BE49-F238E27FC236}">
                    <a16:creationId xmlns:a16="http://schemas.microsoft.com/office/drawing/2014/main" id="{F98DFCEC-7E3F-4CF0-B2E7-83C9B1AA8B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97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6" name="Freeform 1049">
                <a:extLst>
                  <a:ext uri="{FF2B5EF4-FFF2-40B4-BE49-F238E27FC236}">
                    <a16:creationId xmlns:a16="http://schemas.microsoft.com/office/drawing/2014/main" id="{2FF7E2F9-C886-451B-9C66-49DC47271E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01"/>
                <a:ext cx="14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7" name="Freeform 1050">
                <a:extLst>
                  <a:ext uri="{FF2B5EF4-FFF2-40B4-BE49-F238E27FC236}">
                    <a16:creationId xmlns:a16="http://schemas.microsoft.com/office/drawing/2014/main" id="{5688ACC2-259A-4931-B377-09D532D4DA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8" name="Freeform 1051">
                <a:extLst>
                  <a:ext uri="{FF2B5EF4-FFF2-40B4-BE49-F238E27FC236}">
                    <a16:creationId xmlns:a16="http://schemas.microsoft.com/office/drawing/2014/main" id="{2C5FB138-11A4-4B48-8DD9-F0F29BB794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9" name="Freeform 1052">
                <a:extLst>
                  <a:ext uri="{FF2B5EF4-FFF2-40B4-BE49-F238E27FC236}">
                    <a16:creationId xmlns:a16="http://schemas.microsoft.com/office/drawing/2014/main" id="{16D28F36-2AEB-44DB-997B-86418DEA0F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0" name="Freeform 1053">
                <a:extLst>
                  <a:ext uri="{FF2B5EF4-FFF2-40B4-BE49-F238E27FC236}">
                    <a16:creationId xmlns:a16="http://schemas.microsoft.com/office/drawing/2014/main" id="{B25E8E95-F8D4-461F-8D5A-CC412EC4E2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1" name="Freeform 1054">
                <a:extLst>
                  <a:ext uri="{FF2B5EF4-FFF2-40B4-BE49-F238E27FC236}">
                    <a16:creationId xmlns:a16="http://schemas.microsoft.com/office/drawing/2014/main" id="{87903758-8362-40D1-8828-334F7857F1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52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2" name="Freeform 1055">
                <a:extLst>
                  <a:ext uri="{FF2B5EF4-FFF2-40B4-BE49-F238E27FC236}">
                    <a16:creationId xmlns:a16="http://schemas.microsoft.com/office/drawing/2014/main" id="{CCFD1DEE-3264-49FF-A05C-F6A095877D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3" name="Freeform 1056">
                <a:extLst>
                  <a:ext uri="{FF2B5EF4-FFF2-40B4-BE49-F238E27FC236}">
                    <a16:creationId xmlns:a16="http://schemas.microsoft.com/office/drawing/2014/main" id="{5DBA5516-9A73-45B1-8A64-5381C20FA6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4" name="Freeform 1057">
                <a:extLst>
                  <a:ext uri="{FF2B5EF4-FFF2-40B4-BE49-F238E27FC236}">
                    <a16:creationId xmlns:a16="http://schemas.microsoft.com/office/drawing/2014/main" id="{2D95E67F-9547-43D3-BE2A-EC97CCC991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5" name="Freeform 1058">
                <a:extLst>
                  <a:ext uri="{FF2B5EF4-FFF2-40B4-BE49-F238E27FC236}">
                    <a16:creationId xmlns:a16="http://schemas.microsoft.com/office/drawing/2014/main" id="{FE372DCC-FA5A-46B4-85B2-CB885FC213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6" name="Freeform 1059">
                <a:extLst>
                  <a:ext uri="{FF2B5EF4-FFF2-40B4-BE49-F238E27FC236}">
                    <a16:creationId xmlns:a16="http://schemas.microsoft.com/office/drawing/2014/main" id="{C8CA7A7B-39F7-4F9B-90C9-66533064B3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7" name="Freeform 1060">
                <a:extLst>
                  <a:ext uri="{FF2B5EF4-FFF2-40B4-BE49-F238E27FC236}">
                    <a16:creationId xmlns:a16="http://schemas.microsoft.com/office/drawing/2014/main" id="{E8F98B56-E04F-43F2-A3E2-047276C55A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8" name="Freeform 1061">
                <a:extLst>
                  <a:ext uri="{FF2B5EF4-FFF2-40B4-BE49-F238E27FC236}">
                    <a16:creationId xmlns:a16="http://schemas.microsoft.com/office/drawing/2014/main" id="{6AA0D151-4CB4-4FB5-9D3B-2A60A5F732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9" name="Freeform 1062">
                <a:extLst>
                  <a:ext uri="{FF2B5EF4-FFF2-40B4-BE49-F238E27FC236}">
                    <a16:creationId xmlns:a16="http://schemas.microsoft.com/office/drawing/2014/main" id="{D9677E57-980F-47B7-A85C-8E8A481F55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0" name="Freeform 1063">
                <a:extLst>
                  <a:ext uri="{FF2B5EF4-FFF2-40B4-BE49-F238E27FC236}">
                    <a16:creationId xmlns:a16="http://schemas.microsoft.com/office/drawing/2014/main" id="{4809CA87-FC70-4CAC-9FA0-7427E6A2AA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38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1" name="Freeform 1064">
                <a:extLst>
                  <a:ext uri="{FF2B5EF4-FFF2-40B4-BE49-F238E27FC236}">
                    <a16:creationId xmlns:a16="http://schemas.microsoft.com/office/drawing/2014/main" id="{316C9809-332A-4951-A6B4-38CDBBE205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97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2" name="Freeform 1065">
                <a:extLst>
                  <a:ext uri="{FF2B5EF4-FFF2-40B4-BE49-F238E27FC236}">
                    <a16:creationId xmlns:a16="http://schemas.microsoft.com/office/drawing/2014/main" id="{F6E2C47B-B3FF-49D7-9A93-9EBA27AD90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585"/>
                <a:ext cx="15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3" name="Freeform 1066">
                <a:extLst>
                  <a:ext uri="{FF2B5EF4-FFF2-40B4-BE49-F238E27FC236}">
                    <a16:creationId xmlns:a16="http://schemas.microsoft.com/office/drawing/2014/main" id="{88D2C9D3-E140-4B01-8C23-25A1CDC5FA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4" name="Freeform 1067">
                <a:extLst>
                  <a:ext uri="{FF2B5EF4-FFF2-40B4-BE49-F238E27FC236}">
                    <a16:creationId xmlns:a16="http://schemas.microsoft.com/office/drawing/2014/main" id="{6278791A-D138-496E-9024-373F9BF8DF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5" name="Freeform 1068">
                <a:extLst>
                  <a:ext uri="{FF2B5EF4-FFF2-40B4-BE49-F238E27FC236}">
                    <a16:creationId xmlns:a16="http://schemas.microsoft.com/office/drawing/2014/main" id="{080789FE-585F-47F1-A7F1-900D35401A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6" name="Freeform 1069">
                <a:extLst>
                  <a:ext uri="{FF2B5EF4-FFF2-40B4-BE49-F238E27FC236}">
                    <a16:creationId xmlns:a16="http://schemas.microsoft.com/office/drawing/2014/main" id="{2F97B1A2-6B00-4A62-A9DC-96E2BE66A5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52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7" name="Freeform 1070">
                <a:extLst>
                  <a:ext uri="{FF2B5EF4-FFF2-40B4-BE49-F238E27FC236}">
                    <a16:creationId xmlns:a16="http://schemas.microsoft.com/office/drawing/2014/main" id="{8955072D-0131-42B4-9B12-3EB428E36D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8" name="Freeform 1071">
                <a:extLst>
                  <a:ext uri="{FF2B5EF4-FFF2-40B4-BE49-F238E27FC236}">
                    <a16:creationId xmlns:a16="http://schemas.microsoft.com/office/drawing/2014/main" id="{7BB687F0-D161-4564-AD97-F2031E9B64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9" name="Freeform 1072">
                <a:extLst>
                  <a:ext uri="{FF2B5EF4-FFF2-40B4-BE49-F238E27FC236}">
                    <a16:creationId xmlns:a16="http://schemas.microsoft.com/office/drawing/2014/main" id="{D4184A15-D4BA-4FF2-AFF7-63DA04D4F6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0" name="Freeform 1073">
                <a:extLst>
                  <a:ext uri="{FF2B5EF4-FFF2-40B4-BE49-F238E27FC236}">
                    <a16:creationId xmlns:a16="http://schemas.microsoft.com/office/drawing/2014/main" id="{1E7941C9-3986-4464-8C8E-8535EA9D02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1" name="Freeform 1074">
                <a:extLst>
                  <a:ext uri="{FF2B5EF4-FFF2-40B4-BE49-F238E27FC236}">
                    <a16:creationId xmlns:a16="http://schemas.microsoft.com/office/drawing/2014/main" id="{7EBD1518-0720-49BA-89E7-AD86E4B455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2" name="Freeform 1075">
                <a:extLst>
                  <a:ext uri="{FF2B5EF4-FFF2-40B4-BE49-F238E27FC236}">
                    <a16:creationId xmlns:a16="http://schemas.microsoft.com/office/drawing/2014/main" id="{23F353C4-567C-4DD4-ADAD-B293FDC1D2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3" name="Freeform 1076">
                <a:extLst>
                  <a:ext uri="{FF2B5EF4-FFF2-40B4-BE49-F238E27FC236}">
                    <a16:creationId xmlns:a16="http://schemas.microsoft.com/office/drawing/2014/main" id="{749D3C5A-C797-44D7-BC8C-A4EB24E53F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4" name="Freeform 1077">
                <a:extLst>
                  <a:ext uri="{FF2B5EF4-FFF2-40B4-BE49-F238E27FC236}">
                    <a16:creationId xmlns:a16="http://schemas.microsoft.com/office/drawing/2014/main" id="{07E1A789-B49F-4EFB-8565-F0E81B06DA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5" name="Freeform 1078">
                <a:extLst>
                  <a:ext uri="{FF2B5EF4-FFF2-40B4-BE49-F238E27FC236}">
                    <a16:creationId xmlns:a16="http://schemas.microsoft.com/office/drawing/2014/main" id="{FAB7A4F0-CC0B-4E3A-8022-EB395D168E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38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6" name="Freeform 1079">
                <a:extLst>
                  <a:ext uri="{FF2B5EF4-FFF2-40B4-BE49-F238E27FC236}">
                    <a16:creationId xmlns:a16="http://schemas.microsoft.com/office/drawing/2014/main" id="{32AEA17C-CA83-4F9B-BBC6-4CC0E6E2FF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6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7" name="Freeform 1080">
                <a:extLst>
                  <a:ext uri="{FF2B5EF4-FFF2-40B4-BE49-F238E27FC236}">
                    <a16:creationId xmlns:a16="http://schemas.microsoft.com/office/drawing/2014/main" id="{BDFC9E0D-8516-4592-9456-F1C3011726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35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8" name="Freeform 1081">
                <a:extLst>
                  <a:ext uri="{FF2B5EF4-FFF2-40B4-BE49-F238E27FC236}">
                    <a16:creationId xmlns:a16="http://schemas.microsoft.com/office/drawing/2014/main" id="{71F67772-D3DC-45B6-B6FE-0AF29FF563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570"/>
                <a:ext cx="15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9" name="Freeform 1082">
                <a:extLst>
                  <a:ext uri="{FF2B5EF4-FFF2-40B4-BE49-F238E27FC236}">
                    <a16:creationId xmlns:a16="http://schemas.microsoft.com/office/drawing/2014/main" id="{96915B7E-B335-48B0-AC3F-526E2694B4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55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0" name="Freeform 1083">
                <a:extLst>
                  <a:ext uri="{FF2B5EF4-FFF2-40B4-BE49-F238E27FC236}">
                    <a16:creationId xmlns:a16="http://schemas.microsoft.com/office/drawing/2014/main" id="{FE08492D-13AB-4424-A5E8-B8CBF107AA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1" name="Freeform 1084">
                <a:extLst>
                  <a:ext uri="{FF2B5EF4-FFF2-40B4-BE49-F238E27FC236}">
                    <a16:creationId xmlns:a16="http://schemas.microsoft.com/office/drawing/2014/main" id="{858CAC88-7414-4D62-BAB9-DA98AAA9A5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52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2" name="Freeform 1085">
                <a:extLst>
                  <a:ext uri="{FF2B5EF4-FFF2-40B4-BE49-F238E27FC236}">
                    <a16:creationId xmlns:a16="http://schemas.microsoft.com/office/drawing/2014/main" id="{7924BE9E-7D3F-4CAB-A77B-649A376CA3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3" name="Freeform 1086">
                <a:extLst>
                  <a:ext uri="{FF2B5EF4-FFF2-40B4-BE49-F238E27FC236}">
                    <a16:creationId xmlns:a16="http://schemas.microsoft.com/office/drawing/2014/main" id="{408CCDE6-D7AE-4D7D-BCC2-63590473ED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4" name="Freeform 1087">
                <a:extLst>
                  <a:ext uri="{FF2B5EF4-FFF2-40B4-BE49-F238E27FC236}">
                    <a16:creationId xmlns:a16="http://schemas.microsoft.com/office/drawing/2014/main" id="{EF8E6375-3D81-407D-8F8A-F6226D948E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5" name="Freeform 1088">
                <a:extLst>
                  <a:ext uri="{FF2B5EF4-FFF2-40B4-BE49-F238E27FC236}">
                    <a16:creationId xmlns:a16="http://schemas.microsoft.com/office/drawing/2014/main" id="{ABB81C77-BA27-4FC2-9892-61C7FEA7FB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6" name="Freeform 1089">
                <a:extLst>
                  <a:ext uri="{FF2B5EF4-FFF2-40B4-BE49-F238E27FC236}">
                    <a16:creationId xmlns:a16="http://schemas.microsoft.com/office/drawing/2014/main" id="{499A428C-E77E-4327-871B-8E58823E02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7" name="Freeform 1090">
                <a:extLst>
                  <a:ext uri="{FF2B5EF4-FFF2-40B4-BE49-F238E27FC236}">
                    <a16:creationId xmlns:a16="http://schemas.microsoft.com/office/drawing/2014/main" id="{E906DAC7-3847-4AD2-B83F-3DC343D7AE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8" name="Freeform 1091">
                <a:extLst>
                  <a:ext uri="{FF2B5EF4-FFF2-40B4-BE49-F238E27FC236}">
                    <a16:creationId xmlns:a16="http://schemas.microsoft.com/office/drawing/2014/main" id="{28D20B7A-92E6-4409-A7DF-42830D5F2E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9" name="Freeform 1092">
                <a:extLst>
                  <a:ext uri="{FF2B5EF4-FFF2-40B4-BE49-F238E27FC236}">
                    <a16:creationId xmlns:a16="http://schemas.microsoft.com/office/drawing/2014/main" id="{9ADB03A4-252A-49C6-8763-A73AA25CF4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0" name="Freeform 1093">
                <a:extLst>
                  <a:ext uri="{FF2B5EF4-FFF2-40B4-BE49-F238E27FC236}">
                    <a16:creationId xmlns:a16="http://schemas.microsoft.com/office/drawing/2014/main" id="{BD2243F0-BD4C-430A-AFCD-87233477F7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38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1" name="Freeform 1094">
                <a:extLst>
                  <a:ext uri="{FF2B5EF4-FFF2-40B4-BE49-F238E27FC236}">
                    <a16:creationId xmlns:a16="http://schemas.microsoft.com/office/drawing/2014/main" id="{1DA19DFA-8E1A-427E-A7A8-83B64F19C6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6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2" name="Freeform 1095">
                <a:extLst>
                  <a:ext uri="{FF2B5EF4-FFF2-40B4-BE49-F238E27FC236}">
                    <a16:creationId xmlns:a16="http://schemas.microsoft.com/office/drawing/2014/main" id="{2910A78A-E03F-4968-B5CD-ACF3ABA4CC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350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3" name="Freeform 1096">
                <a:extLst>
                  <a:ext uri="{FF2B5EF4-FFF2-40B4-BE49-F238E27FC236}">
                    <a16:creationId xmlns:a16="http://schemas.microsoft.com/office/drawing/2014/main" id="{8707D2E3-A1DD-4120-8301-1A36B33A8F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3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4" name="Freeform 1097">
                <a:extLst>
                  <a:ext uri="{FF2B5EF4-FFF2-40B4-BE49-F238E27FC236}">
                    <a16:creationId xmlns:a16="http://schemas.microsoft.com/office/drawing/2014/main" id="{2A935F99-C0CB-429D-A5CB-764C03AC2F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553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5" name="Freeform 1098">
                <a:extLst>
                  <a:ext uri="{FF2B5EF4-FFF2-40B4-BE49-F238E27FC236}">
                    <a16:creationId xmlns:a16="http://schemas.microsoft.com/office/drawing/2014/main" id="{9A84A241-1575-434D-A569-2ED3E1E01A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53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6" name="Freeform 1099">
                <a:extLst>
                  <a:ext uri="{FF2B5EF4-FFF2-40B4-BE49-F238E27FC236}">
                    <a16:creationId xmlns:a16="http://schemas.microsoft.com/office/drawing/2014/main" id="{95A72B08-8C36-4168-BEF1-83F3796182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52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7" name="Freeform 1100">
                <a:extLst>
                  <a:ext uri="{FF2B5EF4-FFF2-40B4-BE49-F238E27FC236}">
                    <a16:creationId xmlns:a16="http://schemas.microsoft.com/office/drawing/2014/main" id="{62CE3764-C6D7-49D5-8006-FB2779C3BF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8" name="Freeform 1101">
                <a:extLst>
                  <a:ext uri="{FF2B5EF4-FFF2-40B4-BE49-F238E27FC236}">
                    <a16:creationId xmlns:a16="http://schemas.microsoft.com/office/drawing/2014/main" id="{316F9A3D-B2D0-434A-9DBE-EBD5811E26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9" name="Freeform 1102">
                <a:extLst>
                  <a:ext uri="{FF2B5EF4-FFF2-40B4-BE49-F238E27FC236}">
                    <a16:creationId xmlns:a16="http://schemas.microsoft.com/office/drawing/2014/main" id="{A2FE4F87-1E5B-46D7-88BC-2784EFEE9A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0" name="Freeform 1103">
                <a:extLst>
                  <a:ext uri="{FF2B5EF4-FFF2-40B4-BE49-F238E27FC236}">
                    <a16:creationId xmlns:a16="http://schemas.microsoft.com/office/drawing/2014/main" id="{8001746D-E903-4D47-BC8E-D5B3C9192C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1" name="Freeform 1104">
                <a:extLst>
                  <a:ext uri="{FF2B5EF4-FFF2-40B4-BE49-F238E27FC236}">
                    <a16:creationId xmlns:a16="http://schemas.microsoft.com/office/drawing/2014/main" id="{B7201401-F976-4E40-B8F5-9645E719E8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2" name="Freeform 1105">
                <a:extLst>
                  <a:ext uri="{FF2B5EF4-FFF2-40B4-BE49-F238E27FC236}">
                    <a16:creationId xmlns:a16="http://schemas.microsoft.com/office/drawing/2014/main" id="{D96C4419-C798-4412-ABD0-34AFDC4F07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3" name="Freeform 1106">
                <a:extLst>
                  <a:ext uri="{FF2B5EF4-FFF2-40B4-BE49-F238E27FC236}">
                    <a16:creationId xmlns:a16="http://schemas.microsoft.com/office/drawing/2014/main" id="{7BA204D1-D5F5-4F26-95EB-095989EE3F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4" name="Freeform 1107">
                <a:extLst>
                  <a:ext uri="{FF2B5EF4-FFF2-40B4-BE49-F238E27FC236}">
                    <a16:creationId xmlns:a16="http://schemas.microsoft.com/office/drawing/2014/main" id="{D12D5324-7A75-49A9-B8F8-62518EE56E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5" name="Freeform 1108">
                <a:extLst>
                  <a:ext uri="{FF2B5EF4-FFF2-40B4-BE49-F238E27FC236}">
                    <a16:creationId xmlns:a16="http://schemas.microsoft.com/office/drawing/2014/main" id="{CA52B44C-DCCE-459A-BBA2-DCB1572095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38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6" name="Freeform 1109">
                <a:extLst>
                  <a:ext uri="{FF2B5EF4-FFF2-40B4-BE49-F238E27FC236}">
                    <a16:creationId xmlns:a16="http://schemas.microsoft.com/office/drawing/2014/main" id="{D02D8683-C2C2-47FA-B461-28EEE7269A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6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7" name="Freeform 1110">
                <a:extLst>
                  <a:ext uri="{FF2B5EF4-FFF2-40B4-BE49-F238E27FC236}">
                    <a16:creationId xmlns:a16="http://schemas.microsoft.com/office/drawing/2014/main" id="{19D76809-8E00-425F-A2BB-FD8E67C5B5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350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8" name="Freeform 1111">
                <a:extLst>
                  <a:ext uri="{FF2B5EF4-FFF2-40B4-BE49-F238E27FC236}">
                    <a16:creationId xmlns:a16="http://schemas.microsoft.com/office/drawing/2014/main" id="{64866F2D-F86A-4B93-B861-3A66F87687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3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9" name="Freeform 1112">
                <a:extLst>
                  <a:ext uri="{FF2B5EF4-FFF2-40B4-BE49-F238E27FC236}">
                    <a16:creationId xmlns:a16="http://schemas.microsoft.com/office/drawing/2014/main" id="{75E0B39A-F4DE-4FDC-8D57-F7A2B232BE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318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0" name="Freeform 1113">
                <a:extLst>
                  <a:ext uri="{FF2B5EF4-FFF2-40B4-BE49-F238E27FC236}">
                    <a16:creationId xmlns:a16="http://schemas.microsoft.com/office/drawing/2014/main" id="{0A7DC751-C600-4F8C-88DE-2B883C4B0E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383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1" name="Freeform 1114">
                <a:extLst>
                  <a:ext uri="{FF2B5EF4-FFF2-40B4-BE49-F238E27FC236}">
                    <a16:creationId xmlns:a16="http://schemas.microsoft.com/office/drawing/2014/main" id="{FB2FF990-5C36-42C8-9562-C2BA3C7F06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6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2" name="Freeform 1115">
                <a:extLst>
                  <a:ext uri="{FF2B5EF4-FFF2-40B4-BE49-F238E27FC236}">
                    <a16:creationId xmlns:a16="http://schemas.microsoft.com/office/drawing/2014/main" id="{18EF215E-EF8D-4C62-B6EB-6015336A3B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97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3" name="Freeform 1116">
                <a:extLst>
                  <a:ext uri="{FF2B5EF4-FFF2-40B4-BE49-F238E27FC236}">
                    <a16:creationId xmlns:a16="http://schemas.microsoft.com/office/drawing/2014/main" id="{3C33C093-05D2-4950-8949-620A57BED5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38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4" name="Freeform 1117">
                <a:extLst>
                  <a:ext uri="{FF2B5EF4-FFF2-40B4-BE49-F238E27FC236}">
                    <a16:creationId xmlns:a16="http://schemas.microsoft.com/office/drawing/2014/main" id="{75A7ECD4-4A25-4ED7-ADFB-3287E15BAE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366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5" name="Freeform 1118">
                <a:extLst>
                  <a:ext uri="{FF2B5EF4-FFF2-40B4-BE49-F238E27FC236}">
                    <a16:creationId xmlns:a16="http://schemas.microsoft.com/office/drawing/2014/main" id="{E392842C-1916-4395-BAF9-B0500ADE13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35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6" name="Freeform 1119">
                <a:extLst>
                  <a:ext uri="{FF2B5EF4-FFF2-40B4-BE49-F238E27FC236}">
                    <a16:creationId xmlns:a16="http://schemas.microsoft.com/office/drawing/2014/main" id="{99F9A185-3E68-4BC7-AC25-61D6C7DF89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33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7" name="Freeform 1120">
                <a:extLst>
                  <a:ext uri="{FF2B5EF4-FFF2-40B4-BE49-F238E27FC236}">
                    <a16:creationId xmlns:a16="http://schemas.microsoft.com/office/drawing/2014/main" id="{4927D42F-FBDB-4194-AECC-9AB991F20F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31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8" name="Freeform 1121">
                <a:extLst>
                  <a:ext uri="{FF2B5EF4-FFF2-40B4-BE49-F238E27FC236}">
                    <a16:creationId xmlns:a16="http://schemas.microsoft.com/office/drawing/2014/main" id="{07F67728-68DD-4423-BCFD-096930BF1D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30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9" name="Freeform 1122">
                <a:extLst>
                  <a:ext uri="{FF2B5EF4-FFF2-40B4-BE49-F238E27FC236}">
                    <a16:creationId xmlns:a16="http://schemas.microsoft.com/office/drawing/2014/main" id="{A42ABB5E-6E05-454F-8726-A9921E1221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28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0" name="Freeform 1123">
                <a:extLst>
                  <a:ext uri="{FF2B5EF4-FFF2-40B4-BE49-F238E27FC236}">
                    <a16:creationId xmlns:a16="http://schemas.microsoft.com/office/drawing/2014/main" id="{3C37633F-1277-42CE-8E85-798C5AC6DB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1" name="Freeform 1124">
                <a:extLst>
                  <a:ext uri="{FF2B5EF4-FFF2-40B4-BE49-F238E27FC236}">
                    <a16:creationId xmlns:a16="http://schemas.microsoft.com/office/drawing/2014/main" id="{2409F10D-0E05-4C9F-B0FE-357EE43661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2" name="Freeform 1125">
                <a:extLst>
                  <a:ext uri="{FF2B5EF4-FFF2-40B4-BE49-F238E27FC236}">
                    <a16:creationId xmlns:a16="http://schemas.microsoft.com/office/drawing/2014/main" id="{C2C48457-4FEB-48BD-9DDD-F43A358EBF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3" name="Freeform 1126">
                <a:extLst>
                  <a:ext uri="{FF2B5EF4-FFF2-40B4-BE49-F238E27FC236}">
                    <a16:creationId xmlns:a16="http://schemas.microsoft.com/office/drawing/2014/main" id="{F12AB6BA-1C38-48E3-B6A5-421C9219EC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4" name="Freeform 1127">
                <a:extLst>
                  <a:ext uri="{FF2B5EF4-FFF2-40B4-BE49-F238E27FC236}">
                    <a16:creationId xmlns:a16="http://schemas.microsoft.com/office/drawing/2014/main" id="{C1FBE7B8-7645-4821-8C2B-D92C065F20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210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5" name="Freeform 1128">
                <a:extLst>
                  <a:ext uri="{FF2B5EF4-FFF2-40B4-BE49-F238E27FC236}">
                    <a16:creationId xmlns:a16="http://schemas.microsoft.com/office/drawing/2014/main" id="{C9DAC517-1D08-4D34-A951-F5185C9707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9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6" name="Freeform 1129">
                <a:extLst>
                  <a:ext uri="{FF2B5EF4-FFF2-40B4-BE49-F238E27FC236}">
                    <a16:creationId xmlns:a16="http://schemas.microsoft.com/office/drawing/2014/main" id="{C9154999-A2E9-44F7-B257-4CC7925EF1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179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7" name="Freeform 1130">
                <a:extLst>
                  <a:ext uri="{FF2B5EF4-FFF2-40B4-BE49-F238E27FC236}">
                    <a16:creationId xmlns:a16="http://schemas.microsoft.com/office/drawing/2014/main" id="{C105E622-BD78-4B77-A9E4-08DA6E011C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38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8" name="Freeform 1131">
                <a:extLst>
                  <a:ext uri="{FF2B5EF4-FFF2-40B4-BE49-F238E27FC236}">
                    <a16:creationId xmlns:a16="http://schemas.microsoft.com/office/drawing/2014/main" id="{9CB2F923-73C8-42E9-AED1-B192DB98B4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66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9" name="Freeform 1132">
                <a:extLst>
                  <a:ext uri="{FF2B5EF4-FFF2-40B4-BE49-F238E27FC236}">
                    <a16:creationId xmlns:a16="http://schemas.microsoft.com/office/drawing/2014/main" id="{2D61FDCB-22DB-4DE6-95C5-F1D102A4AA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35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0" name="Freeform 1133">
                <a:extLst>
                  <a:ext uri="{FF2B5EF4-FFF2-40B4-BE49-F238E27FC236}">
                    <a16:creationId xmlns:a16="http://schemas.microsoft.com/office/drawing/2014/main" id="{508C7C70-42C5-4341-AAF9-CE7A24D8E1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33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1" name="Freeform 1134">
                <a:extLst>
                  <a:ext uri="{FF2B5EF4-FFF2-40B4-BE49-F238E27FC236}">
                    <a16:creationId xmlns:a16="http://schemas.microsoft.com/office/drawing/2014/main" id="{696C7819-580A-4FEF-A964-A1926122A2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31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2" name="Freeform 1135">
                <a:extLst>
                  <a:ext uri="{FF2B5EF4-FFF2-40B4-BE49-F238E27FC236}">
                    <a16:creationId xmlns:a16="http://schemas.microsoft.com/office/drawing/2014/main" id="{9DAA4B4B-AB37-4EB4-9C14-FF3BC120A3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30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3" name="Freeform 1136">
                <a:extLst>
                  <a:ext uri="{FF2B5EF4-FFF2-40B4-BE49-F238E27FC236}">
                    <a16:creationId xmlns:a16="http://schemas.microsoft.com/office/drawing/2014/main" id="{049BD0C3-2B54-4391-9749-513236CFC7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28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4" name="Freeform 1137">
                <a:extLst>
                  <a:ext uri="{FF2B5EF4-FFF2-40B4-BE49-F238E27FC236}">
                    <a16:creationId xmlns:a16="http://schemas.microsoft.com/office/drawing/2014/main" id="{EAA884AE-1A89-4D07-93F1-43F5B56260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5" name="Freeform 1138">
                <a:extLst>
                  <a:ext uri="{FF2B5EF4-FFF2-40B4-BE49-F238E27FC236}">
                    <a16:creationId xmlns:a16="http://schemas.microsoft.com/office/drawing/2014/main" id="{276FA1D8-5A6A-4284-A17A-0754903FAF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6" name="Freeform 1139">
                <a:extLst>
                  <a:ext uri="{FF2B5EF4-FFF2-40B4-BE49-F238E27FC236}">
                    <a16:creationId xmlns:a16="http://schemas.microsoft.com/office/drawing/2014/main" id="{9D11DC29-EB8D-498C-904D-BFBD2A94B8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7" name="Freeform 1140">
                <a:extLst>
                  <a:ext uri="{FF2B5EF4-FFF2-40B4-BE49-F238E27FC236}">
                    <a16:creationId xmlns:a16="http://schemas.microsoft.com/office/drawing/2014/main" id="{F925BB54-E37C-4A28-A701-FCA4D3D294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8" name="Freeform 1141">
                <a:extLst>
                  <a:ext uri="{FF2B5EF4-FFF2-40B4-BE49-F238E27FC236}">
                    <a16:creationId xmlns:a16="http://schemas.microsoft.com/office/drawing/2014/main" id="{B41B20F8-381B-43A0-A232-F9417FD6EA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9" name="Freeform 1142">
                <a:extLst>
                  <a:ext uri="{FF2B5EF4-FFF2-40B4-BE49-F238E27FC236}">
                    <a16:creationId xmlns:a16="http://schemas.microsoft.com/office/drawing/2014/main" id="{72E7D6E1-0A64-4081-8B34-F7DA676DC9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0" name="Freeform 1143">
                <a:extLst>
                  <a:ext uri="{FF2B5EF4-FFF2-40B4-BE49-F238E27FC236}">
                    <a16:creationId xmlns:a16="http://schemas.microsoft.com/office/drawing/2014/main" id="{881145A8-6BE5-4C1F-A217-039793F09F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179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1" name="Freeform 1144">
                <a:extLst>
                  <a:ext uri="{FF2B5EF4-FFF2-40B4-BE49-F238E27FC236}">
                    <a16:creationId xmlns:a16="http://schemas.microsoft.com/office/drawing/2014/main" id="{5C09EA5D-D49C-4155-86F6-B1C2CDA2D6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63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2" name="Freeform 1145">
                <a:extLst>
                  <a:ext uri="{FF2B5EF4-FFF2-40B4-BE49-F238E27FC236}">
                    <a16:creationId xmlns:a16="http://schemas.microsoft.com/office/drawing/2014/main" id="{19554442-24D9-4E6C-8E37-EEB234B9E3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66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3" name="Freeform 1146">
                <a:extLst>
                  <a:ext uri="{FF2B5EF4-FFF2-40B4-BE49-F238E27FC236}">
                    <a16:creationId xmlns:a16="http://schemas.microsoft.com/office/drawing/2014/main" id="{C06B6483-C422-4B64-97BA-2DBA6AB70F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35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4" name="Freeform 1147">
                <a:extLst>
                  <a:ext uri="{FF2B5EF4-FFF2-40B4-BE49-F238E27FC236}">
                    <a16:creationId xmlns:a16="http://schemas.microsoft.com/office/drawing/2014/main" id="{B1BAFC7D-2C0A-41E0-B9EB-11592F9C4D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3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5" name="Freeform 1148">
                <a:extLst>
                  <a:ext uri="{FF2B5EF4-FFF2-40B4-BE49-F238E27FC236}">
                    <a16:creationId xmlns:a16="http://schemas.microsoft.com/office/drawing/2014/main" id="{75B0F82C-CC00-4402-9AC5-F7AEFC178C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31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6" name="Freeform 1149">
                <a:extLst>
                  <a:ext uri="{FF2B5EF4-FFF2-40B4-BE49-F238E27FC236}">
                    <a16:creationId xmlns:a16="http://schemas.microsoft.com/office/drawing/2014/main" id="{7277EE98-0F47-435E-B33F-5979982D85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30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7" name="Freeform 1150">
                <a:extLst>
                  <a:ext uri="{FF2B5EF4-FFF2-40B4-BE49-F238E27FC236}">
                    <a16:creationId xmlns:a16="http://schemas.microsoft.com/office/drawing/2014/main" id="{183F95F4-3D1E-4095-AE4E-D4E3F14589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28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8" name="Freeform 1151">
                <a:extLst>
                  <a:ext uri="{FF2B5EF4-FFF2-40B4-BE49-F238E27FC236}">
                    <a16:creationId xmlns:a16="http://schemas.microsoft.com/office/drawing/2014/main" id="{F7B247B4-DD59-4C95-A753-28BF8C8333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9" name="Freeform 1152">
                <a:extLst>
                  <a:ext uri="{FF2B5EF4-FFF2-40B4-BE49-F238E27FC236}">
                    <a16:creationId xmlns:a16="http://schemas.microsoft.com/office/drawing/2014/main" id="{28282FC1-4B79-4184-80D6-B6665C5C37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0" name="Freeform 1153">
                <a:extLst>
                  <a:ext uri="{FF2B5EF4-FFF2-40B4-BE49-F238E27FC236}">
                    <a16:creationId xmlns:a16="http://schemas.microsoft.com/office/drawing/2014/main" id="{2E9381B6-2AB0-4AC9-945D-702418B2C8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1" name="Freeform 1154">
                <a:extLst>
                  <a:ext uri="{FF2B5EF4-FFF2-40B4-BE49-F238E27FC236}">
                    <a16:creationId xmlns:a16="http://schemas.microsoft.com/office/drawing/2014/main" id="{F4FBB007-C3A9-4A10-8943-BCAF5A4167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2" name="Freeform 1155">
                <a:extLst>
                  <a:ext uri="{FF2B5EF4-FFF2-40B4-BE49-F238E27FC236}">
                    <a16:creationId xmlns:a16="http://schemas.microsoft.com/office/drawing/2014/main" id="{71B2BF23-E51E-48CC-A76B-CE67F6E416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3" name="Freeform 1156">
                <a:extLst>
                  <a:ext uri="{FF2B5EF4-FFF2-40B4-BE49-F238E27FC236}">
                    <a16:creationId xmlns:a16="http://schemas.microsoft.com/office/drawing/2014/main" id="{CDBC99DC-294C-4296-8225-A39807686C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4" name="Freeform 1157">
                <a:extLst>
                  <a:ext uri="{FF2B5EF4-FFF2-40B4-BE49-F238E27FC236}">
                    <a16:creationId xmlns:a16="http://schemas.microsoft.com/office/drawing/2014/main" id="{29609F58-2530-4E32-9671-6C5962E4AA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5" name="Freeform 1158">
                <a:extLst>
                  <a:ext uri="{FF2B5EF4-FFF2-40B4-BE49-F238E27FC236}">
                    <a16:creationId xmlns:a16="http://schemas.microsoft.com/office/drawing/2014/main" id="{23E30B61-B097-46A4-A37E-597E957899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6" name="Freeform 1159">
                <a:extLst>
                  <a:ext uri="{FF2B5EF4-FFF2-40B4-BE49-F238E27FC236}">
                    <a16:creationId xmlns:a16="http://schemas.microsoft.com/office/drawing/2014/main" id="{72874CDC-EEFB-474B-95BA-3CF0EC90A7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14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7" name="Freeform 1160">
                <a:extLst>
                  <a:ext uri="{FF2B5EF4-FFF2-40B4-BE49-F238E27FC236}">
                    <a16:creationId xmlns:a16="http://schemas.microsoft.com/office/drawing/2014/main" id="{F39E4344-1404-4E87-8C2E-1B4EF0019A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35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8" name="Freeform 1161">
                <a:extLst>
                  <a:ext uri="{FF2B5EF4-FFF2-40B4-BE49-F238E27FC236}">
                    <a16:creationId xmlns:a16="http://schemas.microsoft.com/office/drawing/2014/main" id="{1CBCF387-7F9A-4D93-B37F-6289460622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3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9" name="Freeform 1162">
                <a:extLst>
                  <a:ext uri="{FF2B5EF4-FFF2-40B4-BE49-F238E27FC236}">
                    <a16:creationId xmlns:a16="http://schemas.microsoft.com/office/drawing/2014/main" id="{0C0EFA14-9CF6-4957-ACBC-D1318B4E55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31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0" name="Freeform 1163">
                <a:extLst>
                  <a:ext uri="{FF2B5EF4-FFF2-40B4-BE49-F238E27FC236}">
                    <a16:creationId xmlns:a16="http://schemas.microsoft.com/office/drawing/2014/main" id="{405C46E2-DA0A-4E28-9056-8728ED0C95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0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1" name="Freeform 1164">
                <a:extLst>
                  <a:ext uri="{FF2B5EF4-FFF2-40B4-BE49-F238E27FC236}">
                    <a16:creationId xmlns:a16="http://schemas.microsoft.com/office/drawing/2014/main" id="{113ADE35-AE2A-4DC9-9E27-272C825A5A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2" name="Freeform 1165">
                <a:extLst>
                  <a:ext uri="{FF2B5EF4-FFF2-40B4-BE49-F238E27FC236}">
                    <a16:creationId xmlns:a16="http://schemas.microsoft.com/office/drawing/2014/main" id="{8FA2EFCA-47D1-4D67-BA4E-B59833CFEC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3" name="Freeform 1166">
                <a:extLst>
                  <a:ext uri="{FF2B5EF4-FFF2-40B4-BE49-F238E27FC236}">
                    <a16:creationId xmlns:a16="http://schemas.microsoft.com/office/drawing/2014/main" id="{5A8A57DE-4B7E-4350-A1EB-1F37C32A4A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4" name="Freeform 1167">
                <a:extLst>
                  <a:ext uri="{FF2B5EF4-FFF2-40B4-BE49-F238E27FC236}">
                    <a16:creationId xmlns:a16="http://schemas.microsoft.com/office/drawing/2014/main" id="{56D51F78-EBF4-41E0-B763-41B7F0D792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5" name="Freeform 1168">
                <a:extLst>
                  <a:ext uri="{FF2B5EF4-FFF2-40B4-BE49-F238E27FC236}">
                    <a16:creationId xmlns:a16="http://schemas.microsoft.com/office/drawing/2014/main" id="{363B2D34-8DB9-4268-9B19-B64AA7A15D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6" name="Freeform 1169">
                <a:extLst>
                  <a:ext uri="{FF2B5EF4-FFF2-40B4-BE49-F238E27FC236}">
                    <a16:creationId xmlns:a16="http://schemas.microsoft.com/office/drawing/2014/main" id="{FE98260E-269F-4E81-8813-4D284E4D43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7" name="Freeform 1170">
                <a:extLst>
                  <a:ext uri="{FF2B5EF4-FFF2-40B4-BE49-F238E27FC236}">
                    <a16:creationId xmlns:a16="http://schemas.microsoft.com/office/drawing/2014/main" id="{7DEA64F5-7911-4CE8-9D51-1A692BB3E4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8" name="Freeform 1171">
                <a:extLst>
                  <a:ext uri="{FF2B5EF4-FFF2-40B4-BE49-F238E27FC236}">
                    <a16:creationId xmlns:a16="http://schemas.microsoft.com/office/drawing/2014/main" id="{16A248BF-6A07-4474-91C3-A30C5480AD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9" name="Freeform 1172">
                <a:extLst>
                  <a:ext uri="{FF2B5EF4-FFF2-40B4-BE49-F238E27FC236}">
                    <a16:creationId xmlns:a16="http://schemas.microsoft.com/office/drawing/2014/main" id="{4CFEB5D0-3C68-4723-8E3B-F86D65170C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0" name="Freeform 1173">
                <a:extLst>
                  <a:ext uri="{FF2B5EF4-FFF2-40B4-BE49-F238E27FC236}">
                    <a16:creationId xmlns:a16="http://schemas.microsoft.com/office/drawing/2014/main" id="{58626569-2E0E-460A-8E1E-B325675A66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1" name="Freeform 1174">
                <a:extLst>
                  <a:ext uri="{FF2B5EF4-FFF2-40B4-BE49-F238E27FC236}">
                    <a16:creationId xmlns:a16="http://schemas.microsoft.com/office/drawing/2014/main" id="{5DF5AA8F-D0C5-47E3-BC52-74AAE223B2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2" name="Freeform 1175">
                <a:extLst>
                  <a:ext uri="{FF2B5EF4-FFF2-40B4-BE49-F238E27FC236}">
                    <a16:creationId xmlns:a16="http://schemas.microsoft.com/office/drawing/2014/main" id="{DF8D4370-B235-4388-B8DC-7529C06A4F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3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3" name="Freeform 1176">
                <a:extLst>
                  <a:ext uri="{FF2B5EF4-FFF2-40B4-BE49-F238E27FC236}">
                    <a16:creationId xmlns:a16="http://schemas.microsoft.com/office/drawing/2014/main" id="{F5194C19-E764-4243-8EDB-BBB057EFE9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31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4" name="Freeform 1177">
                <a:extLst>
                  <a:ext uri="{FF2B5EF4-FFF2-40B4-BE49-F238E27FC236}">
                    <a16:creationId xmlns:a16="http://schemas.microsoft.com/office/drawing/2014/main" id="{C16340FA-359E-4441-AA36-628DB897D1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0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5" name="Freeform 1178">
                <a:extLst>
                  <a:ext uri="{FF2B5EF4-FFF2-40B4-BE49-F238E27FC236}">
                    <a16:creationId xmlns:a16="http://schemas.microsoft.com/office/drawing/2014/main" id="{A10C1D9E-CA1F-4BB8-BBDC-F7F0CA2CB7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6" name="Freeform 1179">
                <a:extLst>
                  <a:ext uri="{FF2B5EF4-FFF2-40B4-BE49-F238E27FC236}">
                    <a16:creationId xmlns:a16="http://schemas.microsoft.com/office/drawing/2014/main" id="{047CDBD3-489E-44AC-A9C2-8229C123D1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273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7" name="Freeform 1180">
                <a:extLst>
                  <a:ext uri="{FF2B5EF4-FFF2-40B4-BE49-F238E27FC236}">
                    <a16:creationId xmlns:a16="http://schemas.microsoft.com/office/drawing/2014/main" id="{6B604925-95BA-4813-851B-2CDAF9FCED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256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8" name="Freeform 1181">
                <a:extLst>
                  <a:ext uri="{FF2B5EF4-FFF2-40B4-BE49-F238E27FC236}">
                    <a16:creationId xmlns:a16="http://schemas.microsoft.com/office/drawing/2014/main" id="{56F3E6F4-7FDA-4232-B6CF-8E4CFC48EF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9" name="Freeform 1182">
                <a:extLst>
                  <a:ext uri="{FF2B5EF4-FFF2-40B4-BE49-F238E27FC236}">
                    <a16:creationId xmlns:a16="http://schemas.microsoft.com/office/drawing/2014/main" id="{3609FE93-0E99-46CA-9679-BE2482F39B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0" name="Freeform 1183">
                <a:extLst>
                  <a:ext uri="{FF2B5EF4-FFF2-40B4-BE49-F238E27FC236}">
                    <a16:creationId xmlns:a16="http://schemas.microsoft.com/office/drawing/2014/main" id="{2F62E95A-299F-4D3D-9D76-214465A8E3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1" name="Freeform 1184">
                <a:extLst>
                  <a:ext uri="{FF2B5EF4-FFF2-40B4-BE49-F238E27FC236}">
                    <a16:creationId xmlns:a16="http://schemas.microsoft.com/office/drawing/2014/main" id="{D4AE3629-4572-4A56-9B5D-8D7F1B2480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2" name="Freeform 1185">
                <a:extLst>
                  <a:ext uri="{FF2B5EF4-FFF2-40B4-BE49-F238E27FC236}">
                    <a16:creationId xmlns:a16="http://schemas.microsoft.com/office/drawing/2014/main" id="{E45344EE-5361-491A-905A-DA7260DA6E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3" name="Freeform 1186">
                <a:extLst>
                  <a:ext uri="{FF2B5EF4-FFF2-40B4-BE49-F238E27FC236}">
                    <a16:creationId xmlns:a16="http://schemas.microsoft.com/office/drawing/2014/main" id="{ABEDCE7F-7CB1-44F2-AA28-48148FE6D1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4" name="Freeform 1187">
                <a:extLst>
                  <a:ext uri="{FF2B5EF4-FFF2-40B4-BE49-F238E27FC236}">
                    <a16:creationId xmlns:a16="http://schemas.microsoft.com/office/drawing/2014/main" id="{B21CD219-EC28-4C5B-82A8-A2350709BE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5" name="Freeform 1188">
                <a:extLst>
                  <a:ext uri="{FF2B5EF4-FFF2-40B4-BE49-F238E27FC236}">
                    <a16:creationId xmlns:a16="http://schemas.microsoft.com/office/drawing/2014/main" id="{A5A9CC65-405D-4EFC-A955-268C1DE3A4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31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6" name="Freeform 1189">
                <a:extLst>
                  <a:ext uri="{FF2B5EF4-FFF2-40B4-BE49-F238E27FC236}">
                    <a16:creationId xmlns:a16="http://schemas.microsoft.com/office/drawing/2014/main" id="{262E62B1-6ABB-4BE7-883E-5402FA0A8F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7" name="Freeform 1190">
                <a:extLst>
                  <a:ext uri="{FF2B5EF4-FFF2-40B4-BE49-F238E27FC236}">
                    <a16:creationId xmlns:a16="http://schemas.microsoft.com/office/drawing/2014/main" id="{AB32947C-35CD-4F88-878D-EC30887E9E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117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8" name="Freeform 1191">
                <a:extLst>
                  <a:ext uri="{FF2B5EF4-FFF2-40B4-BE49-F238E27FC236}">
                    <a16:creationId xmlns:a16="http://schemas.microsoft.com/office/drawing/2014/main" id="{5C057CD6-5792-4558-924D-E0CF049876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0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9" name="Freeform 1192">
                <a:extLst>
                  <a:ext uri="{FF2B5EF4-FFF2-40B4-BE49-F238E27FC236}">
                    <a16:creationId xmlns:a16="http://schemas.microsoft.com/office/drawing/2014/main" id="{49D8FFCC-A6DA-4649-8E55-6ADCA66FC8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0" name="Freeform 1193">
                <a:extLst>
                  <a:ext uri="{FF2B5EF4-FFF2-40B4-BE49-F238E27FC236}">
                    <a16:creationId xmlns:a16="http://schemas.microsoft.com/office/drawing/2014/main" id="{A732F108-69F9-47A8-B578-39A3F4DF89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273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1" name="Freeform 1194">
                <a:extLst>
                  <a:ext uri="{FF2B5EF4-FFF2-40B4-BE49-F238E27FC236}">
                    <a16:creationId xmlns:a16="http://schemas.microsoft.com/office/drawing/2014/main" id="{F40ACBC1-063D-443E-8851-B4083E80C9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256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2" name="Freeform 1195">
                <a:extLst>
                  <a:ext uri="{FF2B5EF4-FFF2-40B4-BE49-F238E27FC236}">
                    <a16:creationId xmlns:a16="http://schemas.microsoft.com/office/drawing/2014/main" id="{D61BC69E-761E-48E3-BEA0-ACF2FDB638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24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3" name="Freeform 1196">
                <a:extLst>
                  <a:ext uri="{FF2B5EF4-FFF2-40B4-BE49-F238E27FC236}">
                    <a16:creationId xmlns:a16="http://schemas.microsoft.com/office/drawing/2014/main" id="{F64B3838-5BF3-476D-9451-54E1BC42AB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225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4" name="Freeform 1197">
                <a:extLst>
                  <a:ext uri="{FF2B5EF4-FFF2-40B4-BE49-F238E27FC236}">
                    <a16:creationId xmlns:a16="http://schemas.microsoft.com/office/drawing/2014/main" id="{0333D1BA-315E-46C7-BE12-225D86337E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5" name="Freeform 1198">
                <a:extLst>
                  <a:ext uri="{FF2B5EF4-FFF2-40B4-BE49-F238E27FC236}">
                    <a16:creationId xmlns:a16="http://schemas.microsoft.com/office/drawing/2014/main" id="{4899527E-BF9E-42FE-AD79-5494B1DC75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6" name="Freeform 1199">
                <a:extLst>
                  <a:ext uri="{FF2B5EF4-FFF2-40B4-BE49-F238E27FC236}">
                    <a16:creationId xmlns:a16="http://schemas.microsoft.com/office/drawing/2014/main" id="{99A590E4-741F-45D2-83F7-C5C789F185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7" name="Freeform 1200">
                <a:extLst>
                  <a:ext uri="{FF2B5EF4-FFF2-40B4-BE49-F238E27FC236}">
                    <a16:creationId xmlns:a16="http://schemas.microsoft.com/office/drawing/2014/main" id="{C8B18F25-BC31-42AF-B2A0-F4B9F7BFD9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8" name="Freeform 1201">
                <a:extLst>
                  <a:ext uri="{FF2B5EF4-FFF2-40B4-BE49-F238E27FC236}">
                    <a16:creationId xmlns:a16="http://schemas.microsoft.com/office/drawing/2014/main" id="{AEFF065A-E990-4ED4-8C9B-693BE45133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9" name="Freeform 1202">
                <a:extLst>
                  <a:ext uri="{FF2B5EF4-FFF2-40B4-BE49-F238E27FC236}">
                    <a16:creationId xmlns:a16="http://schemas.microsoft.com/office/drawing/2014/main" id="{2B718FF8-1C60-494B-A1E7-25DDDB0C4E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0" name="Freeform 1203">
                <a:extLst>
                  <a:ext uri="{FF2B5EF4-FFF2-40B4-BE49-F238E27FC236}">
                    <a16:creationId xmlns:a16="http://schemas.microsoft.com/office/drawing/2014/main" id="{1DE00B4B-CE5A-42E2-8CFC-063AF1188C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0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1" name="Freeform 1204">
                <a:extLst>
                  <a:ext uri="{FF2B5EF4-FFF2-40B4-BE49-F238E27FC236}">
                    <a16:creationId xmlns:a16="http://schemas.microsoft.com/office/drawing/2014/main" id="{3144E626-F577-443B-9EFB-C73D240F6B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2" name="Freeform 1205">
                <a:extLst>
                  <a:ext uri="{FF2B5EF4-FFF2-40B4-BE49-F238E27FC236}">
                    <a16:creationId xmlns:a16="http://schemas.microsoft.com/office/drawing/2014/main" id="{1CE5A15F-B8C1-40D6-8749-46F760593E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117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3" name="Freeform 1206">
                <a:extLst>
                  <a:ext uri="{FF2B5EF4-FFF2-40B4-BE49-F238E27FC236}">
                    <a16:creationId xmlns:a16="http://schemas.microsoft.com/office/drawing/2014/main" id="{DE2E7D2F-57E2-400C-89E0-96B9AAA681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0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4" name="Freeform 1207">
                <a:extLst>
                  <a:ext uri="{FF2B5EF4-FFF2-40B4-BE49-F238E27FC236}">
                    <a16:creationId xmlns:a16="http://schemas.microsoft.com/office/drawing/2014/main" id="{4100E977-326C-4A83-AD5A-319143F20E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273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5" name="Freeform 1208">
                <a:extLst>
                  <a:ext uri="{FF2B5EF4-FFF2-40B4-BE49-F238E27FC236}">
                    <a16:creationId xmlns:a16="http://schemas.microsoft.com/office/drawing/2014/main" id="{024F517D-E94E-4F01-834A-9E985FC5CA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256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6" name="Freeform 1209">
                <a:extLst>
                  <a:ext uri="{FF2B5EF4-FFF2-40B4-BE49-F238E27FC236}">
                    <a16:creationId xmlns:a16="http://schemas.microsoft.com/office/drawing/2014/main" id="{5BF92811-C05D-4710-A011-F986D7624B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24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12" name="Group 1411">
              <a:extLst>
                <a:ext uri="{FF2B5EF4-FFF2-40B4-BE49-F238E27FC236}">
                  <a16:creationId xmlns:a16="http://schemas.microsoft.com/office/drawing/2014/main" id="{D95479C6-64A2-4897-8303-B9664ECB1785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8981484" y="2772772"/>
              <a:ext cx="2389222" cy="1244519"/>
              <a:chOff x="5714" y="1649"/>
              <a:chExt cx="1125" cy="586"/>
            </a:xfrm>
          </p:grpSpPr>
          <p:sp>
            <p:nvSpPr>
              <p:cNvPr id="407" name="Freeform 1211">
                <a:extLst>
                  <a:ext uri="{FF2B5EF4-FFF2-40B4-BE49-F238E27FC236}">
                    <a16:creationId xmlns:a16="http://schemas.microsoft.com/office/drawing/2014/main" id="{478377EF-9339-4F0B-ACA2-8099BB3FFC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225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8" name="Freeform 1212">
                <a:extLst>
                  <a:ext uri="{FF2B5EF4-FFF2-40B4-BE49-F238E27FC236}">
                    <a16:creationId xmlns:a16="http://schemas.microsoft.com/office/drawing/2014/main" id="{CBFFAE00-0980-496C-9951-C1FDDFA51E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210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9" name="Freeform 1213">
                <a:extLst>
                  <a:ext uri="{FF2B5EF4-FFF2-40B4-BE49-F238E27FC236}">
                    <a16:creationId xmlns:a16="http://schemas.microsoft.com/office/drawing/2014/main" id="{42C14055-F7CA-4F26-AFC1-6F6C984172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94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0" name="Freeform 1214">
                <a:extLst>
                  <a:ext uri="{FF2B5EF4-FFF2-40B4-BE49-F238E27FC236}">
                    <a16:creationId xmlns:a16="http://schemas.microsoft.com/office/drawing/2014/main" id="{E64DC1E6-3206-4375-B7C5-CD2D133C8B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1" name="Freeform 1215">
                <a:extLst>
                  <a:ext uri="{FF2B5EF4-FFF2-40B4-BE49-F238E27FC236}">
                    <a16:creationId xmlns:a16="http://schemas.microsoft.com/office/drawing/2014/main" id="{829D37BB-068A-4A92-9D3D-4BCE8AB2D7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2" name="Freeform 1216">
                <a:extLst>
                  <a:ext uri="{FF2B5EF4-FFF2-40B4-BE49-F238E27FC236}">
                    <a16:creationId xmlns:a16="http://schemas.microsoft.com/office/drawing/2014/main" id="{D73BC058-F361-403C-949A-82FCE0C71C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3" name="Freeform 1217">
                <a:extLst>
                  <a:ext uri="{FF2B5EF4-FFF2-40B4-BE49-F238E27FC236}">
                    <a16:creationId xmlns:a16="http://schemas.microsoft.com/office/drawing/2014/main" id="{2D39DE12-4237-4342-A8A7-AB5910DE85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4" name="Freeform 1218">
                <a:extLst>
                  <a:ext uri="{FF2B5EF4-FFF2-40B4-BE49-F238E27FC236}">
                    <a16:creationId xmlns:a16="http://schemas.microsoft.com/office/drawing/2014/main" id="{E172B1F4-1045-4172-9621-10145DF8A4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117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5" name="Freeform 1219">
                <a:extLst>
                  <a:ext uri="{FF2B5EF4-FFF2-40B4-BE49-F238E27FC236}">
                    <a16:creationId xmlns:a16="http://schemas.microsoft.com/office/drawing/2014/main" id="{92ABB3DC-15D2-4DE0-92BD-00849B706D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0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6" name="Freeform 1220">
                <a:extLst>
                  <a:ext uri="{FF2B5EF4-FFF2-40B4-BE49-F238E27FC236}">
                    <a16:creationId xmlns:a16="http://schemas.microsoft.com/office/drawing/2014/main" id="{B63C1123-DE06-4DB8-80FC-EA33E07AE9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086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7" name="Freeform 1221">
                <a:extLst>
                  <a:ext uri="{FF2B5EF4-FFF2-40B4-BE49-F238E27FC236}">
                    <a16:creationId xmlns:a16="http://schemas.microsoft.com/office/drawing/2014/main" id="{530332ED-A328-4EC4-A54C-945AF72C94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163"/>
                <a:ext cx="16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8" name="Freeform 1222">
                <a:extLst>
                  <a:ext uri="{FF2B5EF4-FFF2-40B4-BE49-F238E27FC236}">
                    <a16:creationId xmlns:a16="http://schemas.microsoft.com/office/drawing/2014/main" id="{BE56ED5B-10E2-4981-AE23-3ACB823FCA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14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9" name="Freeform 1223">
                <a:extLst>
                  <a:ext uri="{FF2B5EF4-FFF2-40B4-BE49-F238E27FC236}">
                    <a16:creationId xmlns:a16="http://schemas.microsoft.com/office/drawing/2014/main" id="{DAEB0925-467A-4F11-B852-4AF4641D6B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131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0" name="Freeform 1224">
                <a:extLst>
                  <a:ext uri="{FF2B5EF4-FFF2-40B4-BE49-F238E27FC236}">
                    <a16:creationId xmlns:a16="http://schemas.microsoft.com/office/drawing/2014/main" id="{A2FC18C6-E8E4-4577-878A-CCAED1359A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117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1" name="Freeform 1225">
                <a:extLst>
                  <a:ext uri="{FF2B5EF4-FFF2-40B4-BE49-F238E27FC236}">
                    <a16:creationId xmlns:a16="http://schemas.microsoft.com/office/drawing/2014/main" id="{C3CBFBD4-7310-4C6B-B6BC-7F6676B197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2" name="Freeform 1226">
                <a:extLst>
                  <a:ext uri="{FF2B5EF4-FFF2-40B4-BE49-F238E27FC236}">
                    <a16:creationId xmlns:a16="http://schemas.microsoft.com/office/drawing/2014/main" id="{845E80B2-8142-4577-ACA1-4051C90244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3" name="Freeform 1227">
                <a:extLst>
                  <a:ext uri="{FF2B5EF4-FFF2-40B4-BE49-F238E27FC236}">
                    <a16:creationId xmlns:a16="http://schemas.microsoft.com/office/drawing/2014/main" id="{B08EB804-E2A1-4E5A-9439-12D71869E0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4" name="Freeform 1228">
                <a:extLst>
                  <a:ext uri="{FF2B5EF4-FFF2-40B4-BE49-F238E27FC236}">
                    <a16:creationId xmlns:a16="http://schemas.microsoft.com/office/drawing/2014/main" id="{87FBDA4C-54B0-41CC-AC73-561AE682F1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5" name="Freeform 1229">
                <a:extLst>
                  <a:ext uri="{FF2B5EF4-FFF2-40B4-BE49-F238E27FC236}">
                    <a16:creationId xmlns:a16="http://schemas.microsoft.com/office/drawing/2014/main" id="{334A6380-D049-4543-A95F-9F7011083F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6" name="Freeform 1230">
                <a:extLst>
                  <a:ext uri="{FF2B5EF4-FFF2-40B4-BE49-F238E27FC236}">
                    <a16:creationId xmlns:a16="http://schemas.microsoft.com/office/drawing/2014/main" id="{482BEE4A-D0D9-4093-A024-157C9A6F45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2023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7" name="Freeform 1231">
                <a:extLst>
                  <a:ext uri="{FF2B5EF4-FFF2-40B4-BE49-F238E27FC236}">
                    <a16:creationId xmlns:a16="http://schemas.microsoft.com/office/drawing/2014/main" id="{655A6F63-4005-4902-BD1B-6C2AFA98DD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2007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8" name="Freeform 1232">
                <a:extLst>
                  <a:ext uri="{FF2B5EF4-FFF2-40B4-BE49-F238E27FC236}">
                    <a16:creationId xmlns:a16="http://schemas.microsoft.com/office/drawing/2014/main" id="{F726CCFB-FAF4-435D-B632-4D1D29AAF6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992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9" name="Freeform 1233">
                <a:extLst>
                  <a:ext uri="{FF2B5EF4-FFF2-40B4-BE49-F238E27FC236}">
                    <a16:creationId xmlns:a16="http://schemas.microsoft.com/office/drawing/2014/main" id="{BA67C981-E49D-4B20-BBCA-5AB638AA5E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975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0" name="Freeform 1234">
                <a:extLst>
                  <a:ext uri="{FF2B5EF4-FFF2-40B4-BE49-F238E27FC236}">
                    <a16:creationId xmlns:a16="http://schemas.microsoft.com/office/drawing/2014/main" id="{56B710D9-41F2-4B3A-B678-F555465056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96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1" name="Freeform 1235">
                <a:extLst>
                  <a:ext uri="{FF2B5EF4-FFF2-40B4-BE49-F238E27FC236}">
                    <a16:creationId xmlns:a16="http://schemas.microsoft.com/office/drawing/2014/main" id="{5D6B4BF0-60D0-4872-B45A-5312B0BF6E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944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2" name="Freeform 1236">
                <a:extLst>
                  <a:ext uri="{FF2B5EF4-FFF2-40B4-BE49-F238E27FC236}">
                    <a16:creationId xmlns:a16="http://schemas.microsoft.com/office/drawing/2014/main" id="{30278563-74AB-4EAB-95C1-AA441E27C0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93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3" name="Freeform 1237">
                <a:extLst>
                  <a:ext uri="{FF2B5EF4-FFF2-40B4-BE49-F238E27FC236}">
                    <a16:creationId xmlns:a16="http://schemas.microsoft.com/office/drawing/2014/main" id="{E464DBE7-9035-42D4-A04F-3C5C848D99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91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4" name="Freeform 1238">
                <a:extLst>
                  <a:ext uri="{FF2B5EF4-FFF2-40B4-BE49-F238E27FC236}">
                    <a16:creationId xmlns:a16="http://schemas.microsoft.com/office/drawing/2014/main" id="{CBEEBE4B-71A4-4C07-AE12-CA838B2683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148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5" name="Freeform 1239">
                <a:extLst>
                  <a:ext uri="{FF2B5EF4-FFF2-40B4-BE49-F238E27FC236}">
                    <a16:creationId xmlns:a16="http://schemas.microsoft.com/office/drawing/2014/main" id="{211E41EC-67E4-4722-B6F8-279CC5FB07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131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6" name="Freeform 1240">
                <a:extLst>
                  <a:ext uri="{FF2B5EF4-FFF2-40B4-BE49-F238E27FC236}">
                    <a16:creationId xmlns:a16="http://schemas.microsoft.com/office/drawing/2014/main" id="{00F1F99B-1EBF-4495-B6C1-5F4CFE99B5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117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7" name="Freeform 1241">
                <a:extLst>
                  <a:ext uri="{FF2B5EF4-FFF2-40B4-BE49-F238E27FC236}">
                    <a16:creationId xmlns:a16="http://schemas.microsoft.com/office/drawing/2014/main" id="{E61826FB-7DDC-489B-BEBA-0D1EAD9140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8" name="Freeform 1242">
                <a:extLst>
                  <a:ext uri="{FF2B5EF4-FFF2-40B4-BE49-F238E27FC236}">
                    <a16:creationId xmlns:a16="http://schemas.microsoft.com/office/drawing/2014/main" id="{1BF6EAA2-0700-4FD9-9185-F2DCC3B30F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9" name="Freeform 1243">
                <a:extLst>
                  <a:ext uri="{FF2B5EF4-FFF2-40B4-BE49-F238E27FC236}">
                    <a16:creationId xmlns:a16="http://schemas.microsoft.com/office/drawing/2014/main" id="{F32170F0-B4E5-4768-B5F9-0D0F961401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0" name="Freeform 1244">
                <a:extLst>
                  <a:ext uri="{FF2B5EF4-FFF2-40B4-BE49-F238E27FC236}">
                    <a16:creationId xmlns:a16="http://schemas.microsoft.com/office/drawing/2014/main" id="{81868420-9D2F-41CD-80CF-2F370434D8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1" name="Freeform 1245">
                <a:extLst>
                  <a:ext uri="{FF2B5EF4-FFF2-40B4-BE49-F238E27FC236}">
                    <a16:creationId xmlns:a16="http://schemas.microsoft.com/office/drawing/2014/main" id="{BB46FD48-FFE7-4F12-8855-BA1AA3A25B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2" name="Freeform 1246">
                <a:extLst>
                  <a:ext uri="{FF2B5EF4-FFF2-40B4-BE49-F238E27FC236}">
                    <a16:creationId xmlns:a16="http://schemas.microsoft.com/office/drawing/2014/main" id="{78B45F00-1A70-49ED-957B-CF67CA162B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3" name="Freeform 1247">
                <a:extLst>
                  <a:ext uri="{FF2B5EF4-FFF2-40B4-BE49-F238E27FC236}">
                    <a16:creationId xmlns:a16="http://schemas.microsoft.com/office/drawing/2014/main" id="{7FD96F70-E6FD-43A5-BB27-7A9ECCF481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4" name="Freeform 1248">
                <a:extLst>
                  <a:ext uri="{FF2B5EF4-FFF2-40B4-BE49-F238E27FC236}">
                    <a16:creationId xmlns:a16="http://schemas.microsoft.com/office/drawing/2014/main" id="{22BA1DA9-83A6-44F6-8D32-C65D87ACB8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99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5" name="Freeform 1249">
                <a:extLst>
                  <a:ext uri="{FF2B5EF4-FFF2-40B4-BE49-F238E27FC236}">
                    <a16:creationId xmlns:a16="http://schemas.microsoft.com/office/drawing/2014/main" id="{A85E7EE2-03E3-4DFE-9186-F0AA83912F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975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6" name="Freeform 1250">
                <a:extLst>
                  <a:ext uri="{FF2B5EF4-FFF2-40B4-BE49-F238E27FC236}">
                    <a16:creationId xmlns:a16="http://schemas.microsoft.com/office/drawing/2014/main" id="{90B0BE1A-EA8E-4CDA-ADFC-9E14BEFE31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96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7" name="Freeform 1251">
                <a:extLst>
                  <a:ext uri="{FF2B5EF4-FFF2-40B4-BE49-F238E27FC236}">
                    <a16:creationId xmlns:a16="http://schemas.microsoft.com/office/drawing/2014/main" id="{668E7817-76BA-4405-BC19-79F7CD5239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944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8" name="Freeform 1252">
                <a:extLst>
                  <a:ext uri="{FF2B5EF4-FFF2-40B4-BE49-F238E27FC236}">
                    <a16:creationId xmlns:a16="http://schemas.microsoft.com/office/drawing/2014/main" id="{8979D54C-9F99-4457-8398-573ACF5E03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93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9" name="Freeform 1253">
                <a:extLst>
                  <a:ext uri="{FF2B5EF4-FFF2-40B4-BE49-F238E27FC236}">
                    <a16:creationId xmlns:a16="http://schemas.microsoft.com/office/drawing/2014/main" id="{B3EE753D-F5D3-4A69-8692-80DC7A6197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91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0" name="Freeform 1254">
                <a:extLst>
                  <a:ext uri="{FF2B5EF4-FFF2-40B4-BE49-F238E27FC236}">
                    <a16:creationId xmlns:a16="http://schemas.microsoft.com/office/drawing/2014/main" id="{E679F902-1A60-478F-A79C-7B1AD7EAB1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9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1" name="Freeform 1255">
                <a:extLst>
                  <a:ext uri="{FF2B5EF4-FFF2-40B4-BE49-F238E27FC236}">
                    <a16:creationId xmlns:a16="http://schemas.microsoft.com/office/drawing/2014/main" id="{17B5A23A-D2C8-4E1A-B4B3-BFAD0375C6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31"/>
                <a:ext cx="16" cy="11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2" name="Freeform 1256">
                <a:extLst>
                  <a:ext uri="{FF2B5EF4-FFF2-40B4-BE49-F238E27FC236}">
                    <a16:creationId xmlns:a16="http://schemas.microsoft.com/office/drawing/2014/main" id="{5640AB50-4CBB-4937-9052-E41FE7EB97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117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3" name="Freeform 1257">
                <a:extLst>
                  <a:ext uri="{FF2B5EF4-FFF2-40B4-BE49-F238E27FC236}">
                    <a16:creationId xmlns:a16="http://schemas.microsoft.com/office/drawing/2014/main" id="{804EEF99-F835-4AAE-8291-DE16C4F2B4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4" name="Freeform 1258">
                <a:extLst>
                  <a:ext uri="{FF2B5EF4-FFF2-40B4-BE49-F238E27FC236}">
                    <a16:creationId xmlns:a16="http://schemas.microsoft.com/office/drawing/2014/main" id="{3D47AB12-3DA8-45A8-A127-0CFF1002D1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5" name="Freeform 1259">
                <a:extLst>
                  <a:ext uri="{FF2B5EF4-FFF2-40B4-BE49-F238E27FC236}">
                    <a16:creationId xmlns:a16="http://schemas.microsoft.com/office/drawing/2014/main" id="{4FCA7C04-B41A-4757-B295-5878D6A537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6" name="Freeform 1260">
                <a:extLst>
                  <a:ext uri="{FF2B5EF4-FFF2-40B4-BE49-F238E27FC236}">
                    <a16:creationId xmlns:a16="http://schemas.microsoft.com/office/drawing/2014/main" id="{CB76F0E7-F3F5-4046-94F7-2377DD12C5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7" name="Freeform 1261">
                <a:extLst>
                  <a:ext uri="{FF2B5EF4-FFF2-40B4-BE49-F238E27FC236}">
                    <a16:creationId xmlns:a16="http://schemas.microsoft.com/office/drawing/2014/main" id="{77F523DE-8737-40AD-A1AE-A40FD0925F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8" name="Freeform 1262">
                <a:extLst>
                  <a:ext uri="{FF2B5EF4-FFF2-40B4-BE49-F238E27FC236}">
                    <a16:creationId xmlns:a16="http://schemas.microsoft.com/office/drawing/2014/main" id="{60A40183-9CE1-4976-822F-1DD89C097E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9" name="Freeform 1263">
                <a:extLst>
                  <a:ext uri="{FF2B5EF4-FFF2-40B4-BE49-F238E27FC236}">
                    <a16:creationId xmlns:a16="http://schemas.microsoft.com/office/drawing/2014/main" id="{E563FDCE-318F-486B-BA65-3C724DF134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0" name="Freeform 1264">
                <a:extLst>
                  <a:ext uri="{FF2B5EF4-FFF2-40B4-BE49-F238E27FC236}">
                    <a16:creationId xmlns:a16="http://schemas.microsoft.com/office/drawing/2014/main" id="{1F8B0EBE-FAF1-48F3-B447-4634E6E2C7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1" name="Freeform 1265">
                <a:extLst>
                  <a:ext uri="{FF2B5EF4-FFF2-40B4-BE49-F238E27FC236}">
                    <a16:creationId xmlns:a16="http://schemas.microsoft.com/office/drawing/2014/main" id="{4F5A26DD-7C11-44F4-B50F-458F648113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2" name="Freeform 1266">
                <a:extLst>
                  <a:ext uri="{FF2B5EF4-FFF2-40B4-BE49-F238E27FC236}">
                    <a16:creationId xmlns:a16="http://schemas.microsoft.com/office/drawing/2014/main" id="{7F24254C-EEB2-498E-A5A3-6355E01C91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961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3" name="Freeform 1267">
                <a:extLst>
                  <a:ext uri="{FF2B5EF4-FFF2-40B4-BE49-F238E27FC236}">
                    <a16:creationId xmlns:a16="http://schemas.microsoft.com/office/drawing/2014/main" id="{0E2805D6-3017-41D7-B118-0E9E920EE8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944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4" name="Freeform 1268">
                <a:extLst>
                  <a:ext uri="{FF2B5EF4-FFF2-40B4-BE49-F238E27FC236}">
                    <a16:creationId xmlns:a16="http://schemas.microsoft.com/office/drawing/2014/main" id="{5C5F3AE2-F6DD-47D6-AC38-CF2D6DB477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93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5" name="Freeform 1269">
                <a:extLst>
                  <a:ext uri="{FF2B5EF4-FFF2-40B4-BE49-F238E27FC236}">
                    <a16:creationId xmlns:a16="http://schemas.microsoft.com/office/drawing/2014/main" id="{64F921B4-3280-4BF1-AADA-7E83142676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91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6" name="Freeform 1270">
                <a:extLst>
                  <a:ext uri="{FF2B5EF4-FFF2-40B4-BE49-F238E27FC236}">
                    <a16:creationId xmlns:a16="http://schemas.microsoft.com/office/drawing/2014/main" id="{0A8A6322-0291-4C1A-B1E3-F7225B8AB2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9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7" name="Freeform 1271">
                <a:extLst>
                  <a:ext uri="{FF2B5EF4-FFF2-40B4-BE49-F238E27FC236}">
                    <a16:creationId xmlns:a16="http://schemas.microsoft.com/office/drawing/2014/main" id="{09CD0C47-5477-45C5-AF9D-67FC159118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88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8" name="Freeform 1272">
                <a:extLst>
                  <a:ext uri="{FF2B5EF4-FFF2-40B4-BE49-F238E27FC236}">
                    <a16:creationId xmlns:a16="http://schemas.microsoft.com/office/drawing/2014/main" id="{54DF186B-303E-4859-BD92-5AC6F9D1D3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117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3 h 4"/>
                  <a:gd name="T6" fmla="*/ 1 w 8"/>
                  <a:gd name="T7" fmla="*/ 3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9" name="Freeform 1273">
                <a:extLst>
                  <a:ext uri="{FF2B5EF4-FFF2-40B4-BE49-F238E27FC236}">
                    <a16:creationId xmlns:a16="http://schemas.microsoft.com/office/drawing/2014/main" id="{0B76E5CA-030D-4B94-AA8A-8BA28B6C38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0" name="Freeform 1274">
                <a:extLst>
                  <a:ext uri="{FF2B5EF4-FFF2-40B4-BE49-F238E27FC236}">
                    <a16:creationId xmlns:a16="http://schemas.microsoft.com/office/drawing/2014/main" id="{18933AD7-164F-4738-9E1F-A51D1B65A4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1" name="Freeform 1275">
                <a:extLst>
                  <a:ext uri="{FF2B5EF4-FFF2-40B4-BE49-F238E27FC236}">
                    <a16:creationId xmlns:a16="http://schemas.microsoft.com/office/drawing/2014/main" id="{E5486E03-CD2E-40C6-A30D-9FCD320BBD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2" name="Freeform 1276">
                <a:extLst>
                  <a:ext uri="{FF2B5EF4-FFF2-40B4-BE49-F238E27FC236}">
                    <a16:creationId xmlns:a16="http://schemas.microsoft.com/office/drawing/2014/main" id="{C3D6661C-14EE-4DB7-A0E2-57C5BE2963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3" name="Freeform 1277">
                <a:extLst>
                  <a:ext uri="{FF2B5EF4-FFF2-40B4-BE49-F238E27FC236}">
                    <a16:creationId xmlns:a16="http://schemas.microsoft.com/office/drawing/2014/main" id="{667057AD-2061-4E89-912A-9E652937CD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4" name="Freeform 1278">
                <a:extLst>
                  <a:ext uri="{FF2B5EF4-FFF2-40B4-BE49-F238E27FC236}">
                    <a16:creationId xmlns:a16="http://schemas.microsoft.com/office/drawing/2014/main" id="{18E4F793-9D0A-40A7-9676-5E848DC053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5" name="Freeform 1279">
                <a:extLst>
                  <a:ext uri="{FF2B5EF4-FFF2-40B4-BE49-F238E27FC236}">
                    <a16:creationId xmlns:a16="http://schemas.microsoft.com/office/drawing/2014/main" id="{ADAABF8C-1277-45ED-87E8-14936709D2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6" name="Freeform 1280">
                <a:extLst>
                  <a:ext uri="{FF2B5EF4-FFF2-40B4-BE49-F238E27FC236}">
                    <a16:creationId xmlns:a16="http://schemas.microsoft.com/office/drawing/2014/main" id="{9DB4AC45-FFA8-4199-AC49-6859C2C1E9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7" name="Freeform 1281">
                <a:extLst>
                  <a:ext uri="{FF2B5EF4-FFF2-40B4-BE49-F238E27FC236}">
                    <a16:creationId xmlns:a16="http://schemas.microsoft.com/office/drawing/2014/main" id="{314721C2-3D25-4622-9460-EE85E66C5F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8" name="Freeform 1282">
                <a:extLst>
                  <a:ext uri="{FF2B5EF4-FFF2-40B4-BE49-F238E27FC236}">
                    <a16:creationId xmlns:a16="http://schemas.microsoft.com/office/drawing/2014/main" id="{1474CCD7-846F-455E-BCBA-BD010EAD5D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9" name="Freeform 1283">
                <a:extLst>
                  <a:ext uri="{FF2B5EF4-FFF2-40B4-BE49-F238E27FC236}">
                    <a16:creationId xmlns:a16="http://schemas.microsoft.com/office/drawing/2014/main" id="{55D4BF9C-6781-4331-AE6C-D935FA4924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0" name="Freeform 1284">
                <a:extLst>
                  <a:ext uri="{FF2B5EF4-FFF2-40B4-BE49-F238E27FC236}">
                    <a16:creationId xmlns:a16="http://schemas.microsoft.com/office/drawing/2014/main" id="{0DF4F18D-A8AD-437B-B6B0-2CF21D7546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930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1" name="Freeform 1285">
                <a:extLst>
                  <a:ext uri="{FF2B5EF4-FFF2-40B4-BE49-F238E27FC236}">
                    <a16:creationId xmlns:a16="http://schemas.microsoft.com/office/drawing/2014/main" id="{F4D2B2FE-D368-49E2-9778-71E8C6DBF3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91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2" name="Freeform 1286">
                <a:extLst>
                  <a:ext uri="{FF2B5EF4-FFF2-40B4-BE49-F238E27FC236}">
                    <a16:creationId xmlns:a16="http://schemas.microsoft.com/office/drawing/2014/main" id="{25D1F20B-3A2C-497B-82BF-D44699BE62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9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3" name="Freeform 1287">
                <a:extLst>
                  <a:ext uri="{FF2B5EF4-FFF2-40B4-BE49-F238E27FC236}">
                    <a16:creationId xmlns:a16="http://schemas.microsoft.com/office/drawing/2014/main" id="{CC9B5FA7-40D6-4D37-B691-C409658667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882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4" name="Freeform 1288">
                <a:extLst>
                  <a:ext uri="{FF2B5EF4-FFF2-40B4-BE49-F238E27FC236}">
                    <a16:creationId xmlns:a16="http://schemas.microsoft.com/office/drawing/2014/main" id="{C6F1DB67-BF47-4917-A0DD-4E8D688103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67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5" name="Freeform 1289">
                <a:extLst>
                  <a:ext uri="{FF2B5EF4-FFF2-40B4-BE49-F238E27FC236}">
                    <a16:creationId xmlns:a16="http://schemas.microsoft.com/office/drawing/2014/main" id="{ECF3525D-0F92-4A19-B5AB-54927070AD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00"/>
                <a:ext cx="17" cy="11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6" name="Freeform 1290">
                <a:extLst>
                  <a:ext uri="{FF2B5EF4-FFF2-40B4-BE49-F238E27FC236}">
                    <a16:creationId xmlns:a16="http://schemas.microsoft.com/office/drawing/2014/main" id="{93BF79BA-CA1D-4B59-AF0A-EC59EE3BF5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7" name="Freeform 1291">
                <a:extLst>
                  <a:ext uri="{FF2B5EF4-FFF2-40B4-BE49-F238E27FC236}">
                    <a16:creationId xmlns:a16="http://schemas.microsoft.com/office/drawing/2014/main" id="{CC6E6E4A-D4A7-4DF5-A106-57E06551A1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8" name="Freeform 1292">
                <a:extLst>
                  <a:ext uri="{FF2B5EF4-FFF2-40B4-BE49-F238E27FC236}">
                    <a16:creationId xmlns:a16="http://schemas.microsoft.com/office/drawing/2014/main" id="{61C9D3F7-645A-4628-883F-5A49A8831E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9" name="Freeform 1293">
                <a:extLst>
                  <a:ext uri="{FF2B5EF4-FFF2-40B4-BE49-F238E27FC236}">
                    <a16:creationId xmlns:a16="http://schemas.microsoft.com/office/drawing/2014/main" id="{A42720C5-5936-4B87-9BD0-AB6687997C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0" name="Freeform 1294">
                <a:extLst>
                  <a:ext uri="{FF2B5EF4-FFF2-40B4-BE49-F238E27FC236}">
                    <a16:creationId xmlns:a16="http://schemas.microsoft.com/office/drawing/2014/main" id="{880289AB-1872-4870-A7E4-03CD7EF21D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1" name="Freeform 1295">
                <a:extLst>
                  <a:ext uri="{FF2B5EF4-FFF2-40B4-BE49-F238E27FC236}">
                    <a16:creationId xmlns:a16="http://schemas.microsoft.com/office/drawing/2014/main" id="{7522A764-17BA-42D2-A02B-0229677467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2" name="Freeform 1296">
                <a:extLst>
                  <a:ext uri="{FF2B5EF4-FFF2-40B4-BE49-F238E27FC236}">
                    <a16:creationId xmlns:a16="http://schemas.microsoft.com/office/drawing/2014/main" id="{B79A6310-E933-42D3-A324-D35F6846F6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3" name="Freeform 1297">
                <a:extLst>
                  <a:ext uri="{FF2B5EF4-FFF2-40B4-BE49-F238E27FC236}">
                    <a16:creationId xmlns:a16="http://schemas.microsoft.com/office/drawing/2014/main" id="{357622B0-470B-4722-BA0F-A969A1E05E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4" name="Freeform 1298">
                <a:extLst>
                  <a:ext uri="{FF2B5EF4-FFF2-40B4-BE49-F238E27FC236}">
                    <a16:creationId xmlns:a16="http://schemas.microsoft.com/office/drawing/2014/main" id="{B97023F3-2790-4EFE-AA7C-378D1340BF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5" name="Freeform 1299">
                <a:extLst>
                  <a:ext uri="{FF2B5EF4-FFF2-40B4-BE49-F238E27FC236}">
                    <a16:creationId xmlns:a16="http://schemas.microsoft.com/office/drawing/2014/main" id="{C6158CAC-BABC-4DB3-831C-39BD29451E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6" name="Freeform 1300">
                <a:extLst>
                  <a:ext uri="{FF2B5EF4-FFF2-40B4-BE49-F238E27FC236}">
                    <a16:creationId xmlns:a16="http://schemas.microsoft.com/office/drawing/2014/main" id="{2B5B2738-1A78-4B68-9543-604893979A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93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7" name="Freeform 1301">
                <a:extLst>
                  <a:ext uri="{FF2B5EF4-FFF2-40B4-BE49-F238E27FC236}">
                    <a16:creationId xmlns:a16="http://schemas.microsoft.com/office/drawing/2014/main" id="{4A883C9A-38F6-47AE-950B-4E1C5D5974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91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8" name="Freeform 1302">
                <a:extLst>
                  <a:ext uri="{FF2B5EF4-FFF2-40B4-BE49-F238E27FC236}">
                    <a16:creationId xmlns:a16="http://schemas.microsoft.com/office/drawing/2014/main" id="{D82E6E90-3F2F-4AF6-AC36-F11FBBE9EC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9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9" name="Freeform 1303">
                <a:extLst>
                  <a:ext uri="{FF2B5EF4-FFF2-40B4-BE49-F238E27FC236}">
                    <a16:creationId xmlns:a16="http://schemas.microsoft.com/office/drawing/2014/main" id="{E736281C-0AE6-4BA8-9089-CD6BF67263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882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0" name="Freeform 1304">
                <a:extLst>
                  <a:ext uri="{FF2B5EF4-FFF2-40B4-BE49-F238E27FC236}">
                    <a16:creationId xmlns:a16="http://schemas.microsoft.com/office/drawing/2014/main" id="{90FD748D-0449-44FD-8536-745EB4F33C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67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1" name="Freeform 1305">
                <a:extLst>
                  <a:ext uri="{FF2B5EF4-FFF2-40B4-BE49-F238E27FC236}">
                    <a16:creationId xmlns:a16="http://schemas.microsoft.com/office/drawing/2014/main" id="{D6ED9021-2F26-45F9-A83A-8B876F9C69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85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2" name="Freeform 1306">
                <a:extLst>
                  <a:ext uri="{FF2B5EF4-FFF2-40B4-BE49-F238E27FC236}">
                    <a16:creationId xmlns:a16="http://schemas.microsoft.com/office/drawing/2014/main" id="{5CC8F329-38B3-4E1C-B399-833F531C9D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086"/>
                <a:ext cx="17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3 h 4"/>
                  <a:gd name="T6" fmla="*/ 1 w 8"/>
                  <a:gd name="T7" fmla="*/ 3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3" name="Freeform 1307">
                <a:extLst>
                  <a:ext uri="{FF2B5EF4-FFF2-40B4-BE49-F238E27FC236}">
                    <a16:creationId xmlns:a16="http://schemas.microsoft.com/office/drawing/2014/main" id="{CADFDEA1-F1A2-4A4B-B6E2-2593806D34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069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4" name="Freeform 1308">
                <a:extLst>
                  <a:ext uri="{FF2B5EF4-FFF2-40B4-BE49-F238E27FC236}">
                    <a16:creationId xmlns:a16="http://schemas.microsoft.com/office/drawing/2014/main" id="{196A627D-1844-4EB8-AC9D-C07A6EF5B2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5" name="Freeform 1309">
                <a:extLst>
                  <a:ext uri="{FF2B5EF4-FFF2-40B4-BE49-F238E27FC236}">
                    <a16:creationId xmlns:a16="http://schemas.microsoft.com/office/drawing/2014/main" id="{7FD4426A-0F7D-48F6-8C27-1E4598BA66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6" name="Freeform 1310">
                <a:extLst>
                  <a:ext uri="{FF2B5EF4-FFF2-40B4-BE49-F238E27FC236}">
                    <a16:creationId xmlns:a16="http://schemas.microsoft.com/office/drawing/2014/main" id="{F4BEAB93-CA48-47D4-AF1B-23A83A6B10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7" name="Freeform 1311">
                <a:extLst>
                  <a:ext uri="{FF2B5EF4-FFF2-40B4-BE49-F238E27FC236}">
                    <a16:creationId xmlns:a16="http://schemas.microsoft.com/office/drawing/2014/main" id="{B8720AB4-11C5-4567-803A-C393092F1B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8" name="Freeform 1312">
                <a:extLst>
                  <a:ext uri="{FF2B5EF4-FFF2-40B4-BE49-F238E27FC236}">
                    <a16:creationId xmlns:a16="http://schemas.microsoft.com/office/drawing/2014/main" id="{D3B961AA-18EA-4C80-87D8-7641B5948E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9" name="Freeform 1313">
                <a:extLst>
                  <a:ext uri="{FF2B5EF4-FFF2-40B4-BE49-F238E27FC236}">
                    <a16:creationId xmlns:a16="http://schemas.microsoft.com/office/drawing/2014/main" id="{8BB73096-AF05-484B-82CF-BA4246543E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0" name="Freeform 1314">
                <a:extLst>
                  <a:ext uri="{FF2B5EF4-FFF2-40B4-BE49-F238E27FC236}">
                    <a16:creationId xmlns:a16="http://schemas.microsoft.com/office/drawing/2014/main" id="{981FFAEA-50FB-4438-8A80-3346E01425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1" name="Freeform 1315">
                <a:extLst>
                  <a:ext uri="{FF2B5EF4-FFF2-40B4-BE49-F238E27FC236}">
                    <a16:creationId xmlns:a16="http://schemas.microsoft.com/office/drawing/2014/main" id="{F8D32346-1B9A-4CE7-82FF-67F7E669FC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2" name="Freeform 1316">
                <a:extLst>
                  <a:ext uri="{FF2B5EF4-FFF2-40B4-BE49-F238E27FC236}">
                    <a16:creationId xmlns:a16="http://schemas.microsoft.com/office/drawing/2014/main" id="{99F97B01-A57E-4342-A7BB-6D65D24F60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93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3" name="Freeform 1317">
                <a:extLst>
                  <a:ext uri="{FF2B5EF4-FFF2-40B4-BE49-F238E27FC236}">
                    <a16:creationId xmlns:a16="http://schemas.microsoft.com/office/drawing/2014/main" id="{C4105130-1DFB-4E7F-B240-678F7BB9AC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91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4" name="Freeform 1318">
                <a:extLst>
                  <a:ext uri="{FF2B5EF4-FFF2-40B4-BE49-F238E27FC236}">
                    <a16:creationId xmlns:a16="http://schemas.microsoft.com/office/drawing/2014/main" id="{83079FC6-E940-4F31-8283-7EFA7D69B6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9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5" name="Freeform 1319">
                <a:extLst>
                  <a:ext uri="{FF2B5EF4-FFF2-40B4-BE49-F238E27FC236}">
                    <a16:creationId xmlns:a16="http://schemas.microsoft.com/office/drawing/2014/main" id="{ED8EF2AC-ECF3-463F-AFC5-DBE7EDDE10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6" name="Freeform 1320">
                <a:extLst>
                  <a:ext uri="{FF2B5EF4-FFF2-40B4-BE49-F238E27FC236}">
                    <a16:creationId xmlns:a16="http://schemas.microsoft.com/office/drawing/2014/main" id="{DB73238A-D7D0-4D45-8ADB-CBE06B855F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67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7" name="Freeform 1321">
                <a:extLst>
                  <a:ext uri="{FF2B5EF4-FFF2-40B4-BE49-F238E27FC236}">
                    <a16:creationId xmlns:a16="http://schemas.microsoft.com/office/drawing/2014/main" id="{605C1C2E-149E-4C75-8878-FD54CBD416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85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8" name="Freeform 1322">
                <a:extLst>
                  <a:ext uri="{FF2B5EF4-FFF2-40B4-BE49-F238E27FC236}">
                    <a16:creationId xmlns:a16="http://schemas.microsoft.com/office/drawing/2014/main" id="{C1166DF4-4127-41AD-A85F-809A12DFA1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3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9" name="Freeform 1323">
                <a:extLst>
                  <a:ext uri="{FF2B5EF4-FFF2-40B4-BE49-F238E27FC236}">
                    <a16:creationId xmlns:a16="http://schemas.microsoft.com/office/drawing/2014/main" id="{7578C6BE-81BB-4E5A-A012-654C0A64F6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069"/>
                <a:ext cx="17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0" name="Freeform 1324">
                <a:extLst>
                  <a:ext uri="{FF2B5EF4-FFF2-40B4-BE49-F238E27FC236}">
                    <a16:creationId xmlns:a16="http://schemas.microsoft.com/office/drawing/2014/main" id="{23E25411-C9C1-4730-B9B7-4CDABE752E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054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1" name="Freeform 1325">
                <a:extLst>
                  <a:ext uri="{FF2B5EF4-FFF2-40B4-BE49-F238E27FC236}">
                    <a16:creationId xmlns:a16="http://schemas.microsoft.com/office/drawing/2014/main" id="{DA6A12E4-29FA-450B-BA0B-1A8D5B0B15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038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2" name="Freeform 1326">
                <a:extLst>
                  <a:ext uri="{FF2B5EF4-FFF2-40B4-BE49-F238E27FC236}">
                    <a16:creationId xmlns:a16="http://schemas.microsoft.com/office/drawing/2014/main" id="{1D9A9974-8CF0-4993-A1B9-1314926D97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3" name="Freeform 1327">
                <a:extLst>
                  <a:ext uri="{FF2B5EF4-FFF2-40B4-BE49-F238E27FC236}">
                    <a16:creationId xmlns:a16="http://schemas.microsoft.com/office/drawing/2014/main" id="{CEFB0143-CED4-4A02-A7B7-D8DB5D2C12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4" name="Freeform 1328">
                <a:extLst>
                  <a:ext uri="{FF2B5EF4-FFF2-40B4-BE49-F238E27FC236}">
                    <a16:creationId xmlns:a16="http://schemas.microsoft.com/office/drawing/2014/main" id="{CEF9DACA-6031-468F-B79D-BC3C427DC8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5" name="Freeform 1329">
                <a:extLst>
                  <a:ext uri="{FF2B5EF4-FFF2-40B4-BE49-F238E27FC236}">
                    <a16:creationId xmlns:a16="http://schemas.microsoft.com/office/drawing/2014/main" id="{2DA06437-707F-4FA4-979B-EFFFCDCED9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6" name="Freeform 1330">
                <a:extLst>
                  <a:ext uri="{FF2B5EF4-FFF2-40B4-BE49-F238E27FC236}">
                    <a16:creationId xmlns:a16="http://schemas.microsoft.com/office/drawing/2014/main" id="{78E44B3A-B7E8-45A1-BB85-1D70D8E826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7" name="Freeform 1331">
                <a:extLst>
                  <a:ext uri="{FF2B5EF4-FFF2-40B4-BE49-F238E27FC236}">
                    <a16:creationId xmlns:a16="http://schemas.microsoft.com/office/drawing/2014/main" id="{162FC63A-E547-4B6F-9F63-07F7AD6375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8" name="Freeform 1332">
                <a:extLst>
                  <a:ext uri="{FF2B5EF4-FFF2-40B4-BE49-F238E27FC236}">
                    <a16:creationId xmlns:a16="http://schemas.microsoft.com/office/drawing/2014/main" id="{307040E2-ACB8-4C33-B43B-EC722A02F4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93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9" name="Freeform 1333">
                <a:extLst>
                  <a:ext uri="{FF2B5EF4-FFF2-40B4-BE49-F238E27FC236}">
                    <a16:creationId xmlns:a16="http://schemas.microsoft.com/office/drawing/2014/main" id="{40D71769-C7A3-4C21-852C-13A1395865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91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0" name="Freeform 1334">
                <a:extLst>
                  <a:ext uri="{FF2B5EF4-FFF2-40B4-BE49-F238E27FC236}">
                    <a16:creationId xmlns:a16="http://schemas.microsoft.com/office/drawing/2014/main" id="{821D110E-841F-42EA-A69D-74339F25F2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9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1" name="Freeform 1335">
                <a:extLst>
                  <a:ext uri="{FF2B5EF4-FFF2-40B4-BE49-F238E27FC236}">
                    <a16:creationId xmlns:a16="http://schemas.microsoft.com/office/drawing/2014/main" id="{16CA7F7E-CF75-4CB2-8CC6-4B419EE0EF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2" name="Freeform 1336">
                <a:extLst>
                  <a:ext uri="{FF2B5EF4-FFF2-40B4-BE49-F238E27FC236}">
                    <a16:creationId xmlns:a16="http://schemas.microsoft.com/office/drawing/2014/main" id="{D803B157-DBCC-4716-9B87-BF8BBA91D2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67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3" name="Freeform 1337">
                <a:extLst>
                  <a:ext uri="{FF2B5EF4-FFF2-40B4-BE49-F238E27FC236}">
                    <a16:creationId xmlns:a16="http://schemas.microsoft.com/office/drawing/2014/main" id="{896F4CF1-1608-42F8-805F-08E1FDBDDA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4" name="Freeform 1338">
                <a:extLst>
                  <a:ext uri="{FF2B5EF4-FFF2-40B4-BE49-F238E27FC236}">
                    <a16:creationId xmlns:a16="http://schemas.microsoft.com/office/drawing/2014/main" id="{3FC1EFF3-A39A-4991-99CC-C7810E8EE8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3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5" name="Freeform 1339">
                <a:extLst>
                  <a:ext uri="{FF2B5EF4-FFF2-40B4-BE49-F238E27FC236}">
                    <a16:creationId xmlns:a16="http://schemas.microsoft.com/office/drawing/2014/main" id="{696842F2-9EF3-41EC-9FAD-F436BA2623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82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6" name="Freeform 1340">
                <a:extLst>
                  <a:ext uri="{FF2B5EF4-FFF2-40B4-BE49-F238E27FC236}">
                    <a16:creationId xmlns:a16="http://schemas.microsoft.com/office/drawing/2014/main" id="{4CC02949-CBF6-4CD4-B75D-59009A145F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99"/>
                <a:ext cx="17" cy="8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7" name="Freeform 1341">
                <a:extLst>
                  <a:ext uri="{FF2B5EF4-FFF2-40B4-BE49-F238E27FC236}">
                    <a16:creationId xmlns:a16="http://schemas.microsoft.com/office/drawing/2014/main" id="{961F2730-07EB-4A22-965E-D7C140543E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88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8" name="Freeform 1342">
                <a:extLst>
                  <a:ext uri="{FF2B5EF4-FFF2-40B4-BE49-F238E27FC236}">
                    <a16:creationId xmlns:a16="http://schemas.microsoft.com/office/drawing/2014/main" id="{8E0298EB-A13F-4232-A33C-49782C98ED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867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9" name="Freeform 1343">
                <a:extLst>
                  <a:ext uri="{FF2B5EF4-FFF2-40B4-BE49-F238E27FC236}">
                    <a16:creationId xmlns:a16="http://schemas.microsoft.com/office/drawing/2014/main" id="{30A633E3-C974-4D97-8AE7-D4640EF2E6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85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0" name="Freeform 1344">
                <a:extLst>
                  <a:ext uri="{FF2B5EF4-FFF2-40B4-BE49-F238E27FC236}">
                    <a16:creationId xmlns:a16="http://schemas.microsoft.com/office/drawing/2014/main" id="{6DD47E9D-36AA-4933-8BCF-E31AAA1E13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83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1" name="Freeform 1345">
                <a:extLst>
                  <a:ext uri="{FF2B5EF4-FFF2-40B4-BE49-F238E27FC236}">
                    <a16:creationId xmlns:a16="http://schemas.microsoft.com/office/drawing/2014/main" id="{DEF7B234-39C4-4332-8DA1-F4984D0689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2" name="Freeform 1346">
                <a:extLst>
                  <a:ext uri="{FF2B5EF4-FFF2-40B4-BE49-F238E27FC236}">
                    <a16:creationId xmlns:a16="http://schemas.microsoft.com/office/drawing/2014/main" id="{930AD0ED-5929-4FDA-8C9B-827E76B66F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80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3" name="Freeform 1347">
                <a:extLst>
                  <a:ext uri="{FF2B5EF4-FFF2-40B4-BE49-F238E27FC236}">
                    <a16:creationId xmlns:a16="http://schemas.microsoft.com/office/drawing/2014/main" id="{A52D953D-792C-41E8-B8AD-05B755928C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4" name="Freeform 1348">
                <a:extLst>
                  <a:ext uri="{FF2B5EF4-FFF2-40B4-BE49-F238E27FC236}">
                    <a16:creationId xmlns:a16="http://schemas.microsoft.com/office/drawing/2014/main" id="{B504B300-AF6C-410C-A98A-2FCD978CBF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5" name="Freeform 1349">
                <a:extLst>
                  <a:ext uri="{FF2B5EF4-FFF2-40B4-BE49-F238E27FC236}">
                    <a16:creationId xmlns:a16="http://schemas.microsoft.com/office/drawing/2014/main" id="{B189F4FA-330B-4F7B-9676-6545602E84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882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6" name="Freeform 1350">
                <a:extLst>
                  <a:ext uri="{FF2B5EF4-FFF2-40B4-BE49-F238E27FC236}">
                    <a16:creationId xmlns:a16="http://schemas.microsoft.com/office/drawing/2014/main" id="{5AEF9352-64AC-47F0-B163-1E68621546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67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7" name="Freeform 1351">
                <a:extLst>
                  <a:ext uri="{FF2B5EF4-FFF2-40B4-BE49-F238E27FC236}">
                    <a16:creationId xmlns:a16="http://schemas.microsoft.com/office/drawing/2014/main" id="{EEAA75DB-2245-481C-B148-6F2BC7E0A6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85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8" name="Freeform 1352">
                <a:extLst>
                  <a:ext uri="{FF2B5EF4-FFF2-40B4-BE49-F238E27FC236}">
                    <a16:creationId xmlns:a16="http://schemas.microsoft.com/office/drawing/2014/main" id="{428CA666-FBA6-4C7B-9736-B52BB05B5B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83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9" name="Freeform 1353">
                <a:extLst>
                  <a:ext uri="{FF2B5EF4-FFF2-40B4-BE49-F238E27FC236}">
                    <a16:creationId xmlns:a16="http://schemas.microsoft.com/office/drawing/2014/main" id="{2D369E30-456E-4732-87EF-C8C2D83935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0" name="Freeform 1354">
                <a:extLst>
                  <a:ext uri="{FF2B5EF4-FFF2-40B4-BE49-F238E27FC236}">
                    <a16:creationId xmlns:a16="http://schemas.microsoft.com/office/drawing/2014/main" id="{DB0894CA-AF73-4108-B79A-272FB73269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80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1" name="Freeform 1355">
                <a:extLst>
                  <a:ext uri="{FF2B5EF4-FFF2-40B4-BE49-F238E27FC236}">
                    <a16:creationId xmlns:a16="http://schemas.microsoft.com/office/drawing/2014/main" id="{2AB81923-C5A8-4CCE-8B95-8B8EFA7D58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2" name="Freeform 1356">
                <a:extLst>
                  <a:ext uri="{FF2B5EF4-FFF2-40B4-BE49-F238E27FC236}">
                    <a16:creationId xmlns:a16="http://schemas.microsoft.com/office/drawing/2014/main" id="{224D88D5-336C-44DB-9B8B-DBB7EE004E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3" name="Freeform 1357">
                <a:extLst>
                  <a:ext uri="{FF2B5EF4-FFF2-40B4-BE49-F238E27FC236}">
                    <a16:creationId xmlns:a16="http://schemas.microsoft.com/office/drawing/2014/main" id="{D5C20CE7-E568-48EF-A087-D5D80A5DD0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4" name="Freeform 1358">
                <a:extLst>
                  <a:ext uri="{FF2B5EF4-FFF2-40B4-BE49-F238E27FC236}">
                    <a16:creationId xmlns:a16="http://schemas.microsoft.com/office/drawing/2014/main" id="{34F59014-2029-40B0-ACC4-3AC60C5A0F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5" name="Freeform 1359">
                <a:extLst>
                  <a:ext uri="{FF2B5EF4-FFF2-40B4-BE49-F238E27FC236}">
                    <a16:creationId xmlns:a16="http://schemas.microsoft.com/office/drawing/2014/main" id="{99F6CFB2-DD8E-4702-88EA-7FD81A005E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67"/>
                <a:ext cx="17" cy="9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6" name="Freeform 1360">
                <a:extLst>
                  <a:ext uri="{FF2B5EF4-FFF2-40B4-BE49-F238E27FC236}">
                    <a16:creationId xmlns:a16="http://schemas.microsoft.com/office/drawing/2014/main" id="{270FBC4B-E855-42F4-9590-9C621AA494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85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7" name="Freeform 1361">
                <a:extLst>
                  <a:ext uri="{FF2B5EF4-FFF2-40B4-BE49-F238E27FC236}">
                    <a16:creationId xmlns:a16="http://schemas.microsoft.com/office/drawing/2014/main" id="{BFB4BB18-64E4-4FE0-AF99-3FF16C42B3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3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8" name="Freeform 1362">
                <a:extLst>
                  <a:ext uri="{FF2B5EF4-FFF2-40B4-BE49-F238E27FC236}">
                    <a16:creationId xmlns:a16="http://schemas.microsoft.com/office/drawing/2014/main" id="{89BF3392-3CBE-47CD-8A57-C23BF19869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9" name="Freeform 1363">
                <a:extLst>
                  <a:ext uri="{FF2B5EF4-FFF2-40B4-BE49-F238E27FC236}">
                    <a16:creationId xmlns:a16="http://schemas.microsoft.com/office/drawing/2014/main" id="{C443B90D-D2BD-4875-80C8-76072CFF1D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80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0" name="Freeform 1364">
                <a:extLst>
                  <a:ext uri="{FF2B5EF4-FFF2-40B4-BE49-F238E27FC236}">
                    <a16:creationId xmlns:a16="http://schemas.microsoft.com/office/drawing/2014/main" id="{424E2B49-6115-424A-AD04-C3970AB40F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1" name="Freeform 1365">
                <a:extLst>
                  <a:ext uri="{FF2B5EF4-FFF2-40B4-BE49-F238E27FC236}">
                    <a16:creationId xmlns:a16="http://schemas.microsoft.com/office/drawing/2014/main" id="{57C902E6-7A8E-4BB7-8DE3-C4CB0F79EE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2" name="Freeform 1366">
                <a:extLst>
                  <a:ext uri="{FF2B5EF4-FFF2-40B4-BE49-F238E27FC236}">
                    <a16:creationId xmlns:a16="http://schemas.microsoft.com/office/drawing/2014/main" id="{CB4B6661-7898-4EA9-BAE9-24C2C22361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3" name="Freeform 1367">
                <a:extLst>
                  <a:ext uri="{FF2B5EF4-FFF2-40B4-BE49-F238E27FC236}">
                    <a16:creationId xmlns:a16="http://schemas.microsoft.com/office/drawing/2014/main" id="{0DE480F5-BEC9-4E13-832B-5FE1C42EED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4" name="Freeform 1368">
                <a:extLst>
                  <a:ext uri="{FF2B5EF4-FFF2-40B4-BE49-F238E27FC236}">
                    <a16:creationId xmlns:a16="http://schemas.microsoft.com/office/drawing/2014/main" id="{851DBC9A-AC2B-4E1E-8779-3A875068F1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5" name="Freeform 1369">
                <a:extLst>
                  <a:ext uri="{FF2B5EF4-FFF2-40B4-BE49-F238E27FC236}">
                    <a16:creationId xmlns:a16="http://schemas.microsoft.com/office/drawing/2014/main" id="{6A4FA8B0-D91C-42A1-9DD5-314E63A4D7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6" name="Freeform 1370">
                <a:extLst>
                  <a:ext uri="{FF2B5EF4-FFF2-40B4-BE49-F238E27FC236}">
                    <a16:creationId xmlns:a16="http://schemas.microsoft.com/office/drawing/2014/main" id="{31D0D683-CB46-49B4-9F2E-F73515EC84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851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7" name="Freeform 1371">
                <a:extLst>
                  <a:ext uri="{FF2B5EF4-FFF2-40B4-BE49-F238E27FC236}">
                    <a16:creationId xmlns:a16="http://schemas.microsoft.com/office/drawing/2014/main" id="{72AEA7A3-60AB-4BA5-A3B6-ECCE6A7897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36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8" name="Freeform 1372">
                <a:extLst>
                  <a:ext uri="{FF2B5EF4-FFF2-40B4-BE49-F238E27FC236}">
                    <a16:creationId xmlns:a16="http://schemas.microsoft.com/office/drawing/2014/main" id="{0F792841-D433-4D2A-9BBE-932F0DFC54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9" name="Freeform 1373">
                <a:extLst>
                  <a:ext uri="{FF2B5EF4-FFF2-40B4-BE49-F238E27FC236}">
                    <a16:creationId xmlns:a16="http://schemas.microsoft.com/office/drawing/2014/main" id="{4DE6C5F0-A001-4BC3-990B-34B8A2DBE5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0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0" name="Freeform 1374">
                <a:extLst>
                  <a:ext uri="{FF2B5EF4-FFF2-40B4-BE49-F238E27FC236}">
                    <a16:creationId xmlns:a16="http://schemas.microsoft.com/office/drawing/2014/main" id="{9BF38460-FEAB-4E56-85F4-A5FF764E01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1" name="Freeform 1375">
                <a:extLst>
                  <a:ext uri="{FF2B5EF4-FFF2-40B4-BE49-F238E27FC236}">
                    <a16:creationId xmlns:a16="http://schemas.microsoft.com/office/drawing/2014/main" id="{CC255B42-EB3B-422E-A8F4-AF98F9E2E3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2" name="Freeform 1376">
                <a:extLst>
                  <a:ext uri="{FF2B5EF4-FFF2-40B4-BE49-F238E27FC236}">
                    <a16:creationId xmlns:a16="http://schemas.microsoft.com/office/drawing/2014/main" id="{F2353C13-50E4-4BE6-A250-54B9B5E4ED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3" name="Freeform 1377">
                <a:extLst>
                  <a:ext uri="{FF2B5EF4-FFF2-40B4-BE49-F238E27FC236}">
                    <a16:creationId xmlns:a16="http://schemas.microsoft.com/office/drawing/2014/main" id="{93FC65F4-490F-4CEE-8FA8-B5000B4BBA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4" name="Freeform 1378">
                <a:extLst>
                  <a:ext uri="{FF2B5EF4-FFF2-40B4-BE49-F238E27FC236}">
                    <a16:creationId xmlns:a16="http://schemas.microsoft.com/office/drawing/2014/main" id="{0F007744-5869-410F-8B9E-E83DFA8DDE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5" name="Freeform 1379">
                <a:extLst>
                  <a:ext uri="{FF2B5EF4-FFF2-40B4-BE49-F238E27FC236}">
                    <a16:creationId xmlns:a16="http://schemas.microsoft.com/office/drawing/2014/main" id="{C07C6ED0-7664-49B8-9E42-34786C9140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6" name="Freeform 1380">
                <a:extLst>
                  <a:ext uri="{FF2B5EF4-FFF2-40B4-BE49-F238E27FC236}">
                    <a16:creationId xmlns:a16="http://schemas.microsoft.com/office/drawing/2014/main" id="{0A1A55EB-7466-4AB1-8424-7E2DA342FD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69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7" name="Freeform 1381">
                <a:extLst>
                  <a:ext uri="{FF2B5EF4-FFF2-40B4-BE49-F238E27FC236}">
                    <a16:creationId xmlns:a16="http://schemas.microsoft.com/office/drawing/2014/main" id="{C2B03003-9185-4B35-B9AD-4816C4620C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68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8" name="Freeform 1382">
                <a:extLst>
                  <a:ext uri="{FF2B5EF4-FFF2-40B4-BE49-F238E27FC236}">
                    <a16:creationId xmlns:a16="http://schemas.microsoft.com/office/drawing/2014/main" id="{11FA9F9E-6527-4A80-BFC4-11834B54DF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36"/>
                <a:ext cx="17" cy="9"/>
              </a:xfrm>
              <a:custGeom>
                <a:avLst/>
                <a:gdLst>
                  <a:gd name="T0" fmla="*/ 2 w 8"/>
                  <a:gd name="T1" fmla="*/ 0 h 4"/>
                  <a:gd name="T2" fmla="*/ 6 w 8"/>
                  <a:gd name="T3" fmla="*/ 0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9" name="Freeform 1383">
                <a:extLst>
                  <a:ext uri="{FF2B5EF4-FFF2-40B4-BE49-F238E27FC236}">
                    <a16:creationId xmlns:a16="http://schemas.microsoft.com/office/drawing/2014/main" id="{21E1DEF5-0B10-4F9F-AC03-50A6736257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0" name="Freeform 1384">
                <a:extLst>
                  <a:ext uri="{FF2B5EF4-FFF2-40B4-BE49-F238E27FC236}">
                    <a16:creationId xmlns:a16="http://schemas.microsoft.com/office/drawing/2014/main" id="{B0C101EA-0096-4A62-B636-990578962C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0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1" name="Freeform 1385">
                <a:extLst>
                  <a:ext uri="{FF2B5EF4-FFF2-40B4-BE49-F238E27FC236}">
                    <a16:creationId xmlns:a16="http://schemas.microsoft.com/office/drawing/2014/main" id="{643DCF08-234F-4CE2-8CE9-569DFBB3F5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2" name="Freeform 1386">
                <a:extLst>
                  <a:ext uri="{FF2B5EF4-FFF2-40B4-BE49-F238E27FC236}">
                    <a16:creationId xmlns:a16="http://schemas.microsoft.com/office/drawing/2014/main" id="{239BCD9A-480E-439A-B966-94C96C2D6F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3" name="Freeform 1387">
                <a:extLst>
                  <a:ext uri="{FF2B5EF4-FFF2-40B4-BE49-F238E27FC236}">
                    <a16:creationId xmlns:a16="http://schemas.microsoft.com/office/drawing/2014/main" id="{D008446F-9FC0-4696-A6D4-FF3EA7B08C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4" name="Freeform 1388">
                <a:extLst>
                  <a:ext uri="{FF2B5EF4-FFF2-40B4-BE49-F238E27FC236}">
                    <a16:creationId xmlns:a16="http://schemas.microsoft.com/office/drawing/2014/main" id="{58890DF1-589D-49DE-B5DA-5DFC2B6C4E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5" name="Freeform 1389">
                <a:extLst>
                  <a:ext uri="{FF2B5EF4-FFF2-40B4-BE49-F238E27FC236}">
                    <a16:creationId xmlns:a16="http://schemas.microsoft.com/office/drawing/2014/main" id="{466ACD5C-5053-498E-8743-A126738A1D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6" name="Freeform 1390">
                <a:extLst>
                  <a:ext uri="{FF2B5EF4-FFF2-40B4-BE49-F238E27FC236}">
                    <a16:creationId xmlns:a16="http://schemas.microsoft.com/office/drawing/2014/main" id="{BD1014EA-515C-40FA-8508-CCE22599EC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7" name="Freeform 1391">
                <a:extLst>
                  <a:ext uri="{FF2B5EF4-FFF2-40B4-BE49-F238E27FC236}">
                    <a16:creationId xmlns:a16="http://schemas.microsoft.com/office/drawing/2014/main" id="{FAF8E5ED-2F8B-4DA0-AC99-C799F6E660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69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8" name="Freeform 1392">
                <a:extLst>
                  <a:ext uri="{FF2B5EF4-FFF2-40B4-BE49-F238E27FC236}">
                    <a16:creationId xmlns:a16="http://schemas.microsoft.com/office/drawing/2014/main" id="{60DC2EE9-80C4-4DE6-87F1-B6BE4CE045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68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9" name="Freeform 1393">
                <a:extLst>
                  <a:ext uri="{FF2B5EF4-FFF2-40B4-BE49-F238E27FC236}">
                    <a16:creationId xmlns:a16="http://schemas.microsoft.com/office/drawing/2014/main" id="{495D9FE2-42D2-441C-80B0-17A66EE4E3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66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0" name="Freeform 1394">
                <a:extLst>
                  <a:ext uri="{FF2B5EF4-FFF2-40B4-BE49-F238E27FC236}">
                    <a16:creationId xmlns:a16="http://schemas.microsoft.com/office/drawing/2014/main" id="{457B6C91-AC7D-421C-AFE4-048596EF9D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820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1" name="Freeform 1395">
                <a:extLst>
                  <a:ext uri="{FF2B5EF4-FFF2-40B4-BE49-F238E27FC236}">
                    <a16:creationId xmlns:a16="http://schemas.microsoft.com/office/drawing/2014/main" id="{70BB37C8-E6FE-4A49-9F52-87BC577981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0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2" name="Freeform 1396">
                <a:extLst>
                  <a:ext uri="{FF2B5EF4-FFF2-40B4-BE49-F238E27FC236}">
                    <a16:creationId xmlns:a16="http://schemas.microsoft.com/office/drawing/2014/main" id="{720EEDD2-4BB3-4C99-B983-5E0E205E2A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3" name="Freeform 1397">
                <a:extLst>
                  <a:ext uri="{FF2B5EF4-FFF2-40B4-BE49-F238E27FC236}">
                    <a16:creationId xmlns:a16="http://schemas.microsoft.com/office/drawing/2014/main" id="{6179560C-D449-42A8-B59B-769F8FC9D1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4" name="Freeform 1398">
                <a:extLst>
                  <a:ext uri="{FF2B5EF4-FFF2-40B4-BE49-F238E27FC236}">
                    <a16:creationId xmlns:a16="http://schemas.microsoft.com/office/drawing/2014/main" id="{4F461528-20A1-45D8-B30D-9F9602263C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5" name="Freeform 1399">
                <a:extLst>
                  <a:ext uri="{FF2B5EF4-FFF2-40B4-BE49-F238E27FC236}">
                    <a16:creationId xmlns:a16="http://schemas.microsoft.com/office/drawing/2014/main" id="{FC779626-D8DE-4763-84F6-E0B0CA2BA9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6" name="Freeform 1400">
                <a:extLst>
                  <a:ext uri="{FF2B5EF4-FFF2-40B4-BE49-F238E27FC236}">
                    <a16:creationId xmlns:a16="http://schemas.microsoft.com/office/drawing/2014/main" id="{941081F3-7751-443A-AC7B-C9DBDCCC78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7" name="Freeform 1401">
                <a:extLst>
                  <a:ext uri="{FF2B5EF4-FFF2-40B4-BE49-F238E27FC236}">
                    <a16:creationId xmlns:a16="http://schemas.microsoft.com/office/drawing/2014/main" id="{373BC7C4-28CC-440A-8FC8-A6427D7906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8" name="Freeform 1402">
                <a:extLst>
                  <a:ext uri="{FF2B5EF4-FFF2-40B4-BE49-F238E27FC236}">
                    <a16:creationId xmlns:a16="http://schemas.microsoft.com/office/drawing/2014/main" id="{DF7FADAF-4568-4A30-A358-7652AEE7F7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69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9" name="Freeform 1403">
                <a:extLst>
                  <a:ext uri="{FF2B5EF4-FFF2-40B4-BE49-F238E27FC236}">
                    <a16:creationId xmlns:a16="http://schemas.microsoft.com/office/drawing/2014/main" id="{A6DEF694-2B05-41E5-AD75-33E98A0172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68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0" name="Freeform 1404">
                <a:extLst>
                  <a:ext uri="{FF2B5EF4-FFF2-40B4-BE49-F238E27FC236}">
                    <a16:creationId xmlns:a16="http://schemas.microsoft.com/office/drawing/2014/main" id="{B62721C4-5FD6-416F-8B6F-4D9AB4F3BB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66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1" name="Freeform 1405">
                <a:extLst>
                  <a:ext uri="{FF2B5EF4-FFF2-40B4-BE49-F238E27FC236}">
                    <a16:creationId xmlns:a16="http://schemas.microsoft.com/office/drawing/2014/main" id="{290B8181-53EA-4F33-8780-CCB427F0E4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649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2" name="Freeform 1406">
                <a:extLst>
                  <a:ext uri="{FF2B5EF4-FFF2-40B4-BE49-F238E27FC236}">
                    <a16:creationId xmlns:a16="http://schemas.microsoft.com/office/drawing/2014/main" id="{FC340DAE-82CE-462F-B04A-BA7A731F66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05"/>
                <a:ext cx="17" cy="8"/>
              </a:xfrm>
              <a:custGeom>
                <a:avLst/>
                <a:gdLst>
                  <a:gd name="T0" fmla="*/ 2 w 8"/>
                  <a:gd name="T1" fmla="*/ 0 h 4"/>
                  <a:gd name="T2" fmla="*/ 6 w 8"/>
                  <a:gd name="T3" fmla="*/ 0 h 4"/>
                  <a:gd name="T4" fmla="*/ 6 w 8"/>
                  <a:gd name="T5" fmla="*/ 3 h 4"/>
                  <a:gd name="T6" fmla="*/ 2 w 8"/>
                  <a:gd name="T7" fmla="*/ 3 h 4"/>
                  <a:gd name="T8" fmla="*/ 2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3" name="Freeform 1407">
                <a:extLst>
                  <a:ext uri="{FF2B5EF4-FFF2-40B4-BE49-F238E27FC236}">
                    <a16:creationId xmlns:a16="http://schemas.microsoft.com/office/drawing/2014/main" id="{F80B254A-E53F-40DC-9208-D44CEE7EC5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4" name="Freeform 1408">
                <a:extLst>
                  <a:ext uri="{FF2B5EF4-FFF2-40B4-BE49-F238E27FC236}">
                    <a16:creationId xmlns:a16="http://schemas.microsoft.com/office/drawing/2014/main" id="{41129015-1075-4DE9-BB41-34378CCD64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5" name="Freeform 1409">
                <a:extLst>
                  <a:ext uri="{FF2B5EF4-FFF2-40B4-BE49-F238E27FC236}">
                    <a16:creationId xmlns:a16="http://schemas.microsoft.com/office/drawing/2014/main" id="{823E4C2C-B20C-4A32-9EE4-364B0DAA9D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6" name="Freeform 1410">
                <a:extLst>
                  <a:ext uri="{FF2B5EF4-FFF2-40B4-BE49-F238E27FC236}">
                    <a16:creationId xmlns:a16="http://schemas.microsoft.com/office/drawing/2014/main" id="{4411CD46-7978-4429-BC33-FAA15FC163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213" name="Freeform 1412">
              <a:extLst>
                <a:ext uri="{FF2B5EF4-FFF2-40B4-BE49-F238E27FC236}">
                  <a16:creationId xmlns:a16="http://schemas.microsoft.com/office/drawing/2014/main" id="{237D92F0-902C-4F2E-BF25-91E37DD26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18529" y="293630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4" name="Freeform 1413">
              <a:extLst>
                <a:ext uri="{FF2B5EF4-FFF2-40B4-BE49-F238E27FC236}">
                  <a16:creationId xmlns:a16="http://schemas.microsoft.com/office/drawing/2014/main" id="{667009F1-B6EA-477E-9D33-F86D4EE53E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75871" y="2906569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5" name="Freeform 1414">
              <a:extLst>
                <a:ext uri="{FF2B5EF4-FFF2-40B4-BE49-F238E27FC236}">
                  <a16:creationId xmlns:a16="http://schemas.microsoft.com/office/drawing/2014/main" id="{C4E29DC5-13CA-4568-8DD5-3F99EB64B9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33212" y="287046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6" name="Freeform 1415">
              <a:extLst>
                <a:ext uri="{FF2B5EF4-FFF2-40B4-BE49-F238E27FC236}">
                  <a16:creationId xmlns:a16="http://schemas.microsoft.com/office/drawing/2014/main" id="{C76AF801-A3DE-473E-A9F4-D3C277F056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90554" y="2838609"/>
              <a:ext cx="36104" cy="19114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7" name="Freeform 1416">
              <a:extLst>
                <a:ext uri="{FF2B5EF4-FFF2-40B4-BE49-F238E27FC236}">
                  <a16:creationId xmlns:a16="http://schemas.microsoft.com/office/drawing/2014/main" id="{94D2DE72-9417-4DCD-8065-5E093ADCF7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47895" y="2804629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8" name="Freeform 1417">
              <a:extLst>
                <a:ext uri="{FF2B5EF4-FFF2-40B4-BE49-F238E27FC236}">
                  <a16:creationId xmlns:a16="http://schemas.microsoft.com/office/drawing/2014/main" id="{641AC1E0-CF6C-4E64-8F93-9B74E517EA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05237" y="277277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9" name="Freeform 1418">
              <a:extLst>
                <a:ext uri="{FF2B5EF4-FFF2-40B4-BE49-F238E27FC236}">
                  <a16:creationId xmlns:a16="http://schemas.microsoft.com/office/drawing/2014/main" id="{E88E01B3-A58B-4A7C-A27C-4CC24E8338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62577" y="2738792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0" name="Freeform 1419">
              <a:extLst>
                <a:ext uri="{FF2B5EF4-FFF2-40B4-BE49-F238E27FC236}">
                  <a16:creationId xmlns:a16="http://schemas.microsoft.com/office/drawing/2014/main" id="{B5C159AD-F908-4C79-AC35-C5A39FBCE8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01204" y="1307382"/>
              <a:ext cx="6148265" cy="3699577"/>
            </a:xfrm>
            <a:custGeom>
              <a:avLst/>
              <a:gdLst>
                <a:gd name="T0" fmla="*/ 1355 w 1392"/>
                <a:gd name="T1" fmla="*/ 235 h 838"/>
                <a:gd name="T2" fmla="*/ 1355 w 1392"/>
                <a:gd name="T3" fmla="*/ 235 h 838"/>
                <a:gd name="T4" fmla="*/ 1354 w 1392"/>
                <a:gd name="T5" fmla="*/ 234 h 838"/>
                <a:gd name="T6" fmla="*/ 971 w 1392"/>
                <a:gd name="T7" fmla="*/ 12 h 838"/>
                <a:gd name="T8" fmla="*/ 895 w 1392"/>
                <a:gd name="T9" fmla="*/ 14 h 838"/>
                <a:gd name="T10" fmla="*/ 34 w 1392"/>
                <a:gd name="T11" fmla="*/ 510 h 838"/>
                <a:gd name="T12" fmla="*/ 30 w 1392"/>
                <a:gd name="T13" fmla="*/ 513 h 838"/>
                <a:gd name="T14" fmla="*/ 38 w 1392"/>
                <a:gd name="T15" fmla="*/ 604 h 838"/>
                <a:gd name="T16" fmla="*/ 39 w 1392"/>
                <a:gd name="T17" fmla="*/ 604 h 838"/>
                <a:gd name="T18" fmla="*/ 40 w 1392"/>
                <a:gd name="T19" fmla="*/ 605 h 838"/>
                <a:gd name="T20" fmla="*/ 422 w 1392"/>
                <a:gd name="T21" fmla="*/ 827 h 838"/>
                <a:gd name="T22" fmla="*/ 497 w 1392"/>
                <a:gd name="T23" fmla="*/ 824 h 838"/>
                <a:gd name="T24" fmla="*/ 1355 w 1392"/>
                <a:gd name="T25" fmla="*/ 330 h 838"/>
                <a:gd name="T26" fmla="*/ 1359 w 1392"/>
                <a:gd name="T27" fmla="*/ 327 h 838"/>
                <a:gd name="T28" fmla="*/ 1355 w 1392"/>
                <a:gd name="T29" fmla="*/ 23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2" h="838">
                  <a:moveTo>
                    <a:pt x="1355" y="235"/>
                  </a:moveTo>
                  <a:cubicBezTo>
                    <a:pt x="1355" y="235"/>
                    <a:pt x="1355" y="235"/>
                    <a:pt x="1355" y="235"/>
                  </a:cubicBezTo>
                  <a:cubicBezTo>
                    <a:pt x="1354" y="235"/>
                    <a:pt x="1354" y="234"/>
                    <a:pt x="1354" y="234"/>
                  </a:cubicBezTo>
                  <a:cubicBezTo>
                    <a:pt x="971" y="12"/>
                    <a:pt x="971" y="12"/>
                    <a:pt x="971" y="12"/>
                  </a:cubicBezTo>
                  <a:cubicBezTo>
                    <a:pt x="947" y="0"/>
                    <a:pt x="918" y="1"/>
                    <a:pt x="895" y="14"/>
                  </a:cubicBezTo>
                  <a:cubicBezTo>
                    <a:pt x="34" y="510"/>
                    <a:pt x="34" y="510"/>
                    <a:pt x="34" y="510"/>
                  </a:cubicBezTo>
                  <a:cubicBezTo>
                    <a:pt x="32" y="511"/>
                    <a:pt x="31" y="512"/>
                    <a:pt x="30" y="513"/>
                  </a:cubicBezTo>
                  <a:cubicBezTo>
                    <a:pt x="0" y="536"/>
                    <a:pt x="4" y="584"/>
                    <a:pt x="38" y="604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4"/>
                    <a:pt x="39" y="605"/>
                    <a:pt x="40" y="605"/>
                  </a:cubicBezTo>
                  <a:cubicBezTo>
                    <a:pt x="422" y="827"/>
                    <a:pt x="422" y="827"/>
                    <a:pt x="422" y="827"/>
                  </a:cubicBezTo>
                  <a:cubicBezTo>
                    <a:pt x="446" y="838"/>
                    <a:pt x="474" y="838"/>
                    <a:pt x="497" y="824"/>
                  </a:cubicBezTo>
                  <a:cubicBezTo>
                    <a:pt x="1355" y="330"/>
                    <a:pt x="1355" y="330"/>
                    <a:pt x="1355" y="330"/>
                  </a:cubicBezTo>
                  <a:cubicBezTo>
                    <a:pt x="1356" y="329"/>
                    <a:pt x="1358" y="328"/>
                    <a:pt x="1359" y="327"/>
                  </a:cubicBezTo>
                  <a:cubicBezTo>
                    <a:pt x="1392" y="305"/>
                    <a:pt x="1390" y="255"/>
                    <a:pt x="1355" y="23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1" name="Freeform 1420">
              <a:extLst>
                <a:ext uri="{FF2B5EF4-FFF2-40B4-BE49-F238E27FC236}">
                  <a16:creationId xmlns:a16="http://schemas.microsoft.com/office/drawing/2014/main" id="{9C4C99A6-C0BF-4437-97BA-18DAF26206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33060" y="1298887"/>
              <a:ext cx="6084552" cy="3703825"/>
            </a:xfrm>
            <a:custGeom>
              <a:avLst/>
              <a:gdLst>
                <a:gd name="T0" fmla="*/ 1349 w 1378"/>
                <a:gd name="T1" fmla="*/ 235 h 839"/>
                <a:gd name="T2" fmla="*/ 1348 w 1378"/>
                <a:gd name="T3" fmla="*/ 237 h 839"/>
                <a:gd name="T4" fmla="*/ 1348 w 1378"/>
                <a:gd name="T5" fmla="*/ 237 h 839"/>
                <a:gd name="T6" fmla="*/ 1349 w 1378"/>
                <a:gd name="T7" fmla="*/ 235 h 839"/>
                <a:gd name="T8" fmla="*/ 1349 w 1378"/>
                <a:gd name="T9" fmla="*/ 235 h 839"/>
                <a:gd name="T10" fmla="*/ 1348 w 1378"/>
                <a:gd name="T11" fmla="*/ 234 h 839"/>
                <a:gd name="T12" fmla="*/ 965 w 1378"/>
                <a:gd name="T13" fmla="*/ 12 h 839"/>
                <a:gd name="T14" fmla="*/ 887 w 1378"/>
                <a:gd name="T15" fmla="*/ 14 h 839"/>
                <a:gd name="T16" fmla="*/ 26 w 1378"/>
                <a:gd name="T17" fmla="*/ 510 h 839"/>
                <a:gd name="T18" fmla="*/ 22 w 1378"/>
                <a:gd name="T19" fmla="*/ 514 h 839"/>
                <a:gd name="T20" fmla="*/ 1 w 1378"/>
                <a:gd name="T21" fmla="*/ 561 h 839"/>
                <a:gd name="T22" fmla="*/ 30 w 1378"/>
                <a:gd name="T23" fmla="*/ 608 h 839"/>
                <a:gd name="T24" fmla="*/ 31 w 1378"/>
                <a:gd name="T25" fmla="*/ 608 h 839"/>
                <a:gd name="T26" fmla="*/ 32 w 1378"/>
                <a:gd name="T27" fmla="*/ 609 h 839"/>
                <a:gd name="T28" fmla="*/ 414 w 1378"/>
                <a:gd name="T29" fmla="*/ 830 h 839"/>
                <a:gd name="T30" fmla="*/ 451 w 1378"/>
                <a:gd name="T31" fmla="*/ 839 h 839"/>
                <a:gd name="T32" fmla="*/ 491 w 1378"/>
                <a:gd name="T33" fmla="*/ 828 h 839"/>
                <a:gd name="T34" fmla="*/ 1349 w 1378"/>
                <a:gd name="T35" fmla="*/ 333 h 839"/>
                <a:gd name="T36" fmla="*/ 1353 w 1378"/>
                <a:gd name="T37" fmla="*/ 330 h 839"/>
                <a:gd name="T38" fmla="*/ 1377 w 1378"/>
                <a:gd name="T39" fmla="*/ 283 h 839"/>
                <a:gd name="T40" fmla="*/ 1349 w 1378"/>
                <a:gd name="T41" fmla="*/ 235 h 839"/>
                <a:gd name="T42" fmla="*/ 24 w 1378"/>
                <a:gd name="T43" fmla="*/ 517 h 839"/>
                <a:gd name="T44" fmla="*/ 28 w 1378"/>
                <a:gd name="T45" fmla="*/ 514 h 839"/>
                <a:gd name="T46" fmla="*/ 889 w 1378"/>
                <a:gd name="T47" fmla="*/ 18 h 839"/>
                <a:gd name="T48" fmla="*/ 928 w 1378"/>
                <a:gd name="T49" fmla="*/ 7 h 839"/>
                <a:gd name="T50" fmla="*/ 949 w 1378"/>
                <a:gd name="T51" fmla="*/ 10 h 839"/>
                <a:gd name="T52" fmla="*/ 909 w 1378"/>
                <a:gd name="T53" fmla="*/ 17 h 839"/>
                <a:gd name="T54" fmla="*/ 484 w 1378"/>
                <a:gd name="T55" fmla="*/ 725 h 839"/>
                <a:gd name="T56" fmla="*/ 486 w 1378"/>
                <a:gd name="T57" fmla="*/ 796 h 839"/>
                <a:gd name="T58" fmla="*/ 454 w 1378"/>
                <a:gd name="T59" fmla="*/ 824 h 839"/>
                <a:gd name="T60" fmla="*/ 415 w 1378"/>
                <a:gd name="T61" fmla="*/ 815 h 839"/>
                <a:gd name="T62" fmla="*/ 32 w 1378"/>
                <a:gd name="T63" fmla="*/ 594 h 839"/>
                <a:gd name="T64" fmla="*/ 31 w 1378"/>
                <a:gd name="T65" fmla="*/ 593 h 839"/>
                <a:gd name="T66" fmla="*/ 30 w 1378"/>
                <a:gd name="T67" fmla="*/ 593 h 839"/>
                <a:gd name="T68" fmla="*/ 5 w 1378"/>
                <a:gd name="T69" fmla="*/ 561 h 839"/>
                <a:gd name="T70" fmla="*/ 5 w 1378"/>
                <a:gd name="T71" fmla="*/ 560 h 839"/>
                <a:gd name="T72" fmla="*/ 24 w 1378"/>
                <a:gd name="T73" fmla="*/ 517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78" h="839">
                  <a:moveTo>
                    <a:pt x="1349" y="235"/>
                  </a:moveTo>
                  <a:cubicBezTo>
                    <a:pt x="1348" y="237"/>
                    <a:pt x="1348" y="237"/>
                    <a:pt x="1348" y="237"/>
                  </a:cubicBezTo>
                  <a:cubicBezTo>
                    <a:pt x="1348" y="237"/>
                    <a:pt x="1348" y="237"/>
                    <a:pt x="1348" y="237"/>
                  </a:cubicBezTo>
                  <a:cubicBezTo>
                    <a:pt x="1349" y="235"/>
                    <a:pt x="1349" y="235"/>
                    <a:pt x="1349" y="235"/>
                  </a:cubicBezTo>
                  <a:cubicBezTo>
                    <a:pt x="1349" y="235"/>
                    <a:pt x="1349" y="235"/>
                    <a:pt x="1349" y="235"/>
                  </a:cubicBezTo>
                  <a:cubicBezTo>
                    <a:pt x="1348" y="235"/>
                    <a:pt x="1348" y="235"/>
                    <a:pt x="1348" y="234"/>
                  </a:cubicBezTo>
                  <a:cubicBezTo>
                    <a:pt x="965" y="12"/>
                    <a:pt x="965" y="12"/>
                    <a:pt x="965" y="12"/>
                  </a:cubicBezTo>
                  <a:cubicBezTo>
                    <a:pt x="940" y="0"/>
                    <a:pt x="911" y="0"/>
                    <a:pt x="887" y="14"/>
                  </a:cubicBezTo>
                  <a:cubicBezTo>
                    <a:pt x="26" y="510"/>
                    <a:pt x="26" y="510"/>
                    <a:pt x="26" y="510"/>
                  </a:cubicBezTo>
                  <a:cubicBezTo>
                    <a:pt x="24" y="511"/>
                    <a:pt x="23" y="513"/>
                    <a:pt x="22" y="514"/>
                  </a:cubicBezTo>
                  <a:cubicBezTo>
                    <a:pt x="8" y="525"/>
                    <a:pt x="0" y="542"/>
                    <a:pt x="1" y="561"/>
                  </a:cubicBezTo>
                  <a:cubicBezTo>
                    <a:pt x="3" y="580"/>
                    <a:pt x="13" y="598"/>
                    <a:pt x="30" y="608"/>
                  </a:cubicBezTo>
                  <a:cubicBezTo>
                    <a:pt x="31" y="608"/>
                    <a:pt x="31" y="608"/>
                    <a:pt x="31" y="608"/>
                  </a:cubicBezTo>
                  <a:cubicBezTo>
                    <a:pt x="31" y="608"/>
                    <a:pt x="31" y="608"/>
                    <a:pt x="32" y="609"/>
                  </a:cubicBezTo>
                  <a:cubicBezTo>
                    <a:pt x="414" y="830"/>
                    <a:pt x="414" y="830"/>
                    <a:pt x="414" y="830"/>
                  </a:cubicBezTo>
                  <a:cubicBezTo>
                    <a:pt x="426" y="836"/>
                    <a:pt x="438" y="839"/>
                    <a:pt x="451" y="839"/>
                  </a:cubicBezTo>
                  <a:cubicBezTo>
                    <a:pt x="465" y="839"/>
                    <a:pt x="479" y="835"/>
                    <a:pt x="491" y="828"/>
                  </a:cubicBezTo>
                  <a:cubicBezTo>
                    <a:pt x="1349" y="333"/>
                    <a:pt x="1349" y="333"/>
                    <a:pt x="1349" y="333"/>
                  </a:cubicBezTo>
                  <a:cubicBezTo>
                    <a:pt x="1350" y="332"/>
                    <a:pt x="1352" y="331"/>
                    <a:pt x="1353" y="330"/>
                  </a:cubicBezTo>
                  <a:cubicBezTo>
                    <a:pt x="1369" y="320"/>
                    <a:pt x="1378" y="302"/>
                    <a:pt x="1377" y="283"/>
                  </a:cubicBezTo>
                  <a:cubicBezTo>
                    <a:pt x="1377" y="263"/>
                    <a:pt x="1366" y="245"/>
                    <a:pt x="1349" y="235"/>
                  </a:cubicBezTo>
                  <a:close/>
                  <a:moveTo>
                    <a:pt x="24" y="517"/>
                  </a:moveTo>
                  <a:cubicBezTo>
                    <a:pt x="25" y="516"/>
                    <a:pt x="27" y="515"/>
                    <a:pt x="28" y="514"/>
                  </a:cubicBezTo>
                  <a:cubicBezTo>
                    <a:pt x="889" y="18"/>
                    <a:pt x="889" y="18"/>
                    <a:pt x="889" y="18"/>
                  </a:cubicBezTo>
                  <a:cubicBezTo>
                    <a:pt x="901" y="11"/>
                    <a:pt x="914" y="7"/>
                    <a:pt x="928" y="7"/>
                  </a:cubicBezTo>
                  <a:cubicBezTo>
                    <a:pt x="935" y="7"/>
                    <a:pt x="942" y="8"/>
                    <a:pt x="949" y="10"/>
                  </a:cubicBezTo>
                  <a:cubicBezTo>
                    <a:pt x="933" y="8"/>
                    <a:pt x="917" y="10"/>
                    <a:pt x="909" y="17"/>
                  </a:cubicBezTo>
                  <a:cubicBezTo>
                    <a:pt x="484" y="725"/>
                    <a:pt x="484" y="725"/>
                    <a:pt x="484" y="725"/>
                  </a:cubicBezTo>
                  <a:cubicBezTo>
                    <a:pt x="484" y="725"/>
                    <a:pt x="495" y="773"/>
                    <a:pt x="486" y="796"/>
                  </a:cubicBezTo>
                  <a:cubicBezTo>
                    <a:pt x="477" y="820"/>
                    <a:pt x="454" y="824"/>
                    <a:pt x="454" y="824"/>
                  </a:cubicBezTo>
                  <a:cubicBezTo>
                    <a:pt x="440" y="824"/>
                    <a:pt x="427" y="822"/>
                    <a:pt x="415" y="815"/>
                  </a:cubicBezTo>
                  <a:cubicBezTo>
                    <a:pt x="32" y="594"/>
                    <a:pt x="32" y="594"/>
                    <a:pt x="32" y="594"/>
                  </a:cubicBezTo>
                  <a:cubicBezTo>
                    <a:pt x="32" y="593"/>
                    <a:pt x="31" y="593"/>
                    <a:pt x="31" y="593"/>
                  </a:cubicBezTo>
                  <a:cubicBezTo>
                    <a:pt x="30" y="593"/>
                    <a:pt x="30" y="593"/>
                    <a:pt x="30" y="593"/>
                  </a:cubicBezTo>
                  <a:cubicBezTo>
                    <a:pt x="18" y="585"/>
                    <a:pt x="9" y="574"/>
                    <a:pt x="5" y="561"/>
                  </a:cubicBezTo>
                  <a:cubicBezTo>
                    <a:pt x="5" y="561"/>
                    <a:pt x="5" y="561"/>
                    <a:pt x="5" y="560"/>
                  </a:cubicBezTo>
                  <a:cubicBezTo>
                    <a:pt x="4" y="543"/>
                    <a:pt x="11" y="527"/>
                    <a:pt x="24" y="517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2" name="Freeform 1421">
              <a:extLst>
                <a:ext uri="{FF2B5EF4-FFF2-40B4-BE49-F238E27FC236}">
                  <a16:creationId xmlns:a16="http://schemas.microsoft.com/office/drawing/2014/main" id="{8B7046CD-5B82-4547-958E-9273B11DA6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4297" y="1339239"/>
              <a:ext cx="6027210" cy="3525430"/>
            </a:xfrm>
            <a:custGeom>
              <a:avLst/>
              <a:gdLst>
                <a:gd name="T0" fmla="*/ 21 w 1365"/>
                <a:gd name="T1" fmla="*/ 510 h 799"/>
                <a:gd name="T2" fmla="*/ 882 w 1365"/>
                <a:gd name="T3" fmla="*/ 14 h 799"/>
                <a:gd name="T4" fmla="*/ 958 w 1365"/>
                <a:gd name="T5" fmla="*/ 12 h 799"/>
                <a:gd name="T6" fmla="*/ 1341 w 1365"/>
                <a:gd name="T7" fmla="*/ 234 h 799"/>
                <a:gd name="T8" fmla="*/ 1343 w 1365"/>
                <a:gd name="T9" fmla="*/ 290 h 799"/>
                <a:gd name="T10" fmla="*/ 485 w 1365"/>
                <a:gd name="T11" fmla="*/ 784 h 799"/>
                <a:gd name="T12" fmla="*/ 410 w 1365"/>
                <a:gd name="T13" fmla="*/ 787 h 799"/>
                <a:gd name="T14" fmla="*/ 28 w 1365"/>
                <a:gd name="T15" fmla="*/ 565 h 799"/>
                <a:gd name="T16" fmla="*/ 21 w 1365"/>
                <a:gd name="T17" fmla="*/ 510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65" h="799">
                  <a:moveTo>
                    <a:pt x="21" y="510"/>
                  </a:moveTo>
                  <a:cubicBezTo>
                    <a:pt x="882" y="14"/>
                    <a:pt x="882" y="14"/>
                    <a:pt x="882" y="14"/>
                  </a:cubicBezTo>
                  <a:cubicBezTo>
                    <a:pt x="905" y="1"/>
                    <a:pt x="934" y="0"/>
                    <a:pt x="958" y="12"/>
                  </a:cubicBezTo>
                  <a:cubicBezTo>
                    <a:pt x="1341" y="234"/>
                    <a:pt x="1341" y="234"/>
                    <a:pt x="1341" y="234"/>
                  </a:cubicBezTo>
                  <a:cubicBezTo>
                    <a:pt x="1361" y="248"/>
                    <a:pt x="1365" y="277"/>
                    <a:pt x="1343" y="290"/>
                  </a:cubicBezTo>
                  <a:cubicBezTo>
                    <a:pt x="485" y="784"/>
                    <a:pt x="485" y="784"/>
                    <a:pt x="485" y="784"/>
                  </a:cubicBezTo>
                  <a:cubicBezTo>
                    <a:pt x="462" y="798"/>
                    <a:pt x="434" y="799"/>
                    <a:pt x="410" y="787"/>
                  </a:cubicBezTo>
                  <a:cubicBezTo>
                    <a:pt x="28" y="565"/>
                    <a:pt x="28" y="565"/>
                    <a:pt x="28" y="565"/>
                  </a:cubicBezTo>
                  <a:cubicBezTo>
                    <a:pt x="0" y="549"/>
                    <a:pt x="2" y="523"/>
                    <a:pt x="21" y="51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3" name="Freeform 1422">
              <a:extLst>
                <a:ext uri="{FF2B5EF4-FFF2-40B4-BE49-F238E27FC236}">
                  <a16:creationId xmlns:a16="http://schemas.microsoft.com/office/drawing/2014/main" id="{B451A40C-3344-4CD1-9F8C-8ABD963B6E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81907" y="1298887"/>
              <a:ext cx="5978365" cy="3527554"/>
            </a:xfrm>
            <a:custGeom>
              <a:avLst/>
              <a:gdLst>
                <a:gd name="T0" fmla="*/ 440 w 1354"/>
                <a:gd name="T1" fmla="*/ 798 h 799"/>
                <a:gd name="T2" fmla="*/ 404 w 1354"/>
                <a:gd name="T3" fmla="*/ 790 h 799"/>
                <a:gd name="T4" fmla="*/ 22 w 1354"/>
                <a:gd name="T5" fmla="*/ 568 h 799"/>
                <a:gd name="T6" fmla="*/ 0 w 1354"/>
                <a:gd name="T7" fmla="*/ 538 h 799"/>
                <a:gd name="T8" fmla="*/ 15 w 1354"/>
                <a:gd name="T9" fmla="*/ 511 h 799"/>
                <a:gd name="T10" fmla="*/ 15 w 1354"/>
                <a:gd name="T11" fmla="*/ 511 h 799"/>
                <a:gd name="T12" fmla="*/ 876 w 1354"/>
                <a:gd name="T13" fmla="*/ 15 h 799"/>
                <a:gd name="T14" fmla="*/ 953 w 1354"/>
                <a:gd name="T15" fmla="*/ 13 h 799"/>
                <a:gd name="T16" fmla="*/ 1336 w 1354"/>
                <a:gd name="T17" fmla="*/ 235 h 799"/>
                <a:gd name="T18" fmla="*/ 1353 w 1354"/>
                <a:gd name="T19" fmla="*/ 268 h 799"/>
                <a:gd name="T20" fmla="*/ 1338 w 1354"/>
                <a:gd name="T21" fmla="*/ 293 h 799"/>
                <a:gd name="T22" fmla="*/ 480 w 1354"/>
                <a:gd name="T23" fmla="*/ 787 h 799"/>
                <a:gd name="T24" fmla="*/ 440 w 1354"/>
                <a:gd name="T25" fmla="*/ 798 h 799"/>
                <a:gd name="T26" fmla="*/ 17 w 1354"/>
                <a:gd name="T27" fmla="*/ 513 h 799"/>
                <a:gd name="T28" fmla="*/ 3 w 1354"/>
                <a:gd name="T29" fmla="*/ 537 h 799"/>
                <a:gd name="T30" fmla="*/ 23 w 1354"/>
                <a:gd name="T31" fmla="*/ 566 h 799"/>
                <a:gd name="T32" fmla="*/ 406 w 1354"/>
                <a:gd name="T33" fmla="*/ 788 h 799"/>
                <a:gd name="T34" fmla="*/ 479 w 1354"/>
                <a:gd name="T35" fmla="*/ 785 h 799"/>
                <a:gd name="T36" fmla="*/ 1337 w 1354"/>
                <a:gd name="T37" fmla="*/ 291 h 799"/>
                <a:gd name="T38" fmla="*/ 1351 w 1354"/>
                <a:gd name="T39" fmla="*/ 268 h 799"/>
                <a:gd name="T40" fmla="*/ 1335 w 1354"/>
                <a:gd name="T41" fmla="*/ 237 h 799"/>
                <a:gd name="T42" fmla="*/ 952 w 1354"/>
                <a:gd name="T43" fmla="*/ 15 h 799"/>
                <a:gd name="T44" fmla="*/ 877 w 1354"/>
                <a:gd name="T45" fmla="*/ 17 h 799"/>
                <a:gd name="T46" fmla="*/ 17 w 1354"/>
                <a:gd name="T47" fmla="*/ 513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4" h="799">
                  <a:moveTo>
                    <a:pt x="440" y="798"/>
                  </a:moveTo>
                  <a:cubicBezTo>
                    <a:pt x="428" y="798"/>
                    <a:pt x="416" y="796"/>
                    <a:pt x="404" y="790"/>
                  </a:cubicBezTo>
                  <a:cubicBezTo>
                    <a:pt x="22" y="568"/>
                    <a:pt x="22" y="568"/>
                    <a:pt x="22" y="568"/>
                  </a:cubicBezTo>
                  <a:cubicBezTo>
                    <a:pt x="8" y="560"/>
                    <a:pt x="1" y="549"/>
                    <a:pt x="0" y="538"/>
                  </a:cubicBezTo>
                  <a:cubicBezTo>
                    <a:pt x="0" y="527"/>
                    <a:pt x="5" y="518"/>
                    <a:pt x="15" y="511"/>
                  </a:cubicBezTo>
                  <a:cubicBezTo>
                    <a:pt x="15" y="511"/>
                    <a:pt x="15" y="511"/>
                    <a:pt x="15" y="511"/>
                  </a:cubicBezTo>
                  <a:cubicBezTo>
                    <a:pt x="876" y="15"/>
                    <a:pt x="876" y="15"/>
                    <a:pt x="876" y="15"/>
                  </a:cubicBezTo>
                  <a:cubicBezTo>
                    <a:pt x="900" y="1"/>
                    <a:pt x="929" y="0"/>
                    <a:pt x="953" y="13"/>
                  </a:cubicBezTo>
                  <a:cubicBezTo>
                    <a:pt x="1336" y="235"/>
                    <a:pt x="1336" y="235"/>
                    <a:pt x="1336" y="235"/>
                  </a:cubicBezTo>
                  <a:cubicBezTo>
                    <a:pt x="1347" y="243"/>
                    <a:pt x="1354" y="256"/>
                    <a:pt x="1353" y="268"/>
                  </a:cubicBezTo>
                  <a:cubicBezTo>
                    <a:pt x="1353" y="279"/>
                    <a:pt x="1347" y="287"/>
                    <a:pt x="1338" y="293"/>
                  </a:cubicBezTo>
                  <a:cubicBezTo>
                    <a:pt x="480" y="787"/>
                    <a:pt x="480" y="787"/>
                    <a:pt x="480" y="787"/>
                  </a:cubicBezTo>
                  <a:cubicBezTo>
                    <a:pt x="468" y="795"/>
                    <a:pt x="454" y="798"/>
                    <a:pt x="440" y="798"/>
                  </a:cubicBezTo>
                  <a:close/>
                  <a:moveTo>
                    <a:pt x="17" y="513"/>
                  </a:moveTo>
                  <a:cubicBezTo>
                    <a:pt x="7" y="519"/>
                    <a:pt x="2" y="528"/>
                    <a:pt x="3" y="537"/>
                  </a:cubicBezTo>
                  <a:cubicBezTo>
                    <a:pt x="3" y="548"/>
                    <a:pt x="10" y="558"/>
                    <a:pt x="23" y="566"/>
                  </a:cubicBezTo>
                  <a:cubicBezTo>
                    <a:pt x="406" y="788"/>
                    <a:pt x="406" y="788"/>
                    <a:pt x="406" y="788"/>
                  </a:cubicBezTo>
                  <a:cubicBezTo>
                    <a:pt x="429" y="799"/>
                    <a:pt x="456" y="799"/>
                    <a:pt x="479" y="785"/>
                  </a:cubicBezTo>
                  <a:cubicBezTo>
                    <a:pt x="1337" y="291"/>
                    <a:pt x="1337" y="291"/>
                    <a:pt x="1337" y="291"/>
                  </a:cubicBezTo>
                  <a:cubicBezTo>
                    <a:pt x="1345" y="286"/>
                    <a:pt x="1350" y="278"/>
                    <a:pt x="1351" y="268"/>
                  </a:cubicBezTo>
                  <a:cubicBezTo>
                    <a:pt x="1351" y="257"/>
                    <a:pt x="1345" y="245"/>
                    <a:pt x="1335" y="237"/>
                  </a:cubicBezTo>
                  <a:cubicBezTo>
                    <a:pt x="952" y="15"/>
                    <a:pt x="952" y="15"/>
                    <a:pt x="952" y="15"/>
                  </a:cubicBezTo>
                  <a:cubicBezTo>
                    <a:pt x="928" y="3"/>
                    <a:pt x="900" y="4"/>
                    <a:pt x="877" y="17"/>
                  </a:cubicBezTo>
                  <a:lnTo>
                    <a:pt x="17" y="513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4" name="Freeform 1423">
              <a:extLst>
                <a:ext uri="{FF2B5EF4-FFF2-40B4-BE49-F238E27FC236}">
                  <a16:creationId xmlns:a16="http://schemas.microsoft.com/office/drawing/2014/main" id="{20929643-5D67-41A9-A1B3-25404BC9E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15519" y="1396580"/>
              <a:ext cx="5617327" cy="3274827"/>
            </a:xfrm>
            <a:custGeom>
              <a:avLst/>
              <a:gdLst>
                <a:gd name="T0" fmla="*/ 1256 w 1272"/>
                <a:gd name="T1" fmla="*/ 222 h 742"/>
                <a:gd name="T2" fmla="*/ 885 w 1272"/>
                <a:gd name="T3" fmla="*/ 9 h 742"/>
                <a:gd name="T4" fmla="*/ 832 w 1272"/>
                <a:gd name="T5" fmla="*/ 11 h 742"/>
                <a:gd name="T6" fmla="*/ 15 w 1272"/>
                <a:gd name="T7" fmla="*/ 482 h 742"/>
                <a:gd name="T8" fmla="*/ 19 w 1272"/>
                <a:gd name="T9" fmla="*/ 520 h 742"/>
                <a:gd name="T10" fmla="*/ 390 w 1272"/>
                <a:gd name="T11" fmla="*/ 734 h 742"/>
                <a:gd name="T12" fmla="*/ 442 w 1272"/>
                <a:gd name="T13" fmla="*/ 732 h 742"/>
                <a:gd name="T14" fmla="*/ 1257 w 1272"/>
                <a:gd name="T15" fmla="*/ 261 h 742"/>
                <a:gd name="T16" fmla="*/ 1256 w 1272"/>
                <a:gd name="T17" fmla="*/ 22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2" h="742">
                  <a:moveTo>
                    <a:pt x="1256" y="222"/>
                  </a:moveTo>
                  <a:cubicBezTo>
                    <a:pt x="885" y="9"/>
                    <a:pt x="885" y="9"/>
                    <a:pt x="885" y="9"/>
                  </a:cubicBezTo>
                  <a:cubicBezTo>
                    <a:pt x="868" y="0"/>
                    <a:pt x="848" y="1"/>
                    <a:pt x="832" y="11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1" y="491"/>
                    <a:pt x="0" y="509"/>
                    <a:pt x="19" y="520"/>
                  </a:cubicBezTo>
                  <a:cubicBezTo>
                    <a:pt x="390" y="734"/>
                    <a:pt x="390" y="734"/>
                    <a:pt x="390" y="734"/>
                  </a:cubicBezTo>
                  <a:cubicBezTo>
                    <a:pt x="406" y="742"/>
                    <a:pt x="426" y="741"/>
                    <a:pt x="442" y="732"/>
                  </a:cubicBezTo>
                  <a:cubicBezTo>
                    <a:pt x="1257" y="261"/>
                    <a:pt x="1257" y="261"/>
                    <a:pt x="1257" y="261"/>
                  </a:cubicBezTo>
                  <a:cubicBezTo>
                    <a:pt x="1272" y="253"/>
                    <a:pt x="1272" y="230"/>
                    <a:pt x="1256" y="22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5" name="Freeform 1424">
              <a:extLst>
                <a:ext uri="{FF2B5EF4-FFF2-40B4-BE49-F238E27FC236}">
                  <a16:creationId xmlns:a16="http://schemas.microsoft.com/office/drawing/2014/main" id="{05BC8EDC-9688-4BE3-A752-4977D6B2C2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72541" y="3067974"/>
              <a:ext cx="114683" cy="133797"/>
            </a:xfrm>
            <a:custGeom>
              <a:avLst/>
              <a:gdLst>
                <a:gd name="T0" fmla="*/ 19 w 26"/>
                <a:gd name="T1" fmla="*/ 20 h 30"/>
                <a:gd name="T2" fmla="*/ 6 w 26"/>
                <a:gd name="T3" fmla="*/ 27 h 30"/>
                <a:gd name="T4" fmla="*/ 0 w 26"/>
                <a:gd name="T5" fmla="*/ 22 h 30"/>
                <a:gd name="T6" fmla="*/ 0 w 26"/>
                <a:gd name="T7" fmla="*/ 22 h 30"/>
                <a:gd name="T8" fmla="*/ 6 w 26"/>
                <a:gd name="T9" fmla="*/ 9 h 30"/>
                <a:gd name="T10" fmla="*/ 19 w 26"/>
                <a:gd name="T11" fmla="*/ 2 h 30"/>
                <a:gd name="T12" fmla="*/ 26 w 26"/>
                <a:gd name="T13" fmla="*/ 7 h 30"/>
                <a:gd name="T14" fmla="*/ 26 w 26"/>
                <a:gd name="T15" fmla="*/ 7 h 30"/>
                <a:gd name="T16" fmla="*/ 19 w 26"/>
                <a:gd name="T17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0">
                  <a:moveTo>
                    <a:pt x="19" y="20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3" y="30"/>
                    <a:pt x="0" y="27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7"/>
                    <a:pt x="3" y="12"/>
                    <a:pt x="6" y="9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3" y="0"/>
                    <a:pt x="26" y="2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2"/>
                    <a:pt x="23" y="18"/>
                    <a:pt x="19" y="2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6" name="Freeform 1425">
              <a:extLst>
                <a:ext uri="{FF2B5EF4-FFF2-40B4-BE49-F238E27FC236}">
                  <a16:creationId xmlns:a16="http://schemas.microsoft.com/office/drawing/2014/main" id="{19E60B52-50B8-41BF-A46A-B099F293A9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72541" y="3072222"/>
              <a:ext cx="97693" cy="106188"/>
            </a:xfrm>
            <a:custGeom>
              <a:avLst/>
              <a:gdLst>
                <a:gd name="T0" fmla="*/ 6 w 22"/>
                <a:gd name="T1" fmla="*/ 8 h 24"/>
                <a:gd name="T2" fmla="*/ 0 w 22"/>
                <a:gd name="T3" fmla="*/ 21 h 24"/>
                <a:gd name="T4" fmla="*/ 0 w 22"/>
                <a:gd name="T5" fmla="*/ 24 h 24"/>
                <a:gd name="T6" fmla="*/ 2 w 22"/>
                <a:gd name="T7" fmla="*/ 24 h 24"/>
                <a:gd name="T8" fmla="*/ 15 w 22"/>
                <a:gd name="T9" fmla="*/ 16 h 24"/>
                <a:gd name="T10" fmla="*/ 22 w 22"/>
                <a:gd name="T11" fmla="*/ 3 h 24"/>
                <a:gd name="T12" fmla="*/ 21 w 22"/>
                <a:gd name="T13" fmla="*/ 0 h 24"/>
                <a:gd name="T14" fmla="*/ 19 w 22"/>
                <a:gd name="T15" fmla="*/ 1 h 24"/>
                <a:gd name="T16" fmla="*/ 6 w 22"/>
                <a:gd name="T1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4">
                  <a:moveTo>
                    <a:pt x="6" y="8"/>
                  </a:moveTo>
                  <a:cubicBezTo>
                    <a:pt x="3" y="11"/>
                    <a:pt x="0" y="16"/>
                    <a:pt x="0" y="21"/>
                  </a:cubicBezTo>
                  <a:cubicBezTo>
                    <a:pt x="0" y="23"/>
                    <a:pt x="0" y="24"/>
                    <a:pt x="0" y="24"/>
                  </a:cubicBezTo>
                  <a:cubicBezTo>
                    <a:pt x="1" y="24"/>
                    <a:pt x="1" y="24"/>
                    <a:pt x="2" y="24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9" y="14"/>
                    <a:pt x="22" y="8"/>
                    <a:pt x="22" y="3"/>
                  </a:cubicBezTo>
                  <a:cubicBezTo>
                    <a:pt x="22" y="2"/>
                    <a:pt x="21" y="1"/>
                    <a:pt x="21" y="0"/>
                  </a:cubicBezTo>
                  <a:cubicBezTo>
                    <a:pt x="21" y="1"/>
                    <a:pt x="20" y="1"/>
                    <a:pt x="19" y="1"/>
                  </a:cubicBezTo>
                  <a:lnTo>
                    <a:pt x="6" y="8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7" name="Freeform 1426">
              <a:extLst>
                <a:ext uri="{FF2B5EF4-FFF2-40B4-BE49-F238E27FC236}">
                  <a16:creationId xmlns:a16="http://schemas.microsoft.com/office/drawing/2014/main" id="{5E9C2100-F49D-4C53-9406-777C169329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68294" y="3067974"/>
              <a:ext cx="106188" cy="121055"/>
            </a:xfrm>
            <a:custGeom>
              <a:avLst/>
              <a:gdLst>
                <a:gd name="T0" fmla="*/ 1 w 24"/>
                <a:gd name="T1" fmla="*/ 27 h 27"/>
                <a:gd name="T2" fmla="*/ 0 w 24"/>
                <a:gd name="T3" fmla="*/ 26 h 27"/>
                <a:gd name="T4" fmla="*/ 0 w 24"/>
                <a:gd name="T5" fmla="*/ 22 h 27"/>
                <a:gd name="T6" fmla="*/ 7 w 24"/>
                <a:gd name="T7" fmla="*/ 9 h 27"/>
                <a:gd name="T8" fmla="*/ 7 w 24"/>
                <a:gd name="T9" fmla="*/ 9 h 27"/>
                <a:gd name="T10" fmla="*/ 20 w 24"/>
                <a:gd name="T11" fmla="*/ 1 h 27"/>
                <a:gd name="T12" fmla="*/ 22 w 24"/>
                <a:gd name="T13" fmla="*/ 0 h 27"/>
                <a:gd name="T14" fmla="*/ 23 w 24"/>
                <a:gd name="T15" fmla="*/ 0 h 27"/>
                <a:gd name="T16" fmla="*/ 23 w 24"/>
                <a:gd name="T17" fmla="*/ 1 h 27"/>
                <a:gd name="T18" fmla="*/ 24 w 24"/>
                <a:gd name="T19" fmla="*/ 4 h 27"/>
                <a:gd name="T20" fmla="*/ 16 w 24"/>
                <a:gd name="T21" fmla="*/ 18 h 27"/>
                <a:gd name="T22" fmla="*/ 3 w 24"/>
                <a:gd name="T23" fmla="*/ 26 h 27"/>
                <a:gd name="T24" fmla="*/ 2 w 24"/>
                <a:gd name="T25" fmla="*/ 26 h 27"/>
                <a:gd name="T26" fmla="*/ 1 w 24"/>
                <a:gd name="T27" fmla="*/ 27 h 27"/>
                <a:gd name="T28" fmla="*/ 8 w 24"/>
                <a:gd name="T29" fmla="*/ 10 h 27"/>
                <a:gd name="T30" fmla="*/ 2 w 24"/>
                <a:gd name="T31" fmla="*/ 22 h 27"/>
                <a:gd name="T32" fmla="*/ 2 w 24"/>
                <a:gd name="T33" fmla="*/ 24 h 27"/>
                <a:gd name="T34" fmla="*/ 2 w 24"/>
                <a:gd name="T35" fmla="*/ 24 h 27"/>
                <a:gd name="T36" fmla="*/ 15 w 24"/>
                <a:gd name="T37" fmla="*/ 17 h 27"/>
                <a:gd name="T38" fmla="*/ 22 w 24"/>
                <a:gd name="T39" fmla="*/ 4 h 27"/>
                <a:gd name="T40" fmla="*/ 21 w 24"/>
                <a:gd name="T41" fmla="*/ 3 h 27"/>
                <a:gd name="T42" fmla="*/ 21 w 24"/>
                <a:gd name="T43" fmla="*/ 3 h 27"/>
                <a:gd name="T44" fmla="*/ 8 w 24"/>
                <a:gd name="T4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27">
                  <a:moveTo>
                    <a:pt x="1" y="27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4"/>
                    <a:pt x="0" y="22"/>
                  </a:cubicBezTo>
                  <a:cubicBezTo>
                    <a:pt x="0" y="17"/>
                    <a:pt x="3" y="11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1"/>
                    <a:pt x="21" y="1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2"/>
                    <a:pt x="24" y="3"/>
                    <a:pt x="24" y="4"/>
                  </a:cubicBezTo>
                  <a:cubicBezTo>
                    <a:pt x="24" y="10"/>
                    <a:pt x="20" y="16"/>
                    <a:pt x="16" y="18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2" y="26"/>
                    <a:pt x="2" y="26"/>
                  </a:cubicBezTo>
                  <a:lnTo>
                    <a:pt x="1" y="27"/>
                  </a:lnTo>
                  <a:close/>
                  <a:moveTo>
                    <a:pt x="8" y="10"/>
                  </a:moveTo>
                  <a:cubicBezTo>
                    <a:pt x="5" y="12"/>
                    <a:pt x="2" y="18"/>
                    <a:pt x="2" y="22"/>
                  </a:cubicBezTo>
                  <a:cubicBezTo>
                    <a:pt x="2" y="23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9" y="15"/>
                    <a:pt x="22" y="9"/>
                    <a:pt x="22" y="4"/>
                  </a:cubicBezTo>
                  <a:cubicBezTo>
                    <a:pt x="22" y="4"/>
                    <a:pt x="22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lnTo>
                    <a:pt x="8" y="10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8" name="Freeform 1427">
              <a:extLst>
                <a:ext uri="{FF2B5EF4-FFF2-40B4-BE49-F238E27FC236}">
                  <a16:creationId xmlns:a16="http://schemas.microsoft.com/office/drawing/2014/main" id="{A44E5BD2-0E7B-4CB8-B137-70EAB3E27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53244" y="3091335"/>
              <a:ext cx="61589" cy="97693"/>
            </a:xfrm>
            <a:custGeom>
              <a:avLst/>
              <a:gdLst>
                <a:gd name="T0" fmla="*/ 7 w 14"/>
                <a:gd name="T1" fmla="*/ 20 h 22"/>
                <a:gd name="T2" fmla="*/ 7 w 14"/>
                <a:gd name="T3" fmla="*/ 20 h 22"/>
                <a:gd name="T4" fmla="*/ 0 w 14"/>
                <a:gd name="T5" fmla="*/ 15 h 22"/>
                <a:gd name="T6" fmla="*/ 0 w 14"/>
                <a:gd name="T7" fmla="*/ 15 h 22"/>
                <a:gd name="T8" fmla="*/ 7 w 14"/>
                <a:gd name="T9" fmla="*/ 2 h 22"/>
                <a:gd name="T10" fmla="*/ 7 w 14"/>
                <a:gd name="T11" fmla="*/ 2 h 22"/>
                <a:gd name="T12" fmla="*/ 14 w 14"/>
                <a:gd name="T13" fmla="*/ 7 h 22"/>
                <a:gd name="T14" fmla="*/ 14 w 14"/>
                <a:gd name="T15" fmla="*/ 7 h 22"/>
                <a:gd name="T16" fmla="*/ 7 w 14"/>
                <a:gd name="T17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2">
                  <a:moveTo>
                    <a:pt x="7" y="20"/>
                  </a:moveTo>
                  <a:cubicBezTo>
                    <a:pt x="7" y="20"/>
                    <a:pt x="7" y="20"/>
                    <a:pt x="7" y="20"/>
                  </a:cubicBezTo>
                  <a:cubicBezTo>
                    <a:pt x="3" y="22"/>
                    <a:pt x="0" y="20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0"/>
                    <a:pt x="3" y="4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1" y="0"/>
                    <a:pt x="14" y="2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2"/>
                    <a:pt x="11" y="18"/>
                    <a:pt x="7" y="2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9" name="Freeform 1428">
              <a:extLst>
                <a:ext uri="{FF2B5EF4-FFF2-40B4-BE49-F238E27FC236}">
                  <a16:creationId xmlns:a16="http://schemas.microsoft.com/office/drawing/2014/main" id="{0AB09601-96EE-4FA1-8275-36A0302304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446873" y="3087087"/>
              <a:ext cx="72208" cy="101940"/>
            </a:xfrm>
            <a:custGeom>
              <a:avLst/>
              <a:gdLst>
                <a:gd name="T0" fmla="*/ 6 w 16"/>
                <a:gd name="T1" fmla="*/ 23 h 23"/>
                <a:gd name="T2" fmla="*/ 3 w 16"/>
                <a:gd name="T3" fmla="*/ 22 h 23"/>
                <a:gd name="T4" fmla="*/ 0 w 16"/>
                <a:gd name="T5" fmla="*/ 16 h 23"/>
                <a:gd name="T6" fmla="*/ 8 w 16"/>
                <a:gd name="T7" fmla="*/ 2 h 23"/>
                <a:gd name="T8" fmla="*/ 13 w 16"/>
                <a:gd name="T9" fmla="*/ 1 h 23"/>
                <a:gd name="T10" fmla="*/ 16 w 16"/>
                <a:gd name="T11" fmla="*/ 8 h 23"/>
                <a:gd name="T12" fmla="*/ 9 w 16"/>
                <a:gd name="T13" fmla="*/ 22 h 23"/>
                <a:gd name="T14" fmla="*/ 9 w 16"/>
                <a:gd name="T15" fmla="*/ 22 h 23"/>
                <a:gd name="T16" fmla="*/ 6 w 16"/>
                <a:gd name="T17" fmla="*/ 23 h 23"/>
                <a:gd name="T18" fmla="*/ 11 w 16"/>
                <a:gd name="T19" fmla="*/ 3 h 23"/>
                <a:gd name="T20" fmla="*/ 9 w 16"/>
                <a:gd name="T21" fmla="*/ 4 h 23"/>
                <a:gd name="T22" fmla="*/ 3 w 16"/>
                <a:gd name="T23" fmla="*/ 16 h 23"/>
                <a:gd name="T24" fmla="*/ 4 w 16"/>
                <a:gd name="T25" fmla="*/ 20 h 23"/>
                <a:gd name="T26" fmla="*/ 8 w 16"/>
                <a:gd name="T27" fmla="*/ 20 h 23"/>
                <a:gd name="T28" fmla="*/ 8 w 16"/>
                <a:gd name="T29" fmla="*/ 20 h 23"/>
                <a:gd name="T30" fmla="*/ 14 w 16"/>
                <a:gd name="T31" fmla="*/ 8 h 23"/>
                <a:gd name="T32" fmla="*/ 12 w 16"/>
                <a:gd name="T33" fmla="*/ 3 h 23"/>
                <a:gd name="T34" fmla="*/ 11 w 16"/>
                <a:gd name="T3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3">
                  <a:moveTo>
                    <a:pt x="6" y="23"/>
                  </a:moveTo>
                  <a:cubicBezTo>
                    <a:pt x="5" y="23"/>
                    <a:pt x="4" y="23"/>
                    <a:pt x="3" y="22"/>
                  </a:cubicBezTo>
                  <a:cubicBezTo>
                    <a:pt x="1" y="21"/>
                    <a:pt x="0" y="19"/>
                    <a:pt x="0" y="16"/>
                  </a:cubicBezTo>
                  <a:cubicBezTo>
                    <a:pt x="0" y="10"/>
                    <a:pt x="3" y="4"/>
                    <a:pt x="8" y="2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5" y="2"/>
                    <a:pt x="16" y="5"/>
                    <a:pt x="16" y="8"/>
                  </a:cubicBezTo>
                  <a:cubicBezTo>
                    <a:pt x="16" y="13"/>
                    <a:pt x="13" y="19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7" y="23"/>
                    <a:pt x="6" y="23"/>
                  </a:cubicBezTo>
                  <a:close/>
                  <a:moveTo>
                    <a:pt x="11" y="3"/>
                  </a:moveTo>
                  <a:cubicBezTo>
                    <a:pt x="10" y="3"/>
                    <a:pt x="9" y="3"/>
                    <a:pt x="9" y="4"/>
                  </a:cubicBezTo>
                  <a:cubicBezTo>
                    <a:pt x="5" y="6"/>
                    <a:pt x="3" y="11"/>
                    <a:pt x="3" y="16"/>
                  </a:cubicBezTo>
                  <a:cubicBezTo>
                    <a:pt x="3" y="18"/>
                    <a:pt x="3" y="19"/>
                    <a:pt x="4" y="20"/>
                  </a:cubicBezTo>
                  <a:cubicBezTo>
                    <a:pt x="5" y="21"/>
                    <a:pt x="7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1" y="18"/>
                    <a:pt x="14" y="12"/>
                    <a:pt x="14" y="8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2" y="3"/>
                    <a:pt x="11" y="3"/>
                    <a:pt x="11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0" name="Freeform 1429">
              <a:extLst>
                <a:ext uri="{FF2B5EF4-FFF2-40B4-BE49-F238E27FC236}">
                  <a16:creationId xmlns:a16="http://schemas.microsoft.com/office/drawing/2014/main" id="{55B2BF26-1E0D-4B1F-AE9E-4FD47A2235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29883" y="3072222"/>
              <a:ext cx="74332" cy="106188"/>
            </a:xfrm>
            <a:custGeom>
              <a:avLst/>
              <a:gdLst>
                <a:gd name="T0" fmla="*/ 6 w 17"/>
                <a:gd name="T1" fmla="*/ 19 h 24"/>
                <a:gd name="T2" fmla="*/ 12 w 17"/>
                <a:gd name="T3" fmla="*/ 6 h 24"/>
                <a:gd name="T4" fmla="*/ 17 w 17"/>
                <a:gd name="T5" fmla="*/ 5 h 24"/>
                <a:gd name="T6" fmla="*/ 17 w 17"/>
                <a:gd name="T7" fmla="*/ 5 h 24"/>
                <a:gd name="T8" fmla="*/ 12 w 17"/>
                <a:gd name="T9" fmla="*/ 2 h 24"/>
                <a:gd name="T10" fmla="*/ 11 w 17"/>
                <a:gd name="T11" fmla="*/ 1 h 24"/>
                <a:gd name="T12" fmla="*/ 11 w 17"/>
                <a:gd name="T13" fmla="*/ 1 h 24"/>
                <a:gd name="T14" fmla="*/ 11 w 17"/>
                <a:gd name="T15" fmla="*/ 1 h 24"/>
                <a:gd name="T16" fmla="*/ 7 w 17"/>
                <a:gd name="T17" fmla="*/ 2 h 24"/>
                <a:gd name="T18" fmla="*/ 0 w 17"/>
                <a:gd name="T19" fmla="*/ 14 h 24"/>
                <a:gd name="T20" fmla="*/ 2 w 17"/>
                <a:gd name="T21" fmla="*/ 20 h 24"/>
                <a:gd name="T22" fmla="*/ 1 w 17"/>
                <a:gd name="T23" fmla="*/ 19 h 24"/>
                <a:gd name="T24" fmla="*/ 2 w 17"/>
                <a:gd name="T25" fmla="*/ 20 h 24"/>
                <a:gd name="T26" fmla="*/ 2 w 17"/>
                <a:gd name="T27" fmla="*/ 20 h 24"/>
                <a:gd name="T28" fmla="*/ 7 w 17"/>
                <a:gd name="T29" fmla="*/ 24 h 24"/>
                <a:gd name="T30" fmla="*/ 6 w 17"/>
                <a:gd name="T31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" h="24">
                  <a:moveTo>
                    <a:pt x="6" y="19"/>
                  </a:moveTo>
                  <a:cubicBezTo>
                    <a:pt x="6" y="14"/>
                    <a:pt x="9" y="8"/>
                    <a:pt x="12" y="6"/>
                  </a:cubicBezTo>
                  <a:cubicBezTo>
                    <a:pt x="14" y="5"/>
                    <a:pt x="15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9" y="0"/>
                    <a:pt x="8" y="1"/>
                    <a:pt x="7" y="2"/>
                  </a:cubicBezTo>
                  <a:cubicBezTo>
                    <a:pt x="3" y="4"/>
                    <a:pt x="0" y="9"/>
                    <a:pt x="0" y="14"/>
                  </a:cubicBezTo>
                  <a:cubicBezTo>
                    <a:pt x="0" y="17"/>
                    <a:pt x="1" y="19"/>
                    <a:pt x="2" y="2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6" y="23"/>
                    <a:pt x="6" y="21"/>
                    <a:pt x="6" y="1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1" name="Freeform 1430">
              <a:extLst>
                <a:ext uri="{FF2B5EF4-FFF2-40B4-BE49-F238E27FC236}">
                  <a16:creationId xmlns:a16="http://schemas.microsoft.com/office/drawing/2014/main" id="{C126243B-492F-4349-A920-EE9EF3608D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425636" y="3067974"/>
              <a:ext cx="84950" cy="114683"/>
            </a:xfrm>
            <a:custGeom>
              <a:avLst/>
              <a:gdLst>
                <a:gd name="T0" fmla="*/ 8 w 19"/>
                <a:gd name="T1" fmla="*/ 26 h 26"/>
                <a:gd name="T2" fmla="*/ 2 w 19"/>
                <a:gd name="T3" fmla="*/ 22 h 26"/>
                <a:gd name="T4" fmla="*/ 2 w 19"/>
                <a:gd name="T5" fmla="*/ 22 h 26"/>
                <a:gd name="T6" fmla="*/ 2 w 19"/>
                <a:gd name="T7" fmla="*/ 21 h 26"/>
                <a:gd name="T8" fmla="*/ 0 w 19"/>
                <a:gd name="T9" fmla="*/ 15 h 26"/>
                <a:gd name="T10" fmla="*/ 7 w 19"/>
                <a:gd name="T11" fmla="*/ 1 h 26"/>
                <a:gd name="T12" fmla="*/ 12 w 19"/>
                <a:gd name="T13" fmla="*/ 1 h 26"/>
                <a:gd name="T14" fmla="*/ 13 w 19"/>
                <a:gd name="T15" fmla="*/ 1 h 26"/>
                <a:gd name="T16" fmla="*/ 14 w 19"/>
                <a:gd name="T17" fmla="*/ 2 h 26"/>
                <a:gd name="T18" fmla="*/ 19 w 19"/>
                <a:gd name="T19" fmla="*/ 6 h 26"/>
                <a:gd name="T20" fmla="*/ 18 w 19"/>
                <a:gd name="T21" fmla="*/ 8 h 26"/>
                <a:gd name="T22" fmla="*/ 17 w 19"/>
                <a:gd name="T23" fmla="*/ 7 h 26"/>
                <a:gd name="T24" fmla="*/ 14 w 19"/>
                <a:gd name="T25" fmla="*/ 8 h 26"/>
                <a:gd name="T26" fmla="*/ 8 w 19"/>
                <a:gd name="T27" fmla="*/ 20 h 26"/>
                <a:gd name="T28" fmla="*/ 9 w 19"/>
                <a:gd name="T29" fmla="*/ 24 h 26"/>
                <a:gd name="T30" fmla="*/ 8 w 19"/>
                <a:gd name="T31" fmla="*/ 26 h 26"/>
                <a:gd name="T32" fmla="*/ 3 w 19"/>
                <a:gd name="T33" fmla="*/ 20 h 26"/>
                <a:gd name="T34" fmla="*/ 4 w 19"/>
                <a:gd name="T35" fmla="*/ 20 h 26"/>
                <a:gd name="T36" fmla="*/ 6 w 19"/>
                <a:gd name="T37" fmla="*/ 21 h 26"/>
                <a:gd name="T38" fmla="*/ 5 w 19"/>
                <a:gd name="T39" fmla="*/ 20 h 26"/>
                <a:gd name="T40" fmla="*/ 13 w 19"/>
                <a:gd name="T41" fmla="*/ 6 h 26"/>
                <a:gd name="T42" fmla="*/ 14 w 19"/>
                <a:gd name="T43" fmla="*/ 5 h 26"/>
                <a:gd name="T44" fmla="*/ 12 w 19"/>
                <a:gd name="T45" fmla="*/ 4 h 26"/>
                <a:gd name="T46" fmla="*/ 12 w 19"/>
                <a:gd name="T47" fmla="*/ 4 h 26"/>
                <a:gd name="T48" fmla="*/ 11 w 19"/>
                <a:gd name="T49" fmla="*/ 3 h 26"/>
                <a:gd name="T50" fmla="*/ 8 w 19"/>
                <a:gd name="T51" fmla="*/ 4 h 26"/>
                <a:gd name="T52" fmla="*/ 2 w 19"/>
                <a:gd name="T53" fmla="*/ 15 h 26"/>
                <a:gd name="T54" fmla="*/ 3 w 19"/>
                <a:gd name="T55" fmla="*/ 19 h 26"/>
                <a:gd name="T56" fmla="*/ 3 w 19"/>
                <a:gd name="T5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" h="26">
                  <a:moveTo>
                    <a:pt x="8" y="26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0"/>
                    <a:pt x="0" y="18"/>
                    <a:pt x="0" y="15"/>
                  </a:cubicBezTo>
                  <a:cubicBezTo>
                    <a:pt x="0" y="10"/>
                    <a:pt x="3" y="4"/>
                    <a:pt x="7" y="1"/>
                  </a:cubicBezTo>
                  <a:cubicBezTo>
                    <a:pt x="8" y="1"/>
                    <a:pt x="10" y="0"/>
                    <a:pt x="12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5" y="7"/>
                    <a:pt x="14" y="8"/>
                  </a:cubicBezTo>
                  <a:cubicBezTo>
                    <a:pt x="11" y="10"/>
                    <a:pt x="8" y="15"/>
                    <a:pt x="8" y="20"/>
                  </a:cubicBezTo>
                  <a:cubicBezTo>
                    <a:pt x="8" y="22"/>
                    <a:pt x="8" y="23"/>
                    <a:pt x="9" y="24"/>
                  </a:cubicBezTo>
                  <a:lnTo>
                    <a:pt x="8" y="26"/>
                  </a:lnTo>
                  <a:close/>
                  <a:moveTo>
                    <a:pt x="3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5" y="20"/>
                    <a:pt x="5" y="20"/>
                  </a:cubicBezTo>
                  <a:cubicBezTo>
                    <a:pt x="5" y="14"/>
                    <a:pt x="9" y="8"/>
                    <a:pt x="13" y="6"/>
                  </a:cubicBezTo>
                  <a:cubicBezTo>
                    <a:pt x="13" y="5"/>
                    <a:pt x="14" y="5"/>
                    <a:pt x="14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0" y="3"/>
                    <a:pt x="8" y="4"/>
                  </a:cubicBezTo>
                  <a:cubicBezTo>
                    <a:pt x="5" y="5"/>
                    <a:pt x="2" y="11"/>
                    <a:pt x="2" y="15"/>
                  </a:cubicBezTo>
                  <a:cubicBezTo>
                    <a:pt x="2" y="17"/>
                    <a:pt x="2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2" name="Freeform 1431">
              <a:extLst>
                <a:ext uri="{FF2B5EF4-FFF2-40B4-BE49-F238E27FC236}">
                  <a16:creationId xmlns:a16="http://schemas.microsoft.com/office/drawing/2014/main" id="{0065BA46-1559-4233-AB87-CDF002C4AC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99128" y="3316452"/>
              <a:ext cx="250603" cy="208128"/>
            </a:xfrm>
            <a:custGeom>
              <a:avLst/>
              <a:gdLst>
                <a:gd name="T0" fmla="*/ 7 w 57"/>
                <a:gd name="T1" fmla="*/ 42 h 47"/>
                <a:gd name="T2" fmla="*/ 14 w 57"/>
                <a:gd name="T3" fmla="*/ 29 h 47"/>
                <a:gd name="T4" fmla="*/ 53 w 57"/>
                <a:gd name="T5" fmla="*/ 6 h 47"/>
                <a:gd name="T6" fmla="*/ 57 w 57"/>
                <a:gd name="T7" fmla="*/ 6 h 47"/>
                <a:gd name="T8" fmla="*/ 51 w 57"/>
                <a:gd name="T9" fmla="*/ 2 h 47"/>
                <a:gd name="T10" fmla="*/ 50 w 57"/>
                <a:gd name="T11" fmla="*/ 1 h 47"/>
                <a:gd name="T12" fmla="*/ 45 w 57"/>
                <a:gd name="T13" fmla="*/ 1 h 47"/>
                <a:gd name="T14" fmla="*/ 7 w 57"/>
                <a:gd name="T15" fmla="*/ 24 h 47"/>
                <a:gd name="T16" fmla="*/ 0 w 57"/>
                <a:gd name="T17" fmla="*/ 36 h 47"/>
                <a:gd name="T18" fmla="*/ 1 w 57"/>
                <a:gd name="T19" fmla="*/ 41 h 47"/>
                <a:gd name="T20" fmla="*/ 2 w 57"/>
                <a:gd name="T21" fmla="*/ 42 h 47"/>
                <a:gd name="T22" fmla="*/ 2 w 57"/>
                <a:gd name="T23" fmla="*/ 42 h 47"/>
                <a:gd name="T24" fmla="*/ 2 w 57"/>
                <a:gd name="T25" fmla="*/ 42 h 47"/>
                <a:gd name="T26" fmla="*/ 9 w 57"/>
                <a:gd name="T27" fmla="*/ 47 h 47"/>
                <a:gd name="T28" fmla="*/ 7 w 57"/>
                <a:gd name="T29" fmla="*/ 4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7">
                  <a:moveTo>
                    <a:pt x="7" y="42"/>
                  </a:moveTo>
                  <a:cubicBezTo>
                    <a:pt x="7" y="37"/>
                    <a:pt x="10" y="31"/>
                    <a:pt x="14" y="29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4" y="5"/>
                    <a:pt x="56" y="5"/>
                    <a:pt x="57" y="6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49" y="0"/>
                    <a:pt x="47" y="0"/>
                    <a:pt x="45" y="1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3" y="26"/>
                    <a:pt x="0" y="32"/>
                    <a:pt x="0" y="36"/>
                  </a:cubicBezTo>
                  <a:cubicBezTo>
                    <a:pt x="0" y="39"/>
                    <a:pt x="0" y="40"/>
                    <a:pt x="1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8" y="46"/>
                    <a:pt x="7" y="44"/>
                    <a:pt x="7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3" name="Freeform 1432">
              <a:extLst>
                <a:ext uri="{FF2B5EF4-FFF2-40B4-BE49-F238E27FC236}">
                  <a16:creationId xmlns:a16="http://schemas.microsoft.com/office/drawing/2014/main" id="{F4EEA5DE-BCEA-4953-946C-11C88C5F28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794880" y="3312205"/>
              <a:ext cx="259098" cy="216623"/>
            </a:xfrm>
            <a:custGeom>
              <a:avLst/>
              <a:gdLst>
                <a:gd name="T0" fmla="*/ 9 w 59"/>
                <a:gd name="T1" fmla="*/ 49 h 49"/>
                <a:gd name="T2" fmla="*/ 2 w 59"/>
                <a:gd name="T3" fmla="*/ 43 h 49"/>
                <a:gd name="T4" fmla="*/ 0 w 59"/>
                <a:gd name="T5" fmla="*/ 37 h 49"/>
                <a:gd name="T6" fmla="*/ 7 w 59"/>
                <a:gd name="T7" fmla="*/ 24 h 49"/>
                <a:gd name="T8" fmla="*/ 46 w 59"/>
                <a:gd name="T9" fmla="*/ 1 h 49"/>
                <a:gd name="T10" fmla="*/ 52 w 59"/>
                <a:gd name="T11" fmla="*/ 1 h 49"/>
                <a:gd name="T12" fmla="*/ 59 w 59"/>
                <a:gd name="T13" fmla="*/ 6 h 49"/>
                <a:gd name="T14" fmla="*/ 59 w 59"/>
                <a:gd name="T15" fmla="*/ 6 h 49"/>
                <a:gd name="T16" fmla="*/ 59 w 59"/>
                <a:gd name="T17" fmla="*/ 6 h 49"/>
                <a:gd name="T18" fmla="*/ 58 w 59"/>
                <a:gd name="T19" fmla="*/ 8 h 49"/>
                <a:gd name="T20" fmla="*/ 58 w 59"/>
                <a:gd name="T21" fmla="*/ 8 h 49"/>
                <a:gd name="T22" fmla="*/ 58 w 59"/>
                <a:gd name="T23" fmla="*/ 8 h 49"/>
                <a:gd name="T24" fmla="*/ 54 w 59"/>
                <a:gd name="T25" fmla="*/ 8 h 49"/>
                <a:gd name="T26" fmla="*/ 16 w 59"/>
                <a:gd name="T27" fmla="*/ 31 h 49"/>
                <a:gd name="T28" fmla="*/ 9 w 59"/>
                <a:gd name="T29" fmla="*/ 43 h 49"/>
                <a:gd name="T30" fmla="*/ 11 w 59"/>
                <a:gd name="T31" fmla="*/ 47 h 49"/>
                <a:gd name="T32" fmla="*/ 9 w 59"/>
                <a:gd name="T33" fmla="*/ 49 h 49"/>
                <a:gd name="T34" fmla="*/ 49 w 59"/>
                <a:gd name="T35" fmla="*/ 3 h 49"/>
                <a:gd name="T36" fmla="*/ 47 w 59"/>
                <a:gd name="T37" fmla="*/ 3 h 49"/>
                <a:gd name="T38" fmla="*/ 8 w 59"/>
                <a:gd name="T39" fmla="*/ 26 h 49"/>
                <a:gd name="T40" fmla="*/ 2 w 59"/>
                <a:gd name="T41" fmla="*/ 37 h 49"/>
                <a:gd name="T42" fmla="*/ 3 w 59"/>
                <a:gd name="T43" fmla="*/ 41 h 49"/>
                <a:gd name="T44" fmla="*/ 3 w 59"/>
                <a:gd name="T45" fmla="*/ 42 h 49"/>
                <a:gd name="T46" fmla="*/ 7 w 59"/>
                <a:gd name="T47" fmla="*/ 44 h 49"/>
                <a:gd name="T48" fmla="*/ 7 w 59"/>
                <a:gd name="T49" fmla="*/ 43 h 49"/>
                <a:gd name="T50" fmla="*/ 14 w 59"/>
                <a:gd name="T51" fmla="*/ 29 h 49"/>
                <a:gd name="T52" fmla="*/ 53 w 59"/>
                <a:gd name="T53" fmla="*/ 6 h 49"/>
                <a:gd name="T54" fmla="*/ 54 w 59"/>
                <a:gd name="T55" fmla="*/ 6 h 49"/>
                <a:gd name="T56" fmla="*/ 51 w 59"/>
                <a:gd name="T57" fmla="*/ 3 h 49"/>
                <a:gd name="T58" fmla="*/ 49 w 59"/>
                <a:gd name="T59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" h="49">
                  <a:moveTo>
                    <a:pt x="9" y="49"/>
                  </a:moveTo>
                  <a:cubicBezTo>
                    <a:pt x="2" y="43"/>
                    <a:pt x="2" y="43"/>
                    <a:pt x="2" y="43"/>
                  </a:cubicBezTo>
                  <a:cubicBezTo>
                    <a:pt x="0" y="42"/>
                    <a:pt x="0" y="40"/>
                    <a:pt x="0" y="37"/>
                  </a:cubicBezTo>
                  <a:cubicBezTo>
                    <a:pt x="0" y="32"/>
                    <a:pt x="3" y="26"/>
                    <a:pt x="7" y="24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9" y="0"/>
                    <a:pt x="51" y="0"/>
                    <a:pt x="52" y="1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6" y="7"/>
                    <a:pt x="55" y="8"/>
                    <a:pt x="54" y="8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2" y="33"/>
                    <a:pt x="9" y="38"/>
                    <a:pt x="9" y="43"/>
                  </a:cubicBezTo>
                  <a:cubicBezTo>
                    <a:pt x="9" y="45"/>
                    <a:pt x="10" y="46"/>
                    <a:pt x="11" y="47"/>
                  </a:cubicBezTo>
                  <a:lnTo>
                    <a:pt x="9" y="49"/>
                  </a:lnTo>
                  <a:close/>
                  <a:moveTo>
                    <a:pt x="49" y="3"/>
                  </a:moveTo>
                  <a:cubicBezTo>
                    <a:pt x="48" y="3"/>
                    <a:pt x="48" y="3"/>
                    <a:pt x="47" y="3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5" y="28"/>
                    <a:pt x="2" y="33"/>
                    <a:pt x="2" y="37"/>
                  </a:cubicBezTo>
                  <a:cubicBezTo>
                    <a:pt x="2" y="40"/>
                    <a:pt x="2" y="41"/>
                    <a:pt x="3" y="4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4"/>
                    <a:pt x="7" y="43"/>
                    <a:pt x="7" y="43"/>
                  </a:cubicBezTo>
                  <a:cubicBezTo>
                    <a:pt x="7" y="37"/>
                    <a:pt x="10" y="31"/>
                    <a:pt x="14" y="29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4" y="6"/>
                    <a:pt x="54" y="6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0" y="3"/>
                    <a:pt x="50" y="3"/>
                    <a:pt x="49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4" name="Freeform 1433">
              <a:extLst>
                <a:ext uri="{FF2B5EF4-FFF2-40B4-BE49-F238E27FC236}">
                  <a16:creationId xmlns:a16="http://schemas.microsoft.com/office/drawing/2014/main" id="{D1DDBCFC-06EA-49F7-B799-D0364937DC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28861" y="3333442"/>
              <a:ext cx="229365" cy="199633"/>
            </a:xfrm>
            <a:custGeom>
              <a:avLst/>
              <a:gdLst>
                <a:gd name="T0" fmla="*/ 46 w 52"/>
                <a:gd name="T1" fmla="*/ 20 h 45"/>
                <a:gd name="T2" fmla="*/ 7 w 52"/>
                <a:gd name="T3" fmla="*/ 43 h 45"/>
                <a:gd name="T4" fmla="*/ 0 w 52"/>
                <a:gd name="T5" fmla="*/ 38 h 45"/>
                <a:gd name="T6" fmla="*/ 0 w 52"/>
                <a:gd name="T7" fmla="*/ 38 h 45"/>
                <a:gd name="T8" fmla="*/ 7 w 52"/>
                <a:gd name="T9" fmla="*/ 25 h 45"/>
                <a:gd name="T10" fmla="*/ 46 w 52"/>
                <a:gd name="T11" fmla="*/ 2 h 45"/>
                <a:gd name="T12" fmla="*/ 52 w 52"/>
                <a:gd name="T13" fmla="*/ 7 h 45"/>
                <a:gd name="T14" fmla="*/ 52 w 52"/>
                <a:gd name="T15" fmla="*/ 7 h 45"/>
                <a:gd name="T16" fmla="*/ 46 w 52"/>
                <a:gd name="T17" fmla="*/ 2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45">
                  <a:moveTo>
                    <a:pt x="46" y="20"/>
                  </a:moveTo>
                  <a:cubicBezTo>
                    <a:pt x="7" y="43"/>
                    <a:pt x="7" y="43"/>
                    <a:pt x="7" y="43"/>
                  </a:cubicBezTo>
                  <a:cubicBezTo>
                    <a:pt x="3" y="45"/>
                    <a:pt x="0" y="43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3"/>
                    <a:pt x="3" y="27"/>
                    <a:pt x="7" y="25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9" y="0"/>
                    <a:pt x="52" y="3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12"/>
                    <a:pt x="49" y="18"/>
                    <a:pt x="46" y="2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5" name="Freeform 1434">
              <a:extLst>
                <a:ext uri="{FF2B5EF4-FFF2-40B4-BE49-F238E27FC236}">
                  <a16:creationId xmlns:a16="http://schemas.microsoft.com/office/drawing/2014/main" id="{8E9F5E88-E3DE-4D54-932D-3B2A690E94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824613" y="3333442"/>
              <a:ext cx="244232" cy="199633"/>
            </a:xfrm>
            <a:custGeom>
              <a:avLst/>
              <a:gdLst>
                <a:gd name="T0" fmla="*/ 5 w 55"/>
                <a:gd name="T1" fmla="*/ 45 h 45"/>
                <a:gd name="T2" fmla="*/ 3 w 55"/>
                <a:gd name="T3" fmla="*/ 44 h 45"/>
                <a:gd name="T4" fmla="*/ 0 w 55"/>
                <a:gd name="T5" fmla="*/ 38 h 45"/>
                <a:gd name="T6" fmla="*/ 7 w 55"/>
                <a:gd name="T7" fmla="*/ 24 h 45"/>
                <a:gd name="T8" fmla="*/ 46 w 55"/>
                <a:gd name="T9" fmla="*/ 1 h 45"/>
                <a:gd name="T10" fmla="*/ 52 w 55"/>
                <a:gd name="T11" fmla="*/ 1 h 45"/>
                <a:gd name="T12" fmla="*/ 55 w 55"/>
                <a:gd name="T13" fmla="*/ 7 h 45"/>
                <a:gd name="T14" fmla="*/ 47 w 55"/>
                <a:gd name="T15" fmla="*/ 21 h 45"/>
                <a:gd name="T16" fmla="*/ 9 w 55"/>
                <a:gd name="T17" fmla="*/ 44 h 45"/>
                <a:gd name="T18" fmla="*/ 5 w 55"/>
                <a:gd name="T19" fmla="*/ 45 h 45"/>
                <a:gd name="T20" fmla="*/ 49 w 55"/>
                <a:gd name="T21" fmla="*/ 3 h 45"/>
                <a:gd name="T22" fmla="*/ 47 w 55"/>
                <a:gd name="T23" fmla="*/ 3 h 45"/>
                <a:gd name="T24" fmla="*/ 9 w 55"/>
                <a:gd name="T25" fmla="*/ 26 h 45"/>
                <a:gd name="T26" fmla="*/ 2 w 55"/>
                <a:gd name="T27" fmla="*/ 38 h 45"/>
                <a:gd name="T28" fmla="*/ 4 w 55"/>
                <a:gd name="T29" fmla="*/ 42 h 45"/>
                <a:gd name="T30" fmla="*/ 7 w 55"/>
                <a:gd name="T31" fmla="*/ 42 h 45"/>
                <a:gd name="T32" fmla="*/ 46 w 55"/>
                <a:gd name="T33" fmla="*/ 19 h 45"/>
                <a:gd name="T34" fmla="*/ 52 w 55"/>
                <a:gd name="T35" fmla="*/ 7 h 45"/>
                <a:gd name="T36" fmla="*/ 50 w 55"/>
                <a:gd name="T37" fmla="*/ 3 h 45"/>
                <a:gd name="T38" fmla="*/ 49 w 55"/>
                <a:gd name="T39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5" h="45">
                  <a:moveTo>
                    <a:pt x="5" y="45"/>
                  </a:moveTo>
                  <a:cubicBezTo>
                    <a:pt x="4" y="45"/>
                    <a:pt x="4" y="45"/>
                    <a:pt x="3" y="44"/>
                  </a:cubicBezTo>
                  <a:cubicBezTo>
                    <a:pt x="1" y="43"/>
                    <a:pt x="0" y="41"/>
                    <a:pt x="0" y="38"/>
                  </a:cubicBezTo>
                  <a:cubicBezTo>
                    <a:pt x="0" y="32"/>
                    <a:pt x="3" y="26"/>
                    <a:pt x="7" y="24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0"/>
                    <a:pt x="50" y="0"/>
                    <a:pt x="52" y="1"/>
                  </a:cubicBezTo>
                  <a:cubicBezTo>
                    <a:pt x="54" y="2"/>
                    <a:pt x="55" y="4"/>
                    <a:pt x="55" y="7"/>
                  </a:cubicBezTo>
                  <a:cubicBezTo>
                    <a:pt x="55" y="13"/>
                    <a:pt x="51" y="19"/>
                    <a:pt x="47" y="21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7" y="44"/>
                    <a:pt x="6" y="45"/>
                    <a:pt x="5" y="45"/>
                  </a:cubicBezTo>
                  <a:close/>
                  <a:moveTo>
                    <a:pt x="49" y="3"/>
                  </a:moveTo>
                  <a:cubicBezTo>
                    <a:pt x="49" y="3"/>
                    <a:pt x="48" y="3"/>
                    <a:pt x="47" y="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5" y="28"/>
                    <a:pt x="2" y="33"/>
                    <a:pt x="2" y="38"/>
                  </a:cubicBezTo>
                  <a:cubicBezTo>
                    <a:pt x="2" y="40"/>
                    <a:pt x="3" y="41"/>
                    <a:pt x="4" y="42"/>
                  </a:cubicBezTo>
                  <a:cubicBezTo>
                    <a:pt x="5" y="43"/>
                    <a:pt x="6" y="42"/>
                    <a:pt x="7" y="42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9" y="17"/>
                    <a:pt x="52" y="12"/>
                    <a:pt x="52" y="7"/>
                  </a:cubicBezTo>
                  <a:cubicBezTo>
                    <a:pt x="52" y="5"/>
                    <a:pt x="52" y="4"/>
                    <a:pt x="50" y="3"/>
                  </a:cubicBezTo>
                  <a:cubicBezTo>
                    <a:pt x="50" y="3"/>
                    <a:pt x="50" y="3"/>
                    <a:pt x="49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6" name="Freeform 1435">
              <a:extLst>
                <a:ext uri="{FF2B5EF4-FFF2-40B4-BE49-F238E27FC236}">
                  <a16:creationId xmlns:a16="http://schemas.microsoft.com/office/drawing/2014/main" id="{2E27B5A2-ECC0-450B-AFDA-56B94C1881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77340" y="3152924"/>
              <a:ext cx="250603" cy="208128"/>
            </a:xfrm>
            <a:custGeom>
              <a:avLst/>
              <a:gdLst>
                <a:gd name="T0" fmla="*/ 7 w 57"/>
                <a:gd name="T1" fmla="*/ 42 h 47"/>
                <a:gd name="T2" fmla="*/ 14 w 57"/>
                <a:gd name="T3" fmla="*/ 29 h 47"/>
                <a:gd name="T4" fmla="*/ 52 w 57"/>
                <a:gd name="T5" fmla="*/ 7 h 47"/>
                <a:gd name="T6" fmla="*/ 57 w 57"/>
                <a:gd name="T7" fmla="*/ 7 h 47"/>
                <a:gd name="T8" fmla="*/ 51 w 57"/>
                <a:gd name="T9" fmla="*/ 2 h 47"/>
                <a:gd name="T10" fmla="*/ 50 w 57"/>
                <a:gd name="T11" fmla="*/ 2 h 47"/>
                <a:gd name="T12" fmla="*/ 45 w 57"/>
                <a:gd name="T13" fmla="*/ 2 h 47"/>
                <a:gd name="T14" fmla="*/ 6 w 57"/>
                <a:gd name="T15" fmla="*/ 24 h 47"/>
                <a:gd name="T16" fmla="*/ 0 w 57"/>
                <a:gd name="T17" fmla="*/ 37 h 47"/>
                <a:gd name="T18" fmla="*/ 1 w 57"/>
                <a:gd name="T19" fmla="*/ 42 h 47"/>
                <a:gd name="T20" fmla="*/ 1 w 57"/>
                <a:gd name="T21" fmla="*/ 42 h 47"/>
                <a:gd name="T22" fmla="*/ 2 w 57"/>
                <a:gd name="T23" fmla="*/ 42 h 47"/>
                <a:gd name="T24" fmla="*/ 2 w 57"/>
                <a:gd name="T25" fmla="*/ 42 h 47"/>
                <a:gd name="T26" fmla="*/ 9 w 57"/>
                <a:gd name="T27" fmla="*/ 47 h 47"/>
                <a:gd name="T28" fmla="*/ 7 w 57"/>
                <a:gd name="T29" fmla="*/ 4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7">
                  <a:moveTo>
                    <a:pt x="7" y="42"/>
                  </a:moveTo>
                  <a:cubicBezTo>
                    <a:pt x="7" y="37"/>
                    <a:pt x="10" y="31"/>
                    <a:pt x="14" y="29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4" y="6"/>
                    <a:pt x="56" y="6"/>
                    <a:pt x="57" y="7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1"/>
                    <a:pt x="47" y="0"/>
                    <a:pt x="45" y="2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3" y="26"/>
                    <a:pt x="0" y="32"/>
                    <a:pt x="0" y="37"/>
                  </a:cubicBezTo>
                  <a:cubicBezTo>
                    <a:pt x="0" y="39"/>
                    <a:pt x="0" y="41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8" y="46"/>
                    <a:pt x="7" y="45"/>
                    <a:pt x="7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7" name="Freeform 1436">
              <a:extLst>
                <a:ext uri="{FF2B5EF4-FFF2-40B4-BE49-F238E27FC236}">
                  <a16:creationId xmlns:a16="http://schemas.microsoft.com/office/drawing/2014/main" id="{5FECC103-B87F-4C5F-BF80-FB156B1AA7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68845" y="3148677"/>
              <a:ext cx="263345" cy="216623"/>
            </a:xfrm>
            <a:custGeom>
              <a:avLst/>
              <a:gdLst>
                <a:gd name="T0" fmla="*/ 10 w 60"/>
                <a:gd name="T1" fmla="*/ 49 h 49"/>
                <a:gd name="T2" fmla="*/ 2 w 60"/>
                <a:gd name="T3" fmla="*/ 44 h 49"/>
                <a:gd name="T4" fmla="*/ 0 w 60"/>
                <a:gd name="T5" fmla="*/ 38 h 49"/>
                <a:gd name="T6" fmla="*/ 8 w 60"/>
                <a:gd name="T7" fmla="*/ 24 h 49"/>
                <a:gd name="T8" fmla="*/ 46 w 60"/>
                <a:gd name="T9" fmla="*/ 2 h 49"/>
                <a:gd name="T10" fmla="*/ 53 w 60"/>
                <a:gd name="T11" fmla="*/ 2 h 49"/>
                <a:gd name="T12" fmla="*/ 60 w 60"/>
                <a:gd name="T13" fmla="*/ 7 h 49"/>
                <a:gd name="T14" fmla="*/ 60 w 60"/>
                <a:gd name="T15" fmla="*/ 7 h 49"/>
                <a:gd name="T16" fmla="*/ 60 w 60"/>
                <a:gd name="T17" fmla="*/ 7 h 49"/>
                <a:gd name="T18" fmla="*/ 58 w 60"/>
                <a:gd name="T19" fmla="*/ 9 h 49"/>
                <a:gd name="T20" fmla="*/ 58 w 60"/>
                <a:gd name="T21" fmla="*/ 9 h 49"/>
                <a:gd name="T22" fmla="*/ 58 w 60"/>
                <a:gd name="T23" fmla="*/ 9 h 49"/>
                <a:gd name="T24" fmla="*/ 55 w 60"/>
                <a:gd name="T25" fmla="*/ 9 h 49"/>
                <a:gd name="T26" fmla="*/ 16 w 60"/>
                <a:gd name="T27" fmla="*/ 31 h 49"/>
                <a:gd name="T28" fmla="*/ 10 w 60"/>
                <a:gd name="T29" fmla="*/ 43 h 49"/>
                <a:gd name="T30" fmla="*/ 12 w 60"/>
                <a:gd name="T31" fmla="*/ 47 h 49"/>
                <a:gd name="T32" fmla="*/ 10 w 60"/>
                <a:gd name="T33" fmla="*/ 49 h 49"/>
                <a:gd name="T34" fmla="*/ 50 w 60"/>
                <a:gd name="T35" fmla="*/ 3 h 49"/>
                <a:gd name="T36" fmla="*/ 48 w 60"/>
                <a:gd name="T37" fmla="*/ 4 h 49"/>
                <a:gd name="T38" fmla="*/ 9 w 60"/>
                <a:gd name="T39" fmla="*/ 26 h 49"/>
                <a:gd name="T40" fmla="*/ 3 w 60"/>
                <a:gd name="T41" fmla="*/ 38 h 49"/>
                <a:gd name="T42" fmla="*/ 4 w 60"/>
                <a:gd name="T43" fmla="*/ 42 h 49"/>
                <a:gd name="T44" fmla="*/ 4 w 60"/>
                <a:gd name="T45" fmla="*/ 42 h 49"/>
                <a:gd name="T46" fmla="*/ 8 w 60"/>
                <a:gd name="T47" fmla="*/ 45 h 49"/>
                <a:gd name="T48" fmla="*/ 8 w 60"/>
                <a:gd name="T49" fmla="*/ 43 h 49"/>
                <a:gd name="T50" fmla="*/ 15 w 60"/>
                <a:gd name="T51" fmla="*/ 29 h 49"/>
                <a:gd name="T52" fmla="*/ 54 w 60"/>
                <a:gd name="T53" fmla="*/ 7 h 49"/>
                <a:gd name="T54" fmla="*/ 55 w 60"/>
                <a:gd name="T55" fmla="*/ 6 h 49"/>
                <a:gd name="T56" fmla="*/ 51 w 60"/>
                <a:gd name="T57" fmla="*/ 4 h 49"/>
                <a:gd name="T58" fmla="*/ 50 w 60"/>
                <a:gd name="T59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0" h="49">
                  <a:moveTo>
                    <a:pt x="10" y="49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2"/>
                    <a:pt x="0" y="40"/>
                    <a:pt x="0" y="38"/>
                  </a:cubicBezTo>
                  <a:cubicBezTo>
                    <a:pt x="0" y="32"/>
                    <a:pt x="4" y="26"/>
                    <a:pt x="8" y="24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9" y="0"/>
                    <a:pt x="52" y="1"/>
                    <a:pt x="53" y="2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7" y="8"/>
                    <a:pt x="56" y="8"/>
                    <a:pt x="55" y="9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3" y="33"/>
                    <a:pt x="10" y="39"/>
                    <a:pt x="10" y="43"/>
                  </a:cubicBezTo>
                  <a:cubicBezTo>
                    <a:pt x="10" y="45"/>
                    <a:pt x="11" y="47"/>
                    <a:pt x="12" y="47"/>
                  </a:cubicBezTo>
                  <a:lnTo>
                    <a:pt x="10" y="49"/>
                  </a:lnTo>
                  <a:close/>
                  <a:moveTo>
                    <a:pt x="50" y="3"/>
                  </a:moveTo>
                  <a:cubicBezTo>
                    <a:pt x="49" y="3"/>
                    <a:pt x="48" y="3"/>
                    <a:pt x="48" y="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8"/>
                    <a:pt x="3" y="33"/>
                    <a:pt x="3" y="38"/>
                  </a:cubicBezTo>
                  <a:cubicBezTo>
                    <a:pt x="3" y="40"/>
                    <a:pt x="3" y="41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4"/>
                    <a:pt x="8" y="44"/>
                    <a:pt x="8" y="43"/>
                  </a:cubicBezTo>
                  <a:cubicBezTo>
                    <a:pt x="8" y="38"/>
                    <a:pt x="11" y="31"/>
                    <a:pt x="15" y="29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5" y="6"/>
                    <a:pt x="55" y="6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3"/>
                    <a:pt x="50" y="3"/>
                    <a:pt x="50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8" name="Freeform 1437">
              <a:extLst>
                <a:ext uri="{FF2B5EF4-FFF2-40B4-BE49-F238E27FC236}">
                  <a16:creationId xmlns:a16="http://schemas.microsoft.com/office/drawing/2014/main" id="{76FE1BB8-0AB9-4477-B384-902A6B25C3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07073" y="3174162"/>
              <a:ext cx="229365" cy="195385"/>
            </a:xfrm>
            <a:custGeom>
              <a:avLst/>
              <a:gdLst>
                <a:gd name="T0" fmla="*/ 45 w 52"/>
                <a:gd name="T1" fmla="*/ 20 h 44"/>
                <a:gd name="T2" fmla="*/ 7 w 52"/>
                <a:gd name="T3" fmla="*/ 42 h 44"/>
                <a:gd name="T4" fmla="*/ 0 w 52"/>
                <a:gd name="T5" fmla="*/ 37 h 44"/>
                <a:gd name="T6" fmla="*/ 0 w 52"/>
                <a:gd name="T7" fmla="*/ 37 h 44"/>
                <a:gd name="T8" fmla="*/ 7 w 52"/>
                <a:gd name="T9" fmla="*/ 24 h 44"/>
                <a:gd name="T10" fmla="*/ 45 w 52"/>
                <a:gd name="T11" fmla="*/ 2 h 44"/>
                <a:gd name="T12" fmla="*/ 52 w 52"/>
                <a:gd name="T13" fmla="*/ 7 h 44"/>
                <a:gd name="T14" fmla="*/ 52 w 52"/>
                <a:gd name="T15" fmla="*/ 7 h 44"/>
                <a:gd name="T16" fmla="*/ 45 w 52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44">
                  <a:moveTo>
                    <a:pt x="45" y="20"/>
                  </a:moveTo>
                  <a:cubicBezTo>
                    <a:pt x="7" y="42"/>
                    <a:pt x="7" y="42"/>
                    <a:pt x="7" y="42"/>
                  </a:cubicBezTo>
                  <a:cubicBezTo>
                    <a:pt x="3" y="44"/>
                    <a:pt x="0" y="42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2"/>
                    <a:pt x="3" y="26"/>
                    <a:pt x="7" y="24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9" y="0"/>
                    <a:pt x="52" y="2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12"/>
                    <a:pt x="49" y="18"/>
                    <a:pt x="45" y="2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9" name="Freeform 1438">
              <a:extLst>
                <a:ext uri="{FF2B5EF4-FFF2-40B4-BE49-F238E27FC236}">
                  <a16:creationId xmlns:a16="http://schemas.microsoft.com/office/drawing/2014/main" id="{7D3C6D25-AC08-45BC-BD4A-3D59C162A7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02825" y="3169914"/>
              <a:ext cx="239985" cy="199633"/>
            </a:xfrm>
            <a:custGeom>
              <a:avLst/>
              <a:gdLst>
                <a:gd name="T0" fmla="*/ 5 w 54"/>
                <a:gd name="T1" fmla="*/ 45 h 45"/>
                <a:gd name="T2" fmla="*/ 3 w 54"/>
                <a:gd name="T3" fmla="*/ 45 h 45"/>
                <a:gd name="T4" fmla="*/ 0 w 54"/>
                <a:gd name="T5" fmla="*/ 38 h 45"/>
                <a:gd name="T6" fmla="*/ 7 w 54"/>
                <a:gd name="T7" fmla="*/ 24 h 45"/>
                <a:gd name="T8" fmla="*/ 46 w 54"/>
                <a:gd name="T9" fmla="*/ 2 h 45"/>
                <a:gd name="T10" fmla="*/ 52 w 54"/>
                <a:gd name="T11" fmla="*/ 1 h 45"/>
                <a:gd name="T12" fmla="*/ 54 w 54"/>
                <a:gd name="T13" fmla="*/ 8 h 45"/>
                <a:gd name="T14" fmla="*/ 47 w 54"/>
                <a:gd name="T15" fmla="*/ 22 h 45"/>
                <a:gd name="T16" fmla="*/ 8 w 54"/>
                <a:gd name="T17" fmla="*/ 44 h 45"/>
                <a:gd name="T18" fmla="*/ 5 w 54"/>
                <a:gd name="T19" fmla="*/ 45 h 45"/>
                <a:gd name="T20" fmla="*/ 49 w 54"/>
                <a:gd name="T21" fmla="*/ 3 h 45"/>
                <a:gd name="T22" fmla="*/ 47 w 54"/>
                <a:gd name="T23" fmla="*/ 4 h 45"/>
                <a:gd name="T24" fmla="*/ 8 w 54"/>
                <a:gd name="T25" fmla="*/ 26 h 45"/>
                <a:gd name="T26" fmla="*/ 2 w 54"/>
                <a:gd name="T27" fmla="*/ 38 h 45"/>
                <a:gd name="T28" fmla="*/ 4 w 54"/>
                <a:gd name="T29" fmla="*/ 42 h 45"/>
                <a:gd name="T30" fmla="*/ 7 w 54"/>
                <a:gd name="T31" fmla="*/ 42 h 45"/>
                <a:gd name="T32" fmla="*/ 46 w 54"/>
                <a:gd name="T33" fmla="*/ 20 h 45"/>
                <a:gd name="T34" fmla="*/ 52 w 54"/>
                <a:gd name="T35" fmla="*/ 8 h 45"/>
                <a:gd name="T36" fmla="*/ 50 w 54"/>
                <a:gd name="T37" fmla="*/ 3 h 45"/>
                <a:gd name="T38" fmla="*/ 49 w 54"/>
                <a:gd name="T39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45">
                  <a:moveTo>
                    <a:pt x="5" y="45"/>
                  </a:moveTo>
                  <a:cubicBezTo>
                    <a:pt x="4" y="45"/>
                    <a:pt x="3" y="45"/>
                    <a:pt x="3" y="45"/>
                  </a:cubicBezTo>
                  <a:cubicBezTo>
                    <a:pt x="1" y="43"/>
                    <a:pt x="0" y="41"/>
                    <a:pt x="0" y="38"/>
                  </a:cubicBezTo>
                  <a:cubicBezTo>
                    <a:pt x="0" y="33"/>
                    <a:pt x="3" y="26"/>
                    <a:pt x="7" y="24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8" y="1"/>
                    <a:pt x="50" y="0"/>
                    <a:pt x="52" y="1"/>
                  </a:cubicBezTo>
                  <a:cubicBezTo>
                    <a:pt x="53" y="2"/>
                    <a:pt x="54" y="5"/>
                    <a:pt x="54" y="8"/>
                  </a:cubicBezTo>
                  <a:cubicBezTo>
                    <a:pt x="54" y="13"/>
                    <a:pt x="51" y="19"/>
                    <a:pt x="47" y="22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7" y="45"/>
                    <a:pt x="6" y="45"/>
                    <a:pt x="5" y="45"/>
                  </a:cubicBezTo>
                  <a:close/>
                  <a:moveTo>
                    <a:pt x="49" y="3"/>
                  </a:moveTo>
                  <a:cubicBezTo>
                    <a:pt x="48" y="3"/>
                    <a:pt x="48" y="3"/>
                    <a:pt x="47" y="4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5" y="28"/>
                    <a:pt x="2" y="34"/>
                    <a:pt x="2" y="38"/>
                  </a:cubicBezTo>
                  <a:cubicBezTo>
                    <a:pt x="2" y="40"/>
                    <a:pt x="3" y="42"/>
                    <a:pt x="4" y="42"/>
                  </a:cubicBezTo>
                  <a:cubicBezTo>
                    <a:pt x="5" y="43"/>
                    <a:pt x="6" y="43"/>
                    <a:pt x="7" y="42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9" y="18"/>
                    <a:pt x="52" y="12"/>
                    <a:pt x="52" y="8"/>
                  </a:cubicBezTo>
                  <a:cubicBezTo>
                    <a:pt x="52" y="6"/>
                    <a:pt x="51" y="4"/>
                    <a:pt x="50" y="3"/>
                  </a:cubicBezTo>
                  <a:cubicBezTo>
                    <a:pt x="50" y="3"/>
                    <a:pt x="50" y="3"/>
                    <a:pt x="49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0" name="Freeform 1439">
              <a:extLst>
                <a:ext uri="{FF2B5EF4-FFF2-40B4-BE49-F238E27FC236}">
                  <a16:creationId xmlns:a16="http://schemas.microsoft.com/office/drawing/2014/main" id="{BDD13066-B91E-47F0-88BD-6C28B7A5C5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51096" y="2243958"/>
              <a:ext cx="1599186" cy="921709"/>
            </a:xfrm>
            <a:custGeom>
              <a:avLst/>
              <a:gdLst>
                <a:gd name="T0" fmla="*/ 100 w 362"/>
                <a:gd name="T1" fmla="*/ 33 h 209"/>
                <a:gd name="T2" fmla="*/ 305 w 362"/>
                <a:gd name="T3" fmla="*/ 33 h 209"/>
                <a:gd name="T4" fmla="*/ 305 w 362"/>
                <a:gd name="T5" fmla="*/ 152 h 209"/>
                <a:gd name="T6" fmla="*/ 242 w 362"/>
                <a:gd name="T7" fmla="*/ 173 h 209"/>
                <a:gd name="T8" fmla="*/ 226 w 362"/>
                <a:gd name="T9" fmla="*/ 189 h 209"/>
                <a:gd name="T10" fmla="*/ 134 w 362"/>
                <a:gd name="T11" fmla="*/ 189 h 209"/>
                <a:gd name="T12" fmla="*/ 112 w 362"/>
                <a:gd name="T13" fmla="*/ 202 h 209"/>
                <a:gd name="T14" fmla="*/ 70 w 362"/>
                <a:gd name="T15" fmla="*/ 202 h 209"/>
                <a:gd name="T16" fmla="*/ 12 w 362"/>
                <a:gd name="T17" fmla="*/ 169 h 209"/>
                <a:gd name="T18" fmla="*/ 12 w 362"/>
                <a:gd name="T19" fmla="*/ 144 h 209"/>
                <a:gd name="T20" fmla="*/ 34 w 362"/>
                <a:gd name="T21" fmla="*/ 131 h 209"/>
                <a:gd name="T22" fmla="*/ 34 w 362"/>
                <a:gd name="T23" fmla="*/ 78 h 209"/>
                <a:gd name="T24" fmla="*/ 63 w 362"/>
                <a:gd name="T25" fmla="*/ 69 h 209"/>
                <a:gd name="T26" fmla="*/ 100 w 362"/>
                <a:gd name="T27" fmla="*/ 33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2" h="209">
                  <a:moveTo>
                    <a:pt x="100" y="33"/>
                  </a:moveTo>
                  <a:cubicBezTo>
                    <a:pt x="157" y="0"/>
                    <a:pt x="249" y="0"/>
                    <a:pt x="305" y="33"/>
                  </a:cubicBezTo>
                  <a:cubicBezTo>
                    <a:pt x="362" y="66"/>
                    <a:pt x="362" y="119"/>
                    <a:pt x="305" y="152"/>
                  </a:cubicBezTo>
                  <a:cubicBezTo>
                    <a:pt x="287" y="163"/>
                    <a:pt x="265" y="170"/>
                    <a:pt x="242" y="173"/>
                  </a:cubicBezTo>
                  <a:cubicBezTo>
                    <a:pt x="239" y="179"/>
                    <a:pt x="234" y="185"/>
                    <a:pt x="226" y="189"/>
                  </a:cubicBezTo>
                  <a:cubicBezTo>
                    <a:pt x="201" y="204"/>
                    <a:pt x="159" y="204"/>
                    <a:pt x="134" y="189"/>
                  </a:cubicBezTo>
                  <a:cubicBezTo>
                    <a:pt x="112" y="202"/>
                    <a:pt x="112" y="202"/>
                    <a:pt x="112" y="202"/>
                  </a:cubicBezTo>
                  <a:cubicBezTo>
                    <a:pt x="100" y="209"/>
                    <a:pt x="81" y="209"/>
                    <a:pt x="70" y="202"/>
                  </a:cubicBezTo>
                  <a:cubicBezTo>
                    <a:pt x="12" y="169"/>
                    <a:pt x="12" y="169"/>
                    <a:pt x="12" y="169"/>
                  </a:cubicBezTo>
                  <a:cubicBezTo>
                    <a:pt x="0" y="162"/>
                    <a:pt x="0" y="151"/>
                    <a:pt x="12" y="144"/>
                  </a:cubicBezTo>
                  <a:cubicBezTo>
                    <a:pt x="34" y="131"/>
                    <a:pt x="34" y="131"/>
                    <a:pt x="34" y="131"/>
                  </a:cubicBezTo>
                  <a:cubicBezTo>
                    <a:pt x="9" y="117"/>
                    <a:pt x="9" y="93"/>
                    <a:pt x="34" y="78"/>
                  </a:cubicBezTo>
                  <a:cubicBezTo>
                    <a:pt x="43" y="74"/>
                    <a:pt x="53" y="70"/>
                    <a:pt x="63" y="69"/>
                  </a:cubicBezTo>
                  <a:cubicBezTo>
                    <a:pt x="70" y="56"/>
                    <a:pt x="82" y="43"/>
                    <a:pt x="100" y="33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1" name="Freeform 1440">
              <a:extLst>
                <a:ext uri="{FF2B5EF4-FFF2-40B4-BE49-F238E27FC236}">
                  <a16:creationId xmlns:a16="http://schemas.microsoft.com/office/drawing/2014/main" id="{3D6EBD1F-A613-4DFC-ADDE-6FEC3D22F0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51096" y="2133523"/>
              <a:ext cx="1550339" cy="945071"/>
            </a:xfrm>
            <a:custGeom>
              <a:avLst/>
              <a:gdLst>
                <a:gd name="T0" fmla="*/ 91 w 351"/>
                <a:gd name="T1" fmla="*/ 214 h 214"/>
                <a:gd name="T2" fmla="*/ 114 w 351"/>
                <a:gd name="T3" fmla="*/ 208 h 214"/>
                <a:gd name="T4" fmla="*/ 134 w 351"/>
                <a:gd name="T5" fmla="*/ 196 h 214"/>
                <a:gd name="T6" fmla="*/ 228 w 351"/>
                <a:gd name="T7" fmla="*/ 195 h 214"/>
                <a:gd name="T8" fmla="*/ 244 w 351"/>
                <a:gd name="T9" fmla="*/ 180 h 214"/>
                <a:gd name="T10" fmla="*/ 307 w 351"/>
                <a:gd name="T11" fmla="*/ 158 h 214"/>
                <a:gd name="T12" fmla="*/ 351 w 351"/>
                <a:gd name="T13" fmla="*/ 95 h 214"/>
                <a:gd name="T14" fmla="*/ 307 w 351"/>
                <a:gd name="T15" fmla="*/ 33 h 214"/>
                <a:gd name="T16" fmla="*/ 98 w 351"/>
                <a:gd name="T17" fmla="*/ 33 h 214"/>
                <a:gd name="T18" fmla="*/ 98 w 351"/>
                <a:gd name="T19" fmla="*/ 33 h 214"/>
                <a:gd name="T20" fmla="*/ 61 w 351"/>
                <a:gd name="T21" fmla="*/ 68 h 214"/>
                <a:gd name="T22" fmla="*/ 33 w 351"/>
                <a:gd name="T23" fmla="*/ 78 h 214"/>
                <a:gd name="T24" fmla="*/ 12 w 351"/>
                <a:gd name="T25" fmla="*/ 108 h 214"/>
                <a:gd name="T26" fmla="*/ 28 w 351"/>
                <a:gd name="T27" fmla="*/ 134 h 214"/>
                <a:gd name="T28" fmla="*/ 10 w 351"/>
                <a:gd name="T29" fmla="*/ 144 h 214"/>
                <a:gd name="T30" fmla="*/ 0 w 351"/>
                <a:gd name="T31" fmla="*/ 159 h 214"/>
                <a:gd name="T32" fmla="*/ 10 w 351"/>
                <a:gd name="T33" fmla="*/ 175 h 214"/>
                <a:gd name="T34" fmla="*/ 68 w 351"/>
                <a:gd name="T35" fmla="*/ 208 h 214"/>
                <a:gd name="T36" fmla="*/ 91 w 351"/>
                <a:gd name="T37" fmla="*/ 214 h 214"/>
                <a:gd name="T38" fmla="*/ 134 w 351"/>
                <a:gd name="T39" fmla="*/ 188 h 214"/>
                <a:gd name="T40" fmla="*/ 110 w 351"/>
                <a:gd name="T41" fmla="*/ 202 h 214"/>
                <a:gd name="T42" fmla="*/ 72 w 351"/>
                <a:gd name="T43" fmla="*/ 202 h 214"/>
                <a:gd name="T44" fmla="*/ 14 w 351"/>
                <a:gd name="T45" fmla="*/ 168 h 214"/>
                <a:gd name="T46" fmla="*/ 7 w 351"/>
                <a:gd name="T47" fmla="*/ 159 h 214"/>
                <a:gd name="T48" fmla="*/ 14 w 351"/>
                <a:gd name="T49" fmla="*/ 150 h 214"/>
                <a:gd name="T50" fmla="*/ 41 w 351"/>
                <a:gd name="T51" fmla="*/ 134 h 214"/>
                <a:gd name="T52" fmla="*/ 36 w 351"/>
                <a:gd name="T53" fmla="*/ 131 h 214"/>
                <a:gd name="T54" fmla="*/ 19 w 351"/>
                <a:gd name="T55" fmla="*/ 108 h 214"/>
                <a:gd name="T56" fmla="*/ 36 w 351"/>
                <a:gd name="T57" fmla="*/ 84 h 214"/>
                <a:gd name="T58" fmla="*/ 64 w 351"/>
                <a:gd name="T59" fmla="*/ 75 h 214"/>
                <a:gd name="T60" fmla="*/ 66 w 351"/>
                <a:gd name="T61" fmla="*/ 75 h 214"/>
                <a:gd name="T62" fmla="*/ 66 w 351"/>
                <a:gd name="T63" fmla="*/ 73 h 214"/>
                <a:gd name="T64" fmla="*/ 102 w 351"/>
                <a:gd name="T65" fmla="*/ 39 h 214"/>
                <a:gd name="T66" fmla="*/ 102 w 351"/>
                <a:gd name="T67" fmla="*/ 39 h 214"/>
                <a:gd name="T68" fmla="*/ 304 w 351"/>
                <a:gd name="T69" fmla="*/ 39 h 214"/>
                <a:gd name="T70" fmla="*/ 344 w 351"/>
                <a:gd name="T71" fmla="*/ 95 h 214"/>
                <a:gd name="T72" fmla="*/ 304 w 351"/>
                <a:gd name="T73" fmla="*/ 152 h 214"/>
                <a:gd name="T74" fmla="*/ 242 w 351"/>
                <a:gd name="T75" fmla="*/ 173 h 214"/>
                <a:gd name="T76" fmla="*/ 240 w 351"/>
                <a:gd name="T77" fmla="*/ 173 h 214"/>
                <a:gd name="T78" fmla="*/ 239 w 351"/>
                <a:gd name="T79" fmla="*/ 175 h 214"/>
                <a:gd name="T80" fmla="*/ 224 w 351"/>
                <a:gd name="T81" fmla="*/ 189 h 214"/>
                <a:gd name="T82" fmla="*/ 136 w 351"/>
                <a:gd name="T83" fmla="*/ 189 h 214"/>
                <a:gd name="T84" fmla="*/ 134 w 351"/>
                <a:gd name="T85" fmla="*/ 18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1" h="214">
                  <a:moveTo>
                    <a:pt x="91" y="214"/>
                  </a:moveTo>
                  <a:cubicBezTo>
                    <a:pt x="99" y="214"/>
                    <a:pt x="107" y="212"/>
                    <a:pt x="114" y="208"/>
                  </a:cubicBezTo>
                  <a:cubicBezTo>
                    <a:pt x="134" y="196"/>
                    <a:pt x="134" y="196"/>
                    <a:pt x="134" y="196"/>
                  </a:cubicBezTo>
                  <a:cubicBezTo>
                    <a:pt x="161" y="210"/>
                    <a:pt x="202" y="210"/>
                    <a:pt x="228" y="195"/>
                  </a:cubicBezTo>
                  <a:cubicBezTo>
                    <a:pt x="235" y="191"/>
                    <a:pt x="241" y="185"/>
                    <a:pt x="244" y="180"/>
                  </a:cubicBezTo>
                  <a:cubicBezTo>
                    <a:pt x="268" y="176"/>
                    <a:pt x="290" y="168"/>
                    <a:pt x="307" y="158"/>
                  </a:cubicBezTo>
                  <a:cubicBezTo>
                    <a:pt x="336" y="141"/>
                    <a:pt x="351" y="119"/>
                    <a:pt x="351" y="95"/>
                  </a:cubicBezTo>
                  <a:cubicBezTo>
                    <a:pt x="351" y="72"/>
                    <a:pt x="336" y="50"/>
                    <a:pt x="307" y="33"/>
                  </a:cubicBezTo>
                  <a:cubicBezTo>
                    <a:pt x="249" y="0"/>
                    <a:pt x="156" y="0"/>
                    <a:pt x="98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81" y="43"/>
                    <a:pt x="68" y="55"/>
                    <a:pt x="61" y="68"/>
                  </a:cubicBezTo>
                  <a:cubicBezTo>
                    <a:pt x="50" y="70"/>
                    <a:pt x="40" y="74"/>
                    <a:pt x="33" y="78"/>
                  </a:cubicBezTo>
                  <a:cubicBezTo>
                    <a:pt x="19" y="86"/>
                    <a:pt x="12" y="96"/>
                    <a:pt x="12" y="108"/>
                  </a:cubicBezTo>
                  <a:cubicBezTo>
                    <a:pt x="12" y="118"/>
                    <a:pt x="17" y="127"/>
                    <a:pt x="28" y="134"/>
                  </a:cubicBezTo>
                  <a:cubicBezTo>
                    <a:pt x="10" y="144"/>
                    <a:pt x="10" y="144"/>
                    <a:pt x="10" y="144"/>
                  </a:cubicBezTo>
                  <a:cubicBezTo>
                    <a:pt x="4" y="148"/>
                    <a:pt x="0" y="153"/>
                    <a:pt x="0" y="159"/>
                  </a:cubicBezTo>
                  <a:cubicBezTo>
                    <a:pt x="0" y="165"/>
                    <a:pt x="4" y="171"/>
                    <a:pt x="10" y="175"/>
                  </a:cubicBezTo>
                  <a:cubicBezTo>
                    <a:pt x="68" y="208"/>
                    <a:pt x="68" y="208"/>
                    <a:pt x="68" y="208"/>
                  </a:cubicBezTo>
                  <a:cubicBezTo>
                    <a:pt x="74" y="212"/>
                    <a:pt x="83" y="214"/>
                    <a:pt x="91" y="214"/>
                  </a:cubicBezTo>
                  <a:close/>
                  <a:moveTo>
                    <a:pt x="134" y="188"/>
                  </a:moveTo>
                  <a:cubicBezTo>
                    <a:pt x="110" y="202"/>
                    <a:pt x="110" y="202"/>
                    <a:pt x="110" y="202"/>
                  </a:cubicBezTo>
                  <a:cubicBezTo>
                    <a:pt x="100" y="208"/>
                    <a:pt x="82" y="208"/>
                    <a:pt x="72" y="202"/>
                  </a:cubicBezTo>
                  <a:cubicBezTo>
                    <a:pt x="14" y="168"/>
                    <a:pt x="14" y="168"/>
                    <a:pt x="14" y="168"/>
                  </a:cubicBezTo>
                  <a:cubicBezTo>
                    <a:pt x="9" y="166"/>
                    <a:pt x="7" y="163"/>
                    <a:pt x="7" y="159"/>
                  </a:cubicBezTo>
                  <a:cubicBezTo>
                    <a:pt x="7" y="156"/>
                    <a:pt x="9" y="153"/>
                    <a:pt x="14" y="150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36" y="131"/>
                    <a:pt x="36" y="131"/>
                    <a:pt x="36" y="131"/>
                  </a:cubicBezTo>
                  <a:cubicBezTo>
                    <a:pt x="25" y="125"/>
                    <a:pt x="19" y="116"/>
                    <a:pt x="19" y="108"/>
                  </a:cubicBezTo>
                  <a:cubicBezTo>
                    <a:pt x="19" y="99"/>
                    <a:pt x="25" y="91"/>
                    <a:pt x="36" y="84"/>
                  </a:cubicBezTo>
                  <a:cubicBezTo>
                    <a:pt x="44" y="80"/>
                    <a:pt x="53" y="77"/>
                    <a:pt x="64" y="75"/>
                  </a:cubicBezTo>
                  <a:cubicBezTo>
                    <a:pt x="66" y="75"/>
                    <a:pt x="66" y="75"/>
                    <a:pt x="66" y="75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3" y="61"/>
                    <a:pt x="85" y="49"/>
                    <a:pt x="102" y="39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57" y="7"/>
                    <a:pt x="248" y="7"/>
                    <a:pt x="304" y="39"/>
                  </a:cubicBezTo>
                  <a:cubicBezTo>
                    <a:pt x="330" y="54"/>
                    <a:pt x="344" y="74"/>
                    <a:pt x="344" y="95"/>
                  </a:cubicBezTo>
                  <a:cubicBezTo>
                    <a:pt x="344" y="117"/>
                    <a:pt x="330" y="137"/>
                    <a:pt x="304" y="152"/>
                  </a:cubicBezTo>
                  <a:cubicBezTo>
                    <a:pt x="286" y="162"/>
                    <a:pt x="265" y="169"/>
                    <a:pt x="242" y="173"/>
                  </a:cubicBezTo>
                  <a:cubicBezTo>
                    <a:pt x="240" y="173"/>
                    <a:pt x="240" y="173"/>
                    <a:pt x="240" y="173"/>
                  </a:cubicBezTo>
                  <a:cubicBezTo>
                    <a:pt x="239" y="175"/>
                    <a:pt x="239" y="175"/>
                    <a:pt x="239" y="175"/>
                  </a:cubicBezTo>
                  <a:cubicBezTo>
                    <a:pt x="236" y="180"/>
                    <a:pt x="231" y="185"/>
                    <a:pt x="224" y="189"/>
                  </a:cubicBezTo>
                  <a:cubicBezTo>
                    <a:pt x="200" y="203"/>
                    <a:pt x="160" y="203"/>
                    <a:pt x="136" y="189"/>
                  </a:cubicBezTo>
                  <a:lnTo>
                    <a:pt x="134" y="188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2" name="Freeform 1441">
              <a:extLst>
                <a:ext uri="{FF2B5EF4-FFF2-40B4-BE49-F238E27FC236}">
                  <a16:creationId xmlns:a16="http://schemas.microsoft.com/office/drawing/2014/main" id="{7BC1AD82-3B41-43F4-84ED-C2E654FC1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62554" y="2706936"/>
              <a:ext cx="392895" cy="229365"/>
            </a:xfrm>
            <a:custGeom>
              <a:avLst/>
              <a:gdLst>
                <a:gd name="T0" fmla="*/ 16 w 89"/>
                <a:gd name="T1" fmla="*/ 10 h 52"/>
                <a:gd name="T2" fmla="*/ 16 w 89"/>
                <a:gd name="T3" fmla="*/ 43 h 52"/>
                <a:gd name="T4" fmla="*/ 73 w 89"/>
                <a:gd name="T5" fmla="*/ 43 h 52"/>
                <a:gd name="T6" fmla="*/ 73 w 89"/>
                <a:gd name="T7" fmla="*/ 10 h 52"/>
                <a:gd name="T8" fmla="*/ 16 w 89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52">
                  <a:moveTo>
                    <a:pt x="16" y="10"/>
                  </a:moveTo>
                  <a:cubicBezTo>
                    <a:pt x="0" y="19"/>
                    <a:pt x="0" y="34"/>
                    <a:pt x="16" y="43"/>
                  </a:cubicBezTo>
                  <a:cubicBezTo>
                    <a:pt x="32" y="52"/>
                    <a:pt x="57" y="52"/>
                    <a:pt x="73" y="43"/>
                  </a:cubicBezTo>
                  <a:cubicBezTo>
                    <a:pt x="89" y="34"/>
                    <a:pt x="89" y="19"/>
                    <a:pt x="73" y="10"/>
                  </a:cubicBezTo>
                  <a:cubicBezTo>
                    <a:pt x="57" y="0"/>
                    <a:pt x="32" y="0"/>
                    <a:pt x="16" y="1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3" name="Freeform 1442">
              <a:extLst>
                <a:ext uri="{FF2B5EF4-FFF2-40B4-BE49-F238E27FC236}">
                  <a16:creationId xmlns:a16="http://schemas.microsoft.com/office/drawing/2014/main" id="{54A70039-EB0F-4816-9694-C4243E918E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866801" y="2621986"/>
              <a:ext cx="392895" cy="252727"/>
            </a:xfrm>
            <a:custGeom>
              <a:avLst/>
              <a:gdLst>
                <a:gd name="T0" fmla="*/ 44 w 89"/>
                <a:gd name="T1" fmla="*/ 57 h 57"/>
                <a:gd name="T2" fmla="*/ 75 w 89"/>
                <a:gd name="T3" fmla="*/ 49 h 57"/>
                <a:gd name="T4" fmla="*/ 89 w 89"/>
                <a:gd name="T5" fmla="*/ 29 h 57"/>
                <a:gd name="T6" fmla="*/ 75 w 89"/>
                <a:gd name="T7" fmla="*/ 10 h 57"/>
                <a:gd name="T8" fmla="*/ 14 w 89"/>
                <a:gd name="T9" fmla="*/ 10 h 57"/>
                <a:gd name="T10" fmla="*/ 14 w 89"/>
                <a:gd name="T11" fmla="*/ 10 h 57"/>
                <a:gd name="T12" fmla="*/ 0 w 89"/>
                <a:gd name="T13" fmla="*/ 29 h 57"/>
                <a:gd name="T14" fmla="*/ 14 w 89"/>
                <a:gd name="T15" fmla="*/ 49 h 57"/>
                <a:gd name="T16" fmla="*/ 44 w 89"/>
                <a:gd name="T17" fmla="*/ 57 h 57"/>
                <a:gd name="T18" fmla="*/ 44 w 89"/>
                <a:gd name="T19" fmla="*/ 9 h 57"/>
                <a:gd name="T20" fmla="*/ 71 w 89"/>
                <a:gd name="T21" fmla="*/ 16 h 57"/>
                <a:gd name="T22" fmla="*/ 82 w 89"/>
                <a:gd name="T23" fmla="*/ 29 h 57"/>
                <a:gd name="T24" fmla="*/ 71 w 89"/>
                <a:gd name="T25" fmla="*/ 43 h 57"/>
                <a:gd name="T26" fmla="*/ 17 w 89"/>
                <a:gd name="T27" fmla="*/ 43 h 57"/>
                <a:gd name="T28" fmla="*/ 7 w 89"/>
                <a:gd name="T29" fmla="*/ 29 h 57"/>
                <a:gd name="T30" fmla="*/ 17 w 89"/>
                <a:gd name="T31" fmla="*/ 16 h 57"/>
                <a:gd name="T32" fmla="*/ 44 w 89"/>
                <a:gd name="T33" fmla="*/ 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57">
                  <a:moveTo>
                    <a:pt x="44" y="57"/>
                  </a:moveTo>
                  <a:cubicBezTo>
                    <a:pt x="55" y="57"/>
                    <a:pt x="66" y="54"/>
                    <a:pt x="75" y="49"/>
                  </a:cubicBezTo>
                  <a:cubicBezTo>
                    <a:pt x="84" y="44"/>
                    <a:pt x="89" y="37"/>
                    <a:pt x="89" y="29"/>
                  </a:cubicBezTo>
                  <a:cubicBezTo>
                    <a:pt x="89" y="22"/>
                    <a:pt x="84" y="15"/>
                    <a:pt x="75" y="10"/>
                  </a:cubicBezTo>
                  <a:cubicBezTo>
                    <a:pt x="58" y="0"/>
                    <a:pt x="31" y="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5" y="15"/>
                    <a:pt x="0" y="22"/>
                    <a:pt x="0" y="29"/>
                  </a:cubicBezTo>
                  <a:cubicBezTo>
                    <a:pt x="0" y="37"/>
                    <a:pt x="5" y="44"/>
                    <a:pt x="14" y="49"/>
                  </a:cubicBezTo>
                  <a:cubicBezTo>
                    <a:pt x="22" y="54"/>
                    <a:pt x="33" y="57"/>
                    <a:pt x="44" y="57"/>
                  </a:cubicBezTo>
                  <a:close/>
                  <a:moveTo>
                    <a:pt x="44" y="9"/>
                  </a:moveTo>
                  <a:cubicBezTo>
                    <a:pt x="54" y="9"/>
                    <a:pt x="64" y="11"/>
                    <a:pt x="71" y="16"/>
                  </a:cubicBezTo>
                  <a:cubicBezTo>
                    <a:pt x="78" y="19"/>
                    <a:pt x="82" y="24"/>
                    <a:pt x="82" y="29"/>
                  </a:cubicBezTo>
                  <a:cubicBezTo>
                    <a:pt x="82" y="34"/>
                    <a:pt x="78" y="39"/>
                    <a:pt x="71" y="43"/>
                  </a:cubicBezTo>
                  <a:cubicBezTo>
                    <a:pt x="56" y="52"/>
                    <a:pt x="32" y="52"/>
                    <a:pt x="17" y="43"/>
                  </a:cubicBezTo>
                  <a:cubicBezTo>
                    <a:pt x="11" y="39"/>
                    <a:pt x="7" y="34"/>
                    <a:pt x="7" y="29"/>
                  </a:cubicBezTo>
                  <a:cubicBezTo>
                    <a:pt x="7" y="24"/>
                    <a:pt x="11" y="19"/>
                    <a:pt x="17" y="16"/>
                  </a:cubicBezTo>
                  <a:cubicBezTo>
                    <a:pt x="25" y="11"/>
                    <a:pt x="35" y="9"/>
                    <a:pt x="44" y="9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4" name="Freeform 1443">
              <a:extLst>
                <a:ext uri="{FF2B5EF4-FFF2-40B4-BE49-F238E27FC236}">
                  <a16:creationId xmlns:a16="http://schemas.microsoft.com/office/drawing/2014/main" id="{952AB525-E91B-4F8F-82C4-BA2DDADC72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0896" y="2494561"/>
              <a:ext cx="397142" cy="229365"/>
            </a:xfrm>
            <a:custGeom>
              <a:avLst/>
              <a:gdLst>
                <a:gd name="T0" fmla="*/ 16 w 90"/>
                <a:gd name="T1" fmla="*/ 10 h 52"/>
                <a:gd name="T2" fmla="*/ 16 w 90"/>
                <a:gd name="T3" fmla="*/ 43 h 52"/>
                <a:gd name="T4" fmla="*/ 74 w 90"/>
                <a:gd name="T5" fmla="*/ 43 h 52"/>
                <a:gd name="T6" fmla="*/ 74 w 90"/>
                <a:gd name="T7" fmla="*/ 10 h 52"/>
                <a:gd name="T8" fmla="*/ 16 w 90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52">
                  <a:moveTo>
                    <a:pt x="16" y="10"/>
                  </a:moveTo>
                  <a:cubicBezTo>
                    <a:pt x="0" y="19"/>
                    <a:pt x="0" y="34"/>
                    <a:pt x="16" y="43"/>
                  </a:cubicBezTo>
                  <a:cubicBezTo>
                    <a:pt x="32" y="52"/>
                    <a:pt x="58" y="52"/>
                    <a:pt x="74" y="43"/>
                  </a:cubicBezTo>
                  <a:cubicBezTo>
                    <a:pt x="90" y="34"/>
                    <a:pt x="90" y="19"/>
                    <a:pt x="74" y="10"/>
                  </a:cubicBezTo>
                  <a:cubicBezTo>
                    <a:pt x="58" y="0"/>
                    <a:pt x="32" y="0"/>
                    <a:pt x="16" y="1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5" name="Freeform 1444">
              <a:extLst>
                <a:ext uri="{FF2B5EF4-FFF2-40B4-BE49-F238E27FC236}">
                  <a16:creationId xmlns:a16="http://schemas.microsoft.com/office/drawing/2014/main" id="{3421AC03-D6A5-44FE-8810-8E32390B46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99391" y="2407486"/>
              <a:ext cx="388647" cy="250603"/>
            </a:xfrm>
            <a:custGeom>
              <a:avLst/>
              <a:gdLst>
                <a:gd name="T0" fmla="*/ 44 w 88"/>
                <a:gd name="T1" fmla="*/ 57 h 57"/>
                <a:gd name="T2" fmla="*/ 75 w 88"/>
                <a:gd name="T3" fmla="*/ 50 h 57"/>
                <a:gd name="T4" fmla="*/ 88 w 88"/>
                <a:gd name="T5" fmla="*/ 30 h 57"/>
                <a:gd name="T6" fmla="*/ 75 w 88"/>
                <a:gd name="T7" fmla="*/ 10 h 57"/>
                <a:gd name="T8" fmla="*/ 13 w 88"/>
                <a:gd name="T9" fmla="*/ 10 h 57"/>
                <a:gd name="T10" fmla="*/ 13 w 88"/>
                <a:gd name="T11" fmla="*/ 10 h 57"/>
                <a:gd name="T12" fmla="*/ 0 w 88"/>
                <a:gd name="T13" fmla="*/ 30 h 57"/>
                <a:gd name="T14" fmla="*/ 13 w 88"/>
                <a:gd name="T15" fmla="*/ 50 h 57"/>
                <a:gd name="T16" fmla="*/ 44 w 88"/>
                <a:gd name="T17" fmla="*/ 57 h 57"/>
                <a:gd name="T18" fmla="*/ 44 w 88"/>
                <a:gd name="T19" fmla="*/ 10 h 57"/>
                <a:gd name="T20" fmla="*/ 71 w 88"/>
                <a:gd name="T21" fmla="*/ 17 h 57"/>
                <a:gd name="T22" fmla="*/ 81 w 88"/>
                <a:gd name="T23" fmla="*/ 30 h 57"/>
                <a:gd name="T24" fmla="*/ 71 w 88"/>
                <a:gd name="T25" fmla="*/ 44 h 57"/>
                <a:gd name="T26" fmla="*/ 17 w 88"/>
                <a:gd name="T27" fmla="*/ 44 h 57"/>
                <a:gd name="T28" fmla="*/ 7 w 88"/>
                <a:gd name="T29" fmla="*/ 30 h 57"/>
                <a:gd name="T30" fmla="*/ 17 w 88"/>
                <a:gd name="T31" fmla="*/ 17 h 57"/>
                <a:gd name="T32" fmla="*/ 44 w 88"/>
                <a:gd name="T33" fmla="*/ 1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57">
                  <a:moveTo>
                    <a:pt x="44" y="57"/>
                  </a:moveTo>
                  <a:cubicBezTo>
                    <a:pt x="55" y="57"/>
                    <a:pt x="66" y="55"/>
                    <a:pt x="75" y="50"/>
                  </a:cubicBezTo>
                  <a:cubicBezTo>
                    <a:pt x="84" y="45"/>
                    <a:pt x="88" y="38"/>
                    <a:pt x="88" y="30"/>
                  </a:cubicBezTo>
                  <a:cubicBezTo>
                    <a:pt x="88" y="22"/>
                    <a:pt x="84" y="15"/>
                    <a:pt x="75" y="10"/>
                  </a:cubicBezTo>
                  <a:cubicBezTo>
                    <a:pt x="57" y="0"/>
                    <a:pt x="31" y="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5" y="15"/>
                    <a:pt x="0" y="22"/>
                    <a:pt x="0" y="30"/>
                  </a:cubicBezTo>
                  <a:cubicBezTo>
                    <a:pt x="0" y="38"/>
                    <a:pt x="5" y="45"/>
                    <a:pt x="13" y="50"/>
                  </a:cubicBezTo>
                  <a:cubicBezTo>
                    <a:pt x="22" y="55"/>
                    <a:pt x="33" y="57"/>
                    <a:pt x="44" y="57"/>
                  </a:cubicBezTo>
                  <a:close/>
                  <a:moveTo>
                    <a:pt x="44" y="10"/>
                  </a:moveTo>
                  <a:cubicBezTo>
                    <a:pt x="54" y="10"/>
                    <a:pt x="64" y="12"/>
                    <a:pt x="71" y="17"/>
                  </a:cubicBezTo>
                  <a:cubicBezTo>
                    <a:pt x="78" y="20"/>
                    <a:pt x="81" y="25"/>
                    <a:pt x="81" y="30"/>
                  </a:cubicBezTo>
                  <a:cubicBezTo>
                    <a:pt x="81" y="35"/>
                    <a:pt x="78" y="40"/>
                    <a:pt x="71" y="44"/>
                  </a:cubicBezTo>
                  <a:cubicBezTo>
                    <a:pt x="56" y="52"/>
                    <a:pt x="32" y="52"/>
                    <a:pt x="17" y="44"/>
                  </a:cubicBezTo>
                  <a:cubicBezTo>
                    <a:pt x="10" y="40"/>
                    <a:pt x="7" y="35"/>
                    <a:pt x="7" y="30"/>
                  </a:cubicBezTo>
                  <a:cubicBezTo>
                    <a:pt x="7" y="25"/>
                    <a:pt x="10" y="20"/>
                    <a:pt x="17" y="17"/>
                  </a:cubicBezTo>
                  <a:cubicBezTo>
                    <a:pt x="24" y="12"/>
                    <a:pt x="34" y="10"/>
                    <a:pt x="44" y="1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6" name="Freeform 1445">
              <a:extLst>
                <a:ext uri="{FF2B5EF4-FFF2-40B4-BE49-F238E27FC236}">
                  <a16:creationId xmlns:a16="http://schemas.microsoft.com/office/drawing/2014/main" id="{592485AB-9B9F-47DC-A3D6-EECD3D60BF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9391" y="2808876"/>
              <a:ext cx="235737" cy="127425"/>
            </a:xfrm>
            <a:custGeom>
              <a:avLst/>
              <a:gdLst>
                <a:gd name="T0" fmla="*/ 50 w 53"/>
                <a:gd name="T1" fmla="*/ 8 h 29"/>
                <a:gd name="T2" fmla="*/ 43 w 53"/>
                <a:gd name="T3" fmla="*/ 24 h 29"/>
                <a:gd name="T4" fmla="*/ 25 w 53"/>
                <a:gd name="T5" fmla="*/ 26 h 29"/>
                <a:gd name="T6" fmla="*/ 6 w 53"/>
                <a:gd name="T7" fmla="*/ 15 h 29"/>
                <a:gd name="T8" fmla="*/ 11 w 53"/>
                <a:gd name="T9" fmla="*/ 5 h 29"/>
                <a:gd name="T10" fmla="*/ 38 w 53"/>
                <a:gd name="T11" fmla="*/ 1 h 29"/>
                <a:gd name="T12" fmla="*/ 50 w 53"/>
                <a:gd name="T1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29">
                  <a:moveTo>
                    <a:pt x="50" y="8"/>
                  </a:moveTo>
                  <a:cubicBezTo>
                    <a:pt x="43" y="24"/>
                    <a:pt x="43" y="24"/>
                    <a:pt x="43" y="24"/>
                  </a:cubicBezTo>
                  <a:cubicBezTo>
                    <a:pt x="40" y="28"/>
                    <a:pt x="31" y="29"/>
                    <a:pt x="25" y="2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0" y="12"/>
                    <a:pt x="3" y="6"/>
                    <a:pt x="11" y="5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6" y="0"/>
                    <a:pt x="53" y="4"/>
                    <a:pt x="50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7" name="Freeform 1446">
              <a:extLst>
                <a:ext uri="{FF2B5EF4-FFF2-40B4-BE49-F238E27FC236}">
                  <a16:creationId xmlns:a16="http://schemas.microsoft.com/office/drawing/2014/main" id="{2ADE4C50-8CF9-4B6B-8904-FDDEA558B1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499391" y="2719679"/>
              <a:ext cx="248480" cy="155035"/>
            </a:xfrm>
            <a:custGeom>
              <a:avLst/>
              <a:gdLst>
                <a:gd name="T0" fmla="*/ 34 w 56"/>
                <a:gd name="T1" fmla="*/ 35 h 35"/>
                <a:gd name="T2" fmla="*/ 39 w 56"/>
                <a:gd name="T3" fmla="*/ 35 h 35"/>
                <a:gd name="T4" fmla="*/ 47 w 56"/>
                <a:gd name="T5" fmla="*/ 29 h 35"/>
                <a:gd name="T6" fmla="*/ 54 w 56"/>
                <a:gd name="T7" fmla="*/ 14 h 35"/>
                <a:gd name="T8" fmla="*/ 54 w 56"/>
                <a:gd name="T9" fmla="*/ 6 h 35"/>
                <a:gd name="T10" fmla="*/ 38 w 56"/>
                <a:gd name="T11" fmla="*/ 1 h 35"/>
                <a:gd name="T12" fmla="*/ 11 w 56"/>
                <a:gd name="T13" fmla="*/ 5 h 35"/>
                <a:gd name="T14" fmla="*/ 0 w 56"/>
                <a:gd name="T15" fmla="*/ 13 h 35"/>
                <a:gd name="T16" fmla="*/ 5 w 56"/>
                <a:gd name="T17" fmla="*/ 22 h 35"/>
                <a:gd name="T18" fmla="*/ 24 w 56"/>
                <a:gd name="T19" fmla="*/ 33 h 35"/>
                <a:gd name="T20" fmla="*/ 34 w 56"/>
                <a:gd name="T21" fmla="*/ 35 h 35"/>
                <a:gd name="T22" fmla="*/ 41 w 56"/>
                <a:gd name="T23" fmla="*/ 8 h 35"/>
                <a:gd name="T24" fmla="*/ 48 w 56"/>
                <a:gd name="T25" fmla="*/ 10 h 35"/>
                <a:gd name="T26" fmla="*/ 48 w 56"/>
                <a:gd name="T27" fmla="*/ 11 h 35"/>
                <a:gd name="T28" fmla="*/ 40 w 56"/>
                <a:gd name="T29" fmla="*/ 26 h 35"/>
                <a:gd name="T30" fmla="*/ 37 w 56"/>
                <a:gd name="T31" fmla="*/ 28 h 35"/>
                <a:gd name="T32" fmla="*/ 28 w 56"/>
                <a:gd name="T33" fmla="*/ 27 h 35"/>
                <a:gd name="T34" fmla="*/ 9 w 56"/>
                <a:gd name="T35" fmla="*/ 16 h 35"/>
                <a:gd name="T36" fmla="*/ 7 w 56"/>
                <a:gd name="T37" fmla="*/ 15 h 35"/>
                <a:gd name="T38" fmla="*/ 12 w 56"/>
                <a:gd name="T39" fmla="*/ 12 h 35"/>
                <a:gd name="T40" fmla="*/ 39 w 56"/>
                <a:gd name="T41" fmla="*/ 8 h 35"/>
                <a:gd name="T42" fmla="*/ 41 w 56"/>
                <a:gd name="T43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35">
                  <a:moveTo>
                    <a:pt x="34" y="35"/>
                  </a:moveTo>
                  <a:cubicBezTo>
                    <a:pt x="35" y="35"/>
                    <a:pt x="37" y="35"/>
                    <a:pt x="39" y="35"/>
                  </a:cubicBezTo>
                  <a:cubicBezTo>
                    <a:pt x="43" y="34"/>
                    <a:pt x="45" y="32"/>
                    <a:pt x="47" y="29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6" y="11"/>
                    <a:pt x="55" y="8"/>
                    <a:pt x="54" y="6"/>
                  </a:cubicBezTo>
                  <a:cubicBezTo>
                    <a:pt x="51" y="2"/>
                    <a:pt x="44" y="0"/>
                    <a:pt x="38" y="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6"/>
                    <a:pt x="1" y="9"/>
                    <a:pt x="0" y="13"/>
                  </a:cubicBezTo>
                  <a:cubicBezTo>
                    <a:pt x="0" y="17"/>
                    <a:pt x="2" y="20"/>
                    <a:pt x="5" y="2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7" y="35"/>
                    <a:pt x="30" y="35"/>
                    <a:pt x="34" y="35"/>
                  </a:cubicBezTo>
                  <a:close/>
                  <a:moveTo>
                    <a:pt x="41" y="8"/>
                  </a:moveTo>
                  <a:cubicBezTo>
                    <a:pt x="45" y="8"/>
                    <a:pt x="48" y="10"/>
                    <a:pt x="48" y="10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39" y="27"/>
                    <a:pt x="37" y="28"/>
                  </a:cubicBezTo>
                  <a:cubicBezTo>
                    <a:pt x="34" y="29"/>
                    <a:pt x="30" y="28"/>
                    <a:pt x="28" y="2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5"/>
                    <a:pt x="7" y="15"/>
                    <a:pt x="7" y="15"/>
                  </a:cubicBezTo>
                  <a:cubicBezTo>
                    <a:pt x="7" y="14"/>
                    <a:pt x="9" y="13"/>
                    <a:pt x="12" y="12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8"/>
                    <a:pt x="41" y="8"/>
                    <a:pt x="41" y="8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8" name="Freeform 1447">
              <a:extLst>
                <a:ext uri="{FF2B5EF4-FFF2-40B4-BE49-F238E27FC236}">
                  <a16:creationId xmlns:a16="http://schemas.microsoft.com/office/drawing/2014/main" id="{D9D400C8-CF1A-4A38-B438-18D96DFFA3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2849" y="2906569"/>
              <a:ext cx="1919872" cy="651993"/>
            </a:xfrm>
            <a:custGeom>
              <a:avLst/>
              <a:gdLst>
                <a:gd name="T0" fmla="*/ 24 w 435"/>
                <a:gd name="T1" fmla="*/ 19 h 148"/>
                <a:gd name="T2" fmla="*/ 77 w 435"/>
                <a:gd name="T3" fmla="*/ 4 h 148"/>
                <a:gd name="T4" fmla="*/ 102 w 435"/>
                <a:gd name="T5" fmla="*/ 35 h 148"/>
                <a:gd name="T6" fmla="*/ 350 w 435"/>
                <a:gd name="T7" fmla="*/ 87 h 148"/>
                <a:gd name="T8" fmla="*/ 403 w 435"/>
                <a:gd name="T9" fmla="*/ 73 h 148"/>
                <a:gd name="T10" fmla="*/ 428 w 435"/>
                <a:gd name="T11" fmla="*/ 103 h 148"/>
                <a:gd name="T12" fmla="*/ 412 w 435"/>
                <a:gd name="T13" fmla="*/ 115 h 148"/>
                <a:gd name="T14" fmla="*/ 411 w 435"/>
                <a:gd name="T15" fmla="*/ 129 h 148"/>
                <a:gd name="T16" fmla="*/ 359 w 435"/>
                <a:gd name="T17" fmla="*/ 143 h 148"/>
                <a:gd name="T18" fmla="*/ 333 w 435"/>
                <a:gd name="T19" fmla="*/ 115 h 148"/>
                <a:gd name="T20" fmla="*/ 83 w 435"/>
                <a:gd name="T21" fmla="*/ 63 h 148"/>
                <a:gd name="T22" fmla="*/ 33 w 435"/>
                <a:gd name="T23" fmla="*/ 75 h 148"/>
                <a:gd name="T24" fmla="*/ 8 w 435"/>
                <a:gd name="T25" fmla="*/ 44 h 148"/>
                <a:gd name="T26" fmla="*/ 23 w 435"/>
                <a:gd name="T27" fmla="*/ 33 h 148"/>
                <a:gd name="T28" fmla="*/ 24 w 435"/>
                <a:gd name="T29" fmla="*/ 1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5" h="148">
                  <a:moveTo>
                    <a:pt x="24" y="19"/>
                  </a:moveTo>
                  <a:cubicBezTo>
                    <a:pt x="32" y="6"/>
                    <a:pt x="56" y="0"/>
                    <a:pt x="77" y="4"/>
                  </a:cubicBezTo>
                  <a:cubicBezTo>
                    <a:pt x="98" y="9"/>
                    <a:pt x="109" y="22"/>
                    <a:pt x="102" y="35"/>
                  </a:cubicBezTo>
                  <a:cubicBezTo>
                    <a:pt x="350" y="87"/>
                    <a:pt x="350" y="87"/>
                    <a:pt x="350" y="87"/>
                  </a:cubicBezTo>
                  <a:cubicBezTo>
                    <a:pt x="358" y="75"/>
                    <a:pt x="382" y="68"/>
                    <a:pt x="403" y="73"/>
                  </a:cubicBezTo>
                  <a:cubicBezTo>
                    <a:pt x="424" y="77"/>
                    <a:pt x="435" y="91"/>
                    <a:pt x="428" y="103"/>
                  </a:cubicBezTo>
                  <a:cubicBezTo>
                    <a:pt x="425" y="108"/>
                    <a:pt x="419" y="112"/>
                    <a:pt x="412" y="115"/>
                  </a:cubicBezTo>
                  <a:cubicBezTo>
                    <a:pt x="415" y="119"/>
                    <a:pt x="414" y="124"/>
                    <a:pt x="411" y="129"/>
                  </a:cubicBezTo>
                  <a:cubicBezTo>
                    <a:pt x="404" y="141"/>
                    <a:pt x="380" y="148"/>
                    <a:pt x="359" y="143"/>
                  </a:cubicBezTo>
                  <a:cubicBezTo>
                    <a:pt x="339" y="139"/>
                    <a:pt x="328" y="127"/>
                    <a:pt x="333" y="115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74" y="74"/>
                    <a:pt x="52" y="79"/>
                    <a:pt x="33" y="75"/>
                  </a:cubicBezTo>
                  <a:cubicBezTo>
                    <a:pt x="11" y="70"/>
                    <a:pt x="0" y="57"/>
                    <a:pt x="8" y="44"/>
                  </a:cubicBezTo>
                  <a:cubicBezTo>
                    <a:pt x="11" y="39"/>
                    <a:pt x="16" y="36"/>
                    <a:pt x="23" y="33"/>
                  </a:cubicBezTo>
                  <a:cubicBezTo>
                    <a:pt x="21" y="28"/>
                    <a:pt x="21" y="23"/>
                    <a:pt x="24" y="19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9" name="Freeform 1448">
              <a:extLst>
                <a:ext uri="{FF2B5EF4-FFF2-40B4-BE49-F238E27FC236}">
                  <a16:creationId xmlns:a16="http://schemas.microsoft.com/office/drawing/2014/main" id="{2A38D2A9-9217-4CDD-90CC-2B1A8158D5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87096" y="2789762"/>
              <a:ext cx="1915625" cy="671106"/>
            </a:xfrm>
            <a:custGeom>
              <a:avLst/>
              <a:gdLst>
                <a:gd name="T0" fmla="*/ 372 w 434"/>
                <a:gd name="T1" fmla="*/ 152 h 152"/>
                <a:gd name="T2" fmla="*/ 413 w 434"/>
                <a:gd name="T3" fmla="*/ 135 h 152"/>
                <a:gd name="T4" fmla="*/ 416 w 434"/>
                <a:gd name="T5" fmla="*/ 121 h 152"/>
                <a:gd name="T6" fmla="*/ 430 w 434"/>
                <a:gd name="T7" fmla="*/ 109 h 152"/>
                <a:gd name="T8" fmla="*/ 431 w 434"/>
                <a:gd name="T9" fmla="*/ 92 h 152"/>
                <a:gd name="T10" fmla="*/ 403 w 434"/>
                <a:gd name="T11" fmla="*/ 73 h 152"/>
                <a:gd name="T12" fmla="*/ 348 w 434"/>
                <a:gd name="T13" fmla="*/ 87 h 152"/>
                <a:gd name="T14" fmla="*/ 106 w 434"/>
                <a:gd name="T15" fmla="*/ 36 h 152"/>
                <a:gd name="T16" fmla="*/ 105 w 434"/>
                <a:gd name="T17" fmla="*/ 24 h 152"/>
                <a:gd name="T18" fmla="*/ 77 w 434"/>
                <a:gd name="T19" fmla="*/ 5 h 152"/>
                <a:gd name="T20" fmla="*/ 20 w 434"/>
                <a:gd name="T21" fmla="*/ 21 h 152"/>
                <a:gd name="T22" fmla="*/ 20 w 434"/>
                <a:gd name="T23" fmla="*/ 21 h 152"/>
                <a:gd name="T24" fmla="*/ 18 w 434"/>
                <a:gd name="T25" fmla="*/ 35 h 152"/>
                <a:gd name="T26" fmla="*/ 4 w 434"/>
                <a:gd name="T27" fmla="*/ 46 h 152"/>
                <a:gd name="T28" fmla="*/ 2 w 434"/>
                <a:gd name="T29" fmla="*/ 63 h 152"/>
                <a:gd name="T30" fmla="*/ 31 w 434"/>
                <a:gd name="T31" fmla="*/ 82 h 152"/>
                <a:gd name="T32" fmla="*/ 84 w 434"/>
                <a:gd name="T33" fmla="*/ 71 h 152"/>
                <a:gd name="T34" fmla="*/ 327 w 434"/>
                <a:gd name="T35" fmla="*/ 122 h 152"/>
                <a:gd name="T36" fmla="*/ 329 w 434"/>
                <a:gd name="T37" fmla="*/ 134 h 152"/>
                <a:gd name="T38" fmla="*/ 357 w 434"/>
                <a:gd name="T39" fmla="*/ 151 h 152"/>
                <a:gd name="T40" fmla="*/ 372 w 434"/>
                <a:gd name="T41" fmla="*/ 152 h 152"/>
                <a:gd name="T42" fmla="*/ 388 w 434"/>
                <a:gd name="T43" fmla="*/ 79 h 152"/>
                <a:gd name="T44" fmla="*/ 401 w 434"/>
                <a:gd name="T45" fmla="*/ 80 h 152"/>
                <a:gd name="T46" fmla="*/ 425 w 434"/>
                <a:gd name="T47" fmla="*/ 95 h 152"/>
                <a:gd name="T48" fmla="*/ 424 w 434"/>
                <a:gd name="T49" fmla="*/ 105 h 152"/>
                <a:gd name="T50" fmla="*/ 410 w 434"/>
                <a:gd name="T51" fmla="*/ 115 h 152"/>
                <a:gd name="T52" fmla="*/ 407 w 434"/>
                <a:gd name="T53" fmla="*/ 117 h 152"/>
                <a:gd name="T54" fmla="*/ 408 w 434"/>
                <a:gd name="T55" fmla="*/ 120 h 152"/>
                <a:gd name="T56" fmla="*/ 407 w 434"/>
                <a:gd name="T57" fmla="*/ 131 h 152"/>
                <a:gd name="T58" fmla="*/ 358 w 434"/>
                <a:gd name="T59" fmla="*/ 144 h 152"/>
                <a:gd name="T60" fmla="*/ 336 w 434"/>
                <a:gd name="T61" fmla="*/ 130 h 152"/>
                <a:gd name="T62" fmla="*/ 335 w 434"/>
                <a:gd name="T63" fmla="*/ 121 h 152"/>
                <a:gd name="T64" fmla="*/ 337 w 434"/>
                <a:gd name="T65" fmla="*/ 117 h 152"/>
                <a:gd name="T66" fmla="*/ 81 w 434"/>
                <a:gd name="T67" fmla="*/ 63 h 152"/>
                <a:gd name="T68" fmla="*/ 80 w 434"/>
                <a:gd name="T69" fmla="*/ 65 h 152"/>
                <a:gd name="T70" fmla="*/ 32 w 434"/>
                <a:gd name="T71" fmla="*/ 75 h 152"/>
                <a:gd name="T72" fmla="*/ 9 w 434"/>
                <a:gd name="T73" fmla="*/ 61 h 152"/>
                <a:gd name="T74" fmla="*/ 10 w 434"/>
                <a:gd name="T75" fmla="*/ 50 h 152"/>
                <a:gd name="T76" fmla="*/ 23 w 434"/>
                <a:gd name="T77" fmla="*/ 40 h 152"/>
                <a:gd name="T78" fmla="*/ 27 w 434"/>
                <a:gd name="T79" fmla="*/ 39 h 152"/>
                <a:gd name="T80" fmla="*/ 25 w 434"/>
                <a:gd name="T81" fmla="*/ 35 h 152"/>
                <a:gd name="T82" fmla="*/ 26 w 434"/>
                <a:gd name="T83" fmla="*/ 24 h 152"/>
                <a:gd name="T84" fmla="*/ 26 w 434"/>
                <a:gd name="T85" fmla="*/ 24 h 152"/>
                <a:gd name="T86" fmla="*/ 75 w 434"/>
                <a:gd name="T87" fmla="*/ 12 h 152"/>
                <a:gd name="T88" fmla="*/ 99 w 434"/>
                <a:gd name="T89" fmla="*/ 26 h 152"/>
                <a:gd name="T90" fmla="*/ 98 w 434"/>
                <a:gd name="T91" fmla="*/ 37 h 152"/>
                <a:gd name="T92" fmla="*/ 95 w 434"/>
                <a:gd name="T93" fmla="*/ 41 h 152"/>
                <a:gd name="T94" fmla="*/ 351 w 434"/>
                <a:gd name="T95" fmla="*/ 95 h 152"/>
                <a:gd name="T96" fmla="*/ 352 w 434"/>
                <a:gd name="T97" fmla="*/ 93 h 152"/>
                <a:gd name="T98" fmla="*/ 388 w 434"/>
                <a:gd name="T99" fmla="*/ 7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4" h="152">
                  <a:moveTo>
                    <a:pt x="372" y="152"/>
                  </a:moveTo>
                  <a:cubicBezTo>
                    <a:pt x="390" y="152"/>
                    <a:pt x="407" y="146"/>
                    <a:pt x="413" y="135"/>
                  </a:cubicBezTo>
                  <a:cubicBezTo>
                    <a:pt x="416" y="130"/>
                    <a:pt x="417" y="125"/>
                    <a:pt x="416" y="121"/>
                  </a:cubicBezTo>
                  <a:cubicBezTo>
                    <a:pt x="422" y="118"/>
                    <a:pt x="427" y="114"/>
                    <a:pt x="430" y="109"/>
                  </a:cubicBezTo>
                  <a:cubicBezTo>
                    <a:pt x="433" y="104"/>
                    <a:pt x="434" y="98"/>
                    <a:pt x="431" y="92"/>
                  </a:cubicBezTo>
                  <a:cubicBezTo>
                    <a:pt x="427" y="83"/>
                    <a:pt x="417" y="76"/>
                    <a:pt x="403" y="73"/>
                  </a:cubicBezTo>
                  <a:cubicBezTo>
                    <a:pt x="381" y="69"/>
                    <a:pt x="357" y="75"/>
                    <a:pt x="348" y="87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7" y="32"/>
                    <a:pt x="107" y="28"/>
                    <a:pt x="105" y="24"/>
                  </a:cubicBezTo>
                  <a:cubicBezTo>
                    <a:pt x="101" y="15"/>
                    <a:pt x="91" y="8"/>
                    <a:pt x="77" y="5"/>
                  </a:cubicBezTo>
                  <a:cubicBezTo>
                    <a:pt x="54" y="0"/>
                    <a:pt x="29" y="7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17" y="25"/>
                    <a:pt x="16" y="30"/>
                    <a:pt x="18" y="35"/>
                  </a:cubicBezTo>
                  <a:cubicBezTo>
                    <a:pt x="12" y="38"/>
                    <a:pt x="7" y="42"/>
                    <a:pt x="4" y="46"/>
                  </a:cubicBezTo>
                  <a:cubicBezTo>
                    <a:pt x="1" y="52"/>
                    <a:pt x="0" y="58"/>
                    <a:pt x="2" y="63"/>
                  </a:cubicBezTo>
                  <a:cubicBezTo>
                    <a:pt x="6" y="72"/>
                    <a:pt x="17" y="79"/>
                    <a:pt x="31" y="82"/>
                  </a:cubicBezTo>
                  <a:cubicBezTo>
                    <a:pt x="51" y="86"/>
                    <a:pt x="73" y="82"/>
                    <a:pt x="84" y="71"/>
                  </a:cubicBezTo>
                  <a:cubicBezTo>
                    <a:pt x="327" y="122"/>
                    <a:pt x="327" y="122"/>
                    <a:pt x="327" y="122"/>
                  </a:cubicBezTo>
                  <a:cubicBezTo>
                    <a:pt x="327" y="126"/>
                    <a:pt x="328" y="130"/>
                    <a:pt x="329" y="134"/>
                  </a:cubicBezTo>
                  <a:cubicBezTo>
                    <a:pt x="334" y="142"/>
                    <a:pt x="344" y="148"/>
                    <a:pt x="357" y="151"/>
                  </a:cubicBezTo>
                  <a:cubicBezTo>
                    <a:pt x="362" y="152"/>
                    <a:pt x="367" y="152"/>
                    <a:pt x="372" y="152"/>
                  </a:cubicBezTo>
                  <a:close/>
                  <a:moveTo>
                    <a:pt x="388" y="79"/>
                  </a:moveTo>
                  <a:cubicBezTo>
                    <a:pt x="392" y="79"/>
                    <a:pt x="397" y="79"/>
                    <a:pt x="401" y="80"/>
                  </a:cubicBezTo>
                  <a:cubicBezTo>
                    <a:pt x="413" y="83"/>
                    <a:pt x="422" y="88"/>
                    <a:pt x="425" y="95"/>
                  </a:cubicBezTo>
                  <a:cubicBezTo>
                    <a:pt x="426" y="98"/>
                    <a:pt x="426" y="102"/>
                    <a:pt x="424" y="105"/>
                  </a:cubicBezTo>
                  <a:cubicBezTo>
                    <a:pt x="421" y="109"/>
                    <a:pt x="416" y="113"/>
                    <a:pt x="410" y="115"/>
                  </a:cubicBezTo>
                  <a:cubicBezTo>
                    <a:pt x="407" y="117"/>
                    <a:pt x="407" y="117"/>
                    <a:pt x="407" y="117"/>
                  </a:cubicBezTo>
                  <a:cubicBezTo>
                    <a:pt x="408" y="120"/>
                    <a:pt x="408" y="120"/>
                    <a:pt x="408" y="120"/>
                  </a:cubicBezTo>
                  <a:cubicBezTo>
                    <a:pt x="410" y="124"/>
                    <a:pt x="410" y="128"/>
                    <a:pt x="407" y="131"/>
                  </a:cubicBezTo>
                  <a:cubicBezTo>
                    <a:pt x="401" y="142"/>
                    <a:pt x="378" y="148"/>
                    <a:pt x="358" y="144"/>
                  </a:cubicBezTo>
                  <a:cubicBezTo>
                    <a:pt x="347" y="141"/>
                    <a:pt x="339" y="136"/>
                    <a:pt x="336" y="130"/>
                  </a:cubicBezTo>
                  <a:cubicBezTo>
                    <a:pt x="334" y="127"/>
                    <a:pt x="334" y="124"/>
                    <a:pt x="335" y="121"/>
                  </a:cubicBezTo>
                  <a:cubicBezTo>
                    <a:pt x="337" y="117"/>
                    <a:pt x="337" y="117"/>
                    <a:pt x="337" y="117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71" y="74"/>
                    <a:pt x="50" y="79"/>
                    <a:pt x="32" y="75"/>
                  </a:cubicBezTo>
                  <a:cubicBezTo>
                    <a:pt x="21" y="73"/>
                    <a:pt x="12" y="67"/>
                    <a:pt x="9" y="61"/>
                  </a:cubicBezTo>
                  <a:cubicBezTo>
                    <a:pt x="7" y="57"/>
                    <a:pt x="8" y="53"/>
                    <a:pt x="10" y="50"/>
                  </a:cubicBezTo>
                  <a:cubicBezTo>
                    <a:pt x="13" y="46"/>
                    <a:pt x="17" y="43"/>
                    <a:pt x="23" y="4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4" y="32"/>
                    <a:pt x="24" y="28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33" y="13"/>
                    <a:pt x="56" y="8"/>
                    <a:pt x="75" y="12"/>
                  </a:cubicBezTo>
                  <a:cubicBezTo>
                    <a:pt x="87" y="14"/>
                    <a:pt x="96" y="20"/>
                    <a:pt x="99" y="26"/>
                  </a:cubicBezTo>
                  <a:cubicBezTo>
                    <a:pt x="100" y="30"/>
                    <a:pt x="100" y="33"/>
                    <a:pt x="98" y="37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351" y="95"/>
                    <a:pt x="351" y="95"/>
                    <a:pt x="351" y="95"/>
                  </a:cubicBezTo>
                  <a:cubicBezTo>
                    <a:pt x="352" y="93"/>
                    <a:pt x="352" y="93"/>
                    <a:pt x="352" y="93"/>
                  </a:cubicBezTo>
                  <a:cubicBezTo>
                    <a:pt x="358" y="84"/>
                    <a:pt x="372" y="79"/>
                    <a:pt x="388" y="79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0" name="Freeform 1449">
              <a:extLst>
                <a:ext uri="{FF2B5EF4-FFF2-40B4-BE49-F238E27FC236}">
                  <a16:creationId xmlns:a16="http://schemas.microsoft.com/office/drawing/2014/main" id="{92FB4431-943B-4FC5-A8D3-F4A599918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92733" y="2675079"/>
              <a:ext cx="1104351" cy="1112846"/>
            </a:xfrm>
            <a:custGeom>
              <a:avLst/>
              <a:gdLst>
                <a:gd name="T0" fmla="*/ 77 w 250"/>
                <a:gd name="T1" fmla="*/ 4 h 252"/>
                <a:gd name="T2" fmla="*/ 130 w 250"/>
                <a:gd name="T3" fmla="*/ 19 h 252"/>
                <a:gd name="T4" fmla="*/ 104 w 250"/>
                <a:gd name="T5" fmla="*/ 49 h 252"/>
                <a:gd name="T6" fmla="*/ 190 w 250"/>
                <a:gd name="T7" fmla="*/ 194 h 252"/>
                <a:gd name="T8" fmla="*/ 243 w 250"/>
                <a:gd name="T9" fmla="*/ 208 h 252"/>
                <a:gd name="T10" fmla="*/ 217 w 250"/>
                <a:gd name="T11" fmla="*/ 239 h 252"/>
                <a:gd name="T12" fmla="*/ 192 w 250"/>
                <a:gd name="T13" fmla="*/ 239 h 252"/>
                <a:gd name="T14" fmla="*/ 172 w 250"/>
                <a:gd name="T15" fmla="*/ 248 h 252"/>
                <a:gd name="T16" fmla="*/ 120 w 250"/>
                <a:gd name="T17" fmla="*/ 233 h 252"/>
                <a:gd name="T18" fmla="*/ 141 w 250"/>
                <a:gd name="T19" fmla="*/ 204 h 252"/>
                <a:gd name="T20" fmla="*/ 55 w 250"/>
                <a:gd name="T21" fmla="*/ 59 h 252"/>
                <a:gd name="T22" fmla="*/ 7 w 250"/>
                <a:gd name="T23" fmla="*/ 43 h 252"/>
                <a:gd name="T24" fmla="*/ 33 w 250"/>
                <a:gd name="T25" fmla="*/ 13 h 252"/>
                <a:gd name="T26" fmla="*/ 57 w 250"/>
                <a:gd name="T27" fmla="*/ 13 h 252"/>
                <a:gd name="T28" fmla="*/ 77 w 250"/>
                <a:gd name="T29" fmla="*/ 4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0" h="252">
                  <a:moveTo>
                    <a:pt x="77" y="4"/>
                  </a:moveTo>
                  <a:cubicBezTo>
                    <a:pt x="99" y="0"/>
                    <a:pt x="122" y="6"/>
                    <a:pt x="130" y="19"/>
                  </a:cubicBezTo>
                  <a:cubicBezTo>
                    <a:pt x="137" y="31"/>
                    <a:pt x="125" y="45"/>
                    <a:pt x="104" y="49"/>
                  </a:cubicBezTo>
                  <a:cubicBezTo>
                    <a:pt x="190" y="194"/>
                    <a:pt x="190" y="194"/>
                    <a:pt x="190" y="194"/>
                  </a:cubicBezTo>
                  <a:cubicBezTo>
                    <a:pt x="212" y="189"/>
                    <a:pt x="235" y="196"/>
                    <a:pt x="243" y="208"/>
                  </a:cubicBezTo>
                  <a:cubicBezTo>
                    <a:pt x="250" y="221"/>
                    <a:pt x="239" y="234"/>
                    <a:pt x="217" y="239"/>
                  </a:cubicBezTo>
                  <a:cubicBezTo>
                    <a:pt x="209" y="240"/>
                    <a:pt x="200" y="240"/>
                    <a:pt x="192" y="239"/>
                  </a:cubicBezTo>
                  <a:cubicBezTo>
                    <a:pt x="187" y="243"/>
                    <a:pt x="181" y="246"/>
                    <a:pt x="172" y="248"/>
                  </a:cubicBezTo>
                  <a:cubicBezTo>
                    <a:pt x="151" y="252"/>
                    <a:pt x="127" y="245"/>
                    <a:pt x="120" y="233"/>
                  </a:cubicBezTo>
                  <a:cubicBezTo>
                    <a:pt x="113" y="221"/>
                    <a:pt x="123" y="209"/>
                    <a:pt x="141" y="204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35" y="61"/>
                    <a:pt x="14" y="55"/>
                    <a:pt x="7" y="43"/>
                  </a:cubicBezTo>
                  <a:cubicBezTo>
                    <a:pt x="0" y="31"/>
                    <a:pt x="11" y="17"/>
                    <a:pt x="33" y="13"/>
                  </a:cubicBezTo>
                  <a:cubicBezTo>
                    <a:pt x="41" y="11"/>
                    <a:pt x="49" y="11"/>
                    <a:pt x="57" y="13"/>
                  </a:cubicBezTo>
                  <a:cubicBezTo>
                    <a:pt x="62" y="9"/>
                    <a:pt x="69" y="6"/>
                    <a:pt x="77" y="4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1" name="Freeform 1450">
              <a:extLst>
                <a:ext uri="{FF2B5EF4-FFF2-40B4-BE49-F238E27FC236}">
                  <a16:creationId xmlns:a16="http://schemas.microsoft.com/office/drawing/2014/main" id="{99E6BB14-3B9A-4B9D-97FC-E193BE6203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92733" y="2560396"/>
              <a:ext cx="1100104" cy="1129836"/>
            </a:xfrm>
            <a:custGeom>
              <a:avLst/>
              <a:gdLst>
                <a:gd name="T0" fmla="*/ 159 w 249"/>
                <a:gd name="T1" fmla="*/ 256 h 256"/>
                <a:gd name="T2" fmla="*/ 173 w 249"/>
                <a:gd name="T3" fmla="*/ 255 h 256"/>
                <a:gd name="T4" fmla="*/ 193 w 249"/>
                <a:gd name="T5" fmla="*/ 247 h 256"/>
                <a:gd name="T6" fmla="*/ 218 w 249"/>
                <a:gd name="T7" fmla="*/ 246 h 256"/>
                <a:gd name="T8" fmla="*/ 247 w 249"/>
                <a:gd name="T9" fmla="*/ 228 h 256"/>
                <a:gd name="T10" fmla="*/ 246 w 249"/>
                <a:gd name="T11" fmla="*/ 211 h 256"/>
                <a:gd name="T12" fmla="*/ 192 w 249"/>
                <a:gd name="T13" fmla="*/ 194 h 256"/>
                <a:gd name="T14" fmla="*/ 110 w 249"/>
                <a:gd name="T15" fmla="*/ 55 h 256"/>
                <a:gd name="T16" fmla="*/ 134 w 249"/>
                <a:gd name="T17" fmla="*/ 38 h 256"/>
                <a:gd name="T18" fmla="*/ 133 w 249"/>
                <a:gd name="T19" fmla="*/ 21 h 256"/>
                <a:gd name="T20" fmla="*/ 77 w 249"/>
                <a:gd name="T21" fmla="*/ 4 h 256"/>
                <a:gd name="T22" fmla="*/ 77 w 249"/>
                <a:gd name="T23" fmla="*/ 4 h 256"/>
                <a:gd name="T24" fmla="*/ 56 w 249"/>
                <a:gd name="T25" fmla="*/ 13 h 256"/>
                <a:gd name="T26" fmla="*/ 32 w 249"/>
                <a:gd name="T27" fmla="*/ 13 h 256"/>
                <a:gd name="T28" fmla="*/ 3 w 249"/>
                <a:gd name="T29" fmla="*/ 32 h 256"/>
                <a:gd name="T30" fmla="*/ 4 w 249"/>
                <a:gd name="T31" fmla="*/ 49 h 256"/>
                <a:gd name="T32" fmla="*/ 53 w 249"/>
                <a:gd name="T33" fmla="*/ 66 h 256"/>
                <a:gd name="T34" fmla="*/ 136 w 249"/>
                <a:gd name="T35" fmla="*/ 206 h 256"/>
                <a:gd name="T36" fmla="*/ 116 w 249"/>
                <a:gd name="T37" fmla="*/ 223 h 256"/>
                <a:gd name="T38" fmla="*/ 117 w 249"/>
                <a:gd name="T39" fmla="*/ 239 h 256"/>
                <a:gd name="T40" fmla="*/ 159 w 249"/>
                <a:gd name="T41" fmla="*/ 256 h 256"/>
                <a:gd name="T42" fmla="*/ 191 w 249"/>
                <a:gd name="T43" fmla="*/ 239 h 256"/>
                <a:gd name="T44" fmla="*/ 190 w 249"/>
                <a:gd name="T45" fmla="*/ 240 h 256"/>
                <a:gd name="T46" fmla="*/ 172 w 249"/>
                <a:gd name="T47" fmla="*/ 248 h 256"/>
                <a:gd name="T48" fmla="*/ 123 w 249"/>
                <a:gd name="T49" fmla="*/ 235 h 256"/>
                <a:gd name="T50" fmla="*/ 122 w 249"/>
                <a:gd name="T51" fmla="*/ 225 h 256"/>
                <a:gd name="T52" fmla="*/ 142 w 249"/>
                <a:gd name="T53" fmla="*/ 211 h 256"/>
                <a:gd name="T54" fmla="*/ 147 w 249"/>
                <a:gd name="T55" fmla="*/ 210 h 256"/>
                <a:gd name="T56" fmla="*/ 57 w 249"/>
                <a:gd name="T57" fmla="*/ 59 h 256"/>
                <a:gd name="T58" fmla="*/ 54 w 249"/>
                <a:gd name="T59" fmla="*/ 59 h 256"/>
                <a:gd name="T60" fmla="*/ 10 w 249"/>
                <a:gd name="T61" fmla="*/ 45 h 256"/>
                <a:gd name="T62" fmla="*/ 9 w 249"/>
                <a:gd name="T63" fmla="*/ 35 h 256"/>
                <a:gd name="T64" fmla="*/ 33 w 249"/>
                <a:gd name="T65" fmla="*/ 20 h 256"/>
                <a:gd name="T66" fmla="*/ 57 w 249"/>
                <a:gd name="T67" fmla="*/ 20 h 256"/>
                <a:gd name="T68" fmla="*/ 58 w 249"/>
                <a:gd name="T69" fmla="*/ 20 h 256"/>
                <a:gd name="T70" fmla="*/ 60 w 249"/>
                <a:gd name="T71" fmla="*/ 19 h 256"/>
                <a:gd name="T72" fmla="*/ 78 w 249"/>
                <a:gd name="T73" fmla="*/ 11 h 256"/>
                <a:gd name="T74" fmla="*/ 78 w 249"/>
                <a:gd name="T75" fmla="*/ 11 h 256"/>
                <a:gd name="T76" fmla="*/ 126 w 249"/>
                <a:gd name="T77" fmla="*/ 25 h 256"/>
                <a:gd name="T78" fmla="*/ 127 w 249"/>
                <a:gd name="T79" fmla="*/ 35 h 256"/>
                <a:gd name="T80" fmla="*/ 103 w 249"/>
                <a:gd name="T81" fmla="*/ 49 h 256"/>
                <a:gd name="T82" fmla="*/ 98 w 249"/>
                <a:gd name="T83" fmla="*/ 50 h 256"/>
                <a:gd name="T84" fmla="*/ 188 w 249"/>
                <a:gd name="T85" fmla="*/ 202 h 256"/>
                <a:gd name="T86" fmla="*/ 191 w 249"/>
                <a:gd name="T87" fmla="*/ 201 h 256"/>
                <a:gd name="T88" fmla="*/ 239 w 249"/>
                <a:gd name="T89" fmla="*/ 214 h 256"/>
                <a:gd name="T90" fmla="*/ 240 w 249"/>
                <a:gd name="T91" fmla="*/ 225 h 256"/>
                <a:gd name="T92" fmla="*/ 216 w 249"/>
                <a:gd name="T93" fmla="*/ 239 h 256"/>
                <a:gd name="T94" fmla="*/ 193 w 249"/>
                <a:gd name="T95" fmla="*/ 240 h 256"/>
                <a:gd name="T96" fmla="*/ 191 w 249"/>
                <a:gd name="T97" fmla="*/ 23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9" h="256">
                  <a:moveTo>
                    <a:pt x="159" y="256"/>
                  </a:moveTo>
                  <a:cubicBezTo>
                    <a:pt x="164" y="256"/>
                    <a:pt x="168" y="256"/>
                    <a:pt x="173" y="255"/>
                  </a:cubicBezTo>
                  <a:cubicBezTo>
                    <a:pt x="181" y="253"/>
                    <a:pt x="188" y="251"/>
                    <a:pt x="193" y="247"/>
                  </a:cubicBezTo>
                  <a:cubicBezTo>
                    <a:pt x="201" y="248"/>
                    <a:pt x="210" y="248"/>
                    <a:pt x="218" y="246"/>
                  </a:cubicBezTo>
                  <a:cubicBezTo>
                    <a:pt x="232" y="243"/>
                    <a:pt x="243" y="236"/>
                    <a:pt x="247" y="228"/>
                  </a:cubicBezTo>
                  <a:cubicBezTo>
                    <a:pt x="249" y="222"/>
                    <a:pt x="249" y="216"/>
                    <a:pt x="246" y="211"/>
                  </a:cubicBezTo>
                  <a:cubicBezTo>
                    <a:pt x="238" y="197"/>
                    <a:pt x="214" y="190"/>
                    <a:pt x="192" y="19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21" y="52"/>
                    <a:pt x="130" y="46"/>
                    <a:pt x="134" y="38"/>
                  </a:cubicBezTo>
                  <a:cubicBezTo>
                    <a:pt x="136" y="32"/>
                    <a:pt x="136" y="26"/>
                    <a:pt x="133" y="21"/>
                  </a:cubicBezTo>
                  <a:cubicBezTo>
                    <a:pt x="124" y="7"/>
                    <a:pt x="100" y="0"/>
                    <a:pt x="77" y="4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69" y="6"/>
                    <a:pt x="62" y="9"/>
                    <a:pt x="56" y="13"/>
                  </a:cubicBezTo>
                  <a:cubicBezTo>
                    <a:pt x="48" y="12"/>
                    <a:pt x="40" y="12"/>
                    <a:pt x="32" y="13"/>
                  </a:cubicBezTo>
                  <a:cubicBezTo>
                    <a:pt x="18" y="16"/>
                    <a:pt x="7" y="23"/>
                    <a:pt x="3" y="32"/>
                  </a:cubicBezTo>
                  <a:cubicBezTo>
                    <a:pt x="0" y="38"/>
                    <a:pt x="1" y="44"/>
                    <a:pt x="4" y="49"/>
                  </a:cubicBezTo>
                  <a:cubicBezTo>
                    <a:pt x="11" y="61"/>
                    <a:pt x="32" y="68"/>
                    <a:pt x="53" y="66"/>
                  </a:cubicBezTo>
                  <a:cubicBezTo>
                    <a:pt x="136" y="206"/>
                    <a:pt x="136" y="206"/>
                    <a:pt x="136" y="206"/>
                  </a:cubicBezTo>
                  <a:cubicBezTo>
                    <a:pt x="126" y="209"/>
                    <a:pt x="118" y="215"/>
                    <a:pt x="116" y="223"/>
                  </a:cubicBezTo>
                  <a:cubicBezTo>
                    <a:pt x="113" y="228"/>
                    <a:pt x="114" y="233"/>
                    <a:pt x="117" y="239"/>
                  </a:cubicBezTo>
                  <a:cubicBezTo>
                    <a:pt x="124" y="250"/>
                    <a:pt x="141" y="256"/>
                    <a:pt x="159" y="256"/>
                  </a:cubicBezTo>
                  <a:close/>
                  <a:moveTo>
                    <a:pt x="191" y="239"/>
                  </a:moveTo>
                  <a:cubicBezTo>
                    <a:pt x="190" y="240"/>
                    <a:pt x="190" y="240"/>
                    <a:pt x="190" y="240"/>
                  </a:cubicBezTo>
                  <a:cubicBezTo>
                    <a:pt x="185" y="244"/>
                    <a:pt x="179" y="247"/>
                    <a:pt x="172" y="248"/>
                  </a:cubicBezTo>
                  <a:cubicBezTo>
                    <a:pt x="152" y="252"/>
                    <a:pt x="130" y="246"/>
                    <a:pt x="123" y="235"/>
                  </a:cubicBezTo>
                  <a:cubicBezTo>
                    <a:pt x="121" y="232"/>
                    <a:pt x="121" y="228"/>
                    <a:pt x="122" y="225"/>
                  </a:cubicBezTo>
                  <a:cubicBezTo>
                    <a:pt x="125" y="219"/>
                    <a:pt x="132" y="214"/>
                    <a:pt x="142" y="211"/>
                  </a:cubicBezTo>
                  <a:cubicBezTo>
                    <a:pt x="147" y="210"/>
                    <a:pt x="147" y="210"/>
                    <a:pt x="147" y="210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36" y="61"/>
                    <a:pt x="16" y="55"/>
                    <a:pt x="10" y="45"/>
                  </a:cubicBezTo>
                  <a:cubicBezTo>
                    <a:pt x="8" y="42"/>
                    <a:pt x="8" y="38"/>
                    <a:pt x="9" y="35"/>
                  </a:cubicBezTo>
                  <a:cubicBezTo>
                    <a:pt x="12" y="28"/>
                    <a:pt x="21" y="23"/>
                    <a:pt x="33" y="20"/>
                  </a:cubicBezTo>
                  <a:cubicBezTo>
                    <a:pt x="41" y="19"/>
                    <a:pt x="49" y="19"/>
                    <a:pt x="57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4" y="16"/>
                    <a:pt x="70" y="13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98" y="7"/>
                    <a:pt x="120" y="14"/>
                    <a:pt x="126" y="25"/>
                  </a:cubicBezTo>
                  <a:cubicBezTo>
                    <a:pt x="129" y="28"/>
                    <a:pt x="129" y="31"/>
                    <a:pt x="127" y="35"/>
                  </a:cubicBezTo>
                  <a:cubicBezTo>
                    <a:pt x="124" y="42"/>
                    <a:pt x="115" y="47"/>
                    <a:pt x="103" y="49"/>
                  </a:cubicBezTo>
                  <a:cubicBezTo>
                    <a:pt x="98" y="50"/>
                    <a:pt x="98" y="50"/>
                    <a:pt x="98" y="50"/>
                  </a:cubicBezTo>
                  <a:cubicBezTo>
                    <a:pt x="188" y="202"/>
                    <a:pt x="188" y="202"/>
                    <a:pt x="188" y="202"/>
                  </a:cubicBezTo>
                  <a:cubicBezTo>
                    <a:pt x="191" y="201"/>
                    <a:pt x="191" y="201"/>
                    <a:pt x="191" y="201"/>
                  </a:cubicBezTo>
                  <a:cubicBezTo>
                    <a:pt x="211" y="197"/>
                    <a:pt x="233" y="203"/>
                    <a:pt x="239" y="214"/>
                  </a:cubicBezTo>
                  <a:cubicBezTo>
                    <a:pt x="242" y="218"/>
                    <a:pt x="242" y="221"/>
                    <a:pt x="240" y="225"/>
                  </a:cubicBezTo>
                  <a:cubicBezTo>
                    <a:pt x="237" y="231"/>
                    <a:pt x="228" y="237"/>
                    <a:pt x="216" y="239"/>
                  </a:cubicBezTo>
                  <a:cubicBezTo>
                    <a:pt x="209" y="241"/>
                    <a:pt x="201" y="241"/>
                    <a:pt x="193" y="240"/>
                  </a:cubicBezTo>
                  <a:lnTo>
                    <a:pt x="191" y="239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2" name="Freeform 1451">
              <a:extLst>
                <a:ext uri="{FF2B5EF4-FFF2-40B4-BE49-F238E27FC236}">
                  <a16:creationId xmlns:a16="http://schemas.microsoft.com/office/drawing/2014/main" id="{1C938272-0D55-485E-A387-B29122B34F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16541" y="3484230"/>
              <a:ext cx="1478132" cy="851626"/>
            </a:xfrm>
            <a:custGeom>
              <a:avLst/>
              <a:gdLst>
                <a:gd name="T0" fmla="*/ 245 w 335"/>
                <a:gd name="T1" fmla="*/ 183 h 193"/>
                <a:gd name="T2" fmla="*/ 17 w 335"/>
                <a:gd name="T3" fmla="*/ 52 h 193"/>
                <a:gd name="T4" fmla="*/ 22 w 335"/>
                <a:gd name="T5" fmla="*/ 13 h 193"/>
                <a:gd name="T6" fmla="*/ 22 w 335"/>
                <a:gd name="T7" fmla="*/ 13 h 193"/>
                <a:gd name="T8" fmla="*/ 90 w 335"/>
                <a:gd name="T9" fmla="*/ 10 h 193"/>
                <a:gd name="T10" fmla="*/ 318 w 335"/>
                <a:gd name="T11" fmla="*/ 141 h 193"/>
                <a:gd name="T12" fmla="*/ 313 w 335"/>
                <a:gd name="T13" fmla="*/ 180 h 193"/>
                <a:gd name="T14" fmla="*/ 313 w 335"/>
                <a:gd name="T15" fmla="*/ 180 h 193"/>
                <a:gd name="T16" fmla="*/ 245 w 335"/>
                <a:gd name="T17" fmla="*/ 18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5" h="193">
                  <a:moveTo>
                    <a:pt x="245" y="183"/>
                  </a:moveTo>
                  <a:cubicBezTo>
                    <a:pt x="17" y="52"/>
                    <a:pt x="17" y="52"/>
                    <a:pt x="17" y="52"/>
                  </a:cubicBezTo>
                  <a:cubicBezTo>
                    <a:pt x="0" y="42"/>
                    <a:pt x="2" y="25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42" y="2"/>
                    <a:pt x="73" y="0"/>
                    <a:pt x="90" y="10"/>
                  </a:cubicBezTo>
                  <a:cubicBezTo>
                    <a:pt x="318" y="141"/>
                    <a:pt x="318" y="141"/>
                    <a:pt x="318" y="141"/>
                  </a:cubicBezTo>
                  <a:cubicBezTo>
                    <a:pt x="335" y="151"/>
                    <a:pt x="333" y="168"/>
                    <a:pt x="313" y="180"/>
                  </a:cubicBezTo>
                  <a:cubicBezTo>
                    <a:pt x="313" y="180"/>
                    <a:pt x="313" y="180"/>
                    <a:pt x="313" y="180"/>
                  </a:cubicBezTo>
                  <a:cubicBezTo>
                    <a:pt x="293" y="192"/>
                    <a:pt x="262" y="193"/>
                    <a:pt x="245" y="183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3" name="Freeform 1452">
              <a:extLst>
                <a:ext uri="{FF2B5EF4-FFF2-40B4-BE49-F238E27FC236}">
                  <a16:creationId xmlns:a16="http://schemas.microsoft.com/office/drawing/2014/main" id="{09F3C9C3-DE79-48AB-A4F9-1316C622E4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120788" y="3390784"/>
              <a:ext cx="1469637" cy="879234"/>
            </a:xfrm>
            <a:custGeom>
              <a:avLst/>
              <a:gdLst>
                <a:gd name="T0" fmla="*/ 273 w 333"/>
                <a:gd name="T1" fmla="*/ 199 h 199"/>
                <a:gd name="T2" fmla="*/ 242 w 333"/>
                <a:gd name="T3" fmla="*/ 191 h 199"/>
                <a:gd name="T4" fmla="*/ 14 w 333"/>
                <a:gd name="T5" fmla="*/ 61 h 199"/>
                <a:gd name="T6" fmla="*/ 0 w 333"/>
                <a:gd name="T7" fmla="*/ 40 h 199"/>
                <a:gd name="T8" fmla="*/ 19 w 333"/>
                <a:gd name="T9" fmla="*/ 14 h 199"/>
                <a:gd name="T10" fmla="*/ 91 w 333"/>
                <a:gd name="T11" fmla="*/ 11 h 199"/>
                <a:gd name="T12" fmla="*/ 319 w 333"/>
                <a:gd name="T13" fmla="*/ 141 h 199"/>
                <a:gd name="T14" fmla="*/ 333 w 333"/>
                <a:gd name="T15" fmla="*/ 162 h 199"/>
                <a:gd name="T16" fmla="*/ 314 w 333"/>
                <a:gd name="T17" fmla="*/ 188 h 199"/>
                <a:gd name="T18" fmla="*/ 273 w 333"/>
                <a:gd name="T19" fmla="*/ 199 h 199"/>
                <a:gd name="T20" fmla="*/ 60 w 333"/>
                <a:gd name="T21" fmla="*/ 10 h 199"/>
                <a:gd name="T22" fmla="*/ 22 w 333"/>
                <a:gd name="T23" fmla="*/ 19 h 199"/>
                <a:gd name="T24" fmla="*/ 6 w 333"/>
                <a:gd name="T25" fmla="*/ 40 h 199"/>
                <a:gd name="T26" fmla="*/ 17 w 333"/>
                <a:gd name="T27" fmla="*/ 55 h 199"/>
                <a:gd name="T28" fmla="*/ 245 w 333"/>
                <a:gd name="T29" fmla="*/ 186 h 199"/>
                <a:gd name="T30" fmla="*/ 273 w 333"/>
                <a:gd name="T31" fmla="*/ 192 h 199"/>
                <a:gd name="T32" fmla="*/ 311 w 333"/>
                <a:gd name="T33" fmla="*/ 183 h 199"/>
                <a:gd name="T34" fmla="*/ 327 w 333"/>
                <a:gd name="T35" fmla="*/ 162 h 199"/>
                <a:gd name="T36" fmla="*/ 316 w 333"/>
                <a:gd name="T37" fmla="*/ 147 h 199"/>
                <a:gd name="T38" fmla="*/ 88 w 333"/>
                <a:gd name="T39" fmla="*/ 16 h 199"/>
                <a:gd name="T40" fmla="*/ 60 w 333"/>
                <a:gd name="T41" fmla="*/ 1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3" h="199">
                  <a:moveTo>
                    <a:pt x="273" y="199"/>
                  </a:moveTo>
                  <a:cubicBezTo>
                    <a:pt x="261" y="199"/>
                    <a:pt x="250" y="196"/>
                    <a:pt x="242" y="19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5" y="56"/>
                    <a:pt x="0" y="48"/>
                    <a:pt x="0" y="40"/>
                  </a:cubicBezTo>
                  <a:cubicBezTo>
                    <a:pt x="0" y="30"/>
                    <a:pt x="7" y="21"/>
                    <a:pt x="19" y="14"/>
                  </a:cubicBezTo>
                  <a:cubicBezTo>
                    <a:pt x="40" y="1"/>
                    <a:pt x="73" y="0"/>
                    <a:pt x="91" y="11"/>
                  </a:cubicBezTo>
                  <a:cubicBezTo>
                    <a:pt x="319" y="141"/>
                    <a:pt x="319" y="141"/>
                    <a:pt x="319" y="141"/>
                  </a:cubicBezTo>
                  <a:cubicBezTo>
                    <a:pt x="328" y="146"/>
                    <a:pt x="333" y="154"/>
                    <a:pt x="333" y="162"/>
                  </a:cubicBezTo>
                  <a:cubicBezTo>
                    <a:pt x="333" y="172"/>
                    <a:pt x="326" y="181"/>
                    <a:pt x="314" y="188"/>
                  </a:cubicBezTo>
                  <a:cubicBezTo>
                    <a:pt x="303" y="195"/>
                    <a:pt x="288" y="199"/>
                    <a:pt x="273" y="199"/>
                  </a:cubicBezTo>
                  <a:close/>
                  <a:moveTo>
                    <a:pt x="60" y="10"/>
                  </a:moveTo>
                  <a:cubicBezTo>
                    <a:pt x="47" y="10"/>
                    <a:pt x="33" y="13"/>
                    <a:pt x="22" y="19"/>
                  </a:cubicBezTo>
                  <a:cubicBezTo>
                    <a:pt x="12" y="25"/>
                    <a:pt x="6" y="32"/>
                    <a:pt x="6" y="40"/>
                  </a:cubicBezTo>
                  <a:cubicBezTo>
                    <a:pt x="6" y="46"/>
                    <a:pt x="10" y="51"/>
                    <a:pt x="17" y="55"/>
                  </a:cubicBezTo>
                  <a:cubicBezTo>
                    <a:pt x="245" y="186"/>
                    <a:pt x="245" y="186"/>
                    <a:pt x="245" y="186"/>
                  </a:cubicBezTo>
                  <a:cubicBezTo>
                    <a:pt x="252" y="190"/>
                    <a:pt x="262" y="192"/>
                    <a:pt x="273" y="192"/>
                  </a:cubicBezTo>
                  <a:cubicBezTo>
                    <a:pt x="287" y="192"/>
                    <a:pt x="301" y="189"/>
                    <a:pt x="311" y="183"/>
                  </a:cubicBezTo>
                  <a:cubicBezTo>
                    <a:pt x="321" y="177"/>
                    <a:pt x="327" y="170"/>
                    <a:pt x="327" y="162"/>
                  </a:cubicBezTo>
                  <a:cubicBezTo>
                    <a:pt x="327" y="156"/>
                    <a:pt x="323" y="151"/>
                    <a:pt x="316" y="147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1" y="12"/>
                    <a:pt x="70" y="10"/>
                    <a:pt x="60" y="1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4" name="Freeform 1453">
              <a:extLst>
                <a:ext uri="{FF2B5EF4-FFF2-40B4-BE49-F238E27FC236}">
                  <a16:creationId xmlns:a16="http://schemas.microsoft.com/office/drawing/2014/main" id="{722AAE6C-0AEB-420A-ABE7-D139FCB6AB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73331" y="3660500"/>
              <a:ext cx="225118" cy="131673"/>
            </a:xfrm>
            <a:custGeom>
              <a:avLst/>
              <a:gdLst>
                <a:gd name="T0" fmla="*/ 1 w 51"/>
                <a:gd name="T1" fmla="*/ 12 h 30"/>
                <a:gd name="T2" fmla="*/ 2 w 51"/>
                <a:gd name="T3" fmla="*/ 10 h 30"/>
                <a:gd name="T4" fmla="*/ 46 w 51"/>
                <a:gd name="T5" fmla="*/ 1 h 30"/>
                <a:gd name="T6" fmla="*/ 49 w 51"/>
                <a:gd name="T7" fmla="*/ 1 h 30"/>
                <a:gd name="T8" fmla="*/ 50 w 51"/>
                <a:gd name="T9" fmla="*/ 2 h 30"/>
                <a:gd name="T10" fmla="*/ 50 w 51"/>
                <a:gd name="T11" fmla="*/ 3 h 30"/>
                <a:gd name="T12" fmla="*/ 34 w 51"/>
                <a:gd name="T13" fmla="*/ 29 h 30"/>
                <a:gd name="T14" fmla="*/ 31 w 51"/>
                <a:gd name="T15" fmla="*/ 29 h 30"/>
                <a:gd name="T16" fmla="*/ 30 w 51"/>
                <a:gd name="T17" fmla="*/ 29 h 30"/>
                <a:gd name="T18" fmla="*/ 30 w 51"/>
                <a:gd name="T19" fmla="*/ 27 h 30"/>
                <a:gd name="T20" fmla="*/ 36 w 51"/>
                <a:gd name="T21" fmla="*/ 17 h 30"/>
                <a:gd name="T22" fmla="*/ 22 w 51"/>
                <a:gd name="T23" fmla="*/ 9 h 30"/>
                <a:gd name="T24" fmla="*/ 5 w 51"/>
                <a:gd name="T25" fmla="*/ 13 h 30"/>
                <a:gd name="T26" fmla="*/ 2 w 51"/>
                <a:gd name="T27" fmla="*/ 12 h 30"/>
                <a:gd name="T28" fmla="*/ 1 w 51"/>
                <a:gd name="T29" fmla="*/ 12 h 30"/>
                <a:gd name="T30" fmla="*/ 45 w 51"/>
                <a:gd name="T31" fmla="*/ 4 h 30"/>
                <a:gd name="T32" fmla="*/ 27 w 51"/>
                <a:gd name="T33" fmla="*/ 8 h 30"/>
                <a:gd name="T34" fmla="*/ 38 w 51"/>
                <a:gd name="T35" fmla="*/ 14 h 30"/>
                <a:gd name="T36" fmla="*/ 45 w 51"/>
                <a:gd name="T37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30">
                  <a:moveTo>
                    <a:pt x="1" y="12"/>
                  </a:moveTo>
                  <a:cubicBezTo>
                    <a:pt x="0" y="11"/>
                    <a:pt x="0" y="11"/>
                    <a:pt x="2" y="1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7" y="0"/>
                    <a:pt x="48" y="1"/>
                    <a:pt x="49" y="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2"/>
                    <a:pt x="51" y="3"/>
                    <a:pt x="50" y="3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30"/>
                    <a:pt x="32" y="30"/>
                    <a:pt x="31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29" y="28"/>
                    <a:pt x="29" y="28"/>
                    <a:pt x="30" y="2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13"/>
                    <a:pt x="3" y="13"/>
                    <a:pt x="2" y="12"/>
                  </a:cubicBezTo>
                  <a:lnTo>
                    <a:pt x="1" y="12"/>
                  </a:lnTo>
                  <a:close/>
                  <a:moveTo>
                    <a:pt x="45" y="4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38" y="14"/>
                    <a:pt x="38" y="14"/>
                    <a:pt x="38" y="14"/>
                  </a:cubicBezTo>
                  <a:lnTo>
                    <a:pt x="45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5" name="Freeform 1454">
              <a:extLst>
                <a:ext uri="{FF2B5EF4-FFF2-40B4-BE49-F238E27FC236}">
                  <a16:creationId xmlns:a16="http://schemas.microsoft.com/office/drawing/2014/main" id="{301BCBCC-3CED-4886-ABE4-2EFF5360DA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32613" y="3717842"/>
              <a:ext cx="159282" cy="127425"/>
            </a:xfrm>
            <a:custGeom>
              <a:avLst/>
              <a:gdLst>
                <a:gd name="T0" fmla="*/ 1 w 36"/>
                <a:gd name="T1" fmla="*/ 20 h 29"/>
                <a:gd name="T2" fmla="*/ 1 w 36"/>
                <a:gd name="T3" fmla="*/ 18 h 29"/>
                <a:gd name="T4" fmla="*/ 31 w 36"/>
                <a:gd name="T5" fmla="*/ 1 h 29"/>
                <a:gd name="T6" fmla="*/ 34 w 36"/>
                <a:gd name="T7" fmla="*/ 1 h 29"/>
                <a:gd name="T8" fmla="*/ 35 w 36"/>
                <a:gd name="T9" fmla="*/ 1 h 29"/>
                <a:gd name="T10" fmla="*/ 35 w 36"/>
                <a:gd name="T11" fmla="*/ 2 h 29"/>
                <a:gd name="T12" fmla="*/ 6 w 36"/>
                <a:gd name="T13" fmla="*/ 19 h 29"/>
                <a:gd name="T14" fmla="*/ 20 w 36"/>
                <a:gd name="T15" fmla="*/ 27 h 29"/>
                <a:gd name="T16" fmla="*/ 20 w 36"/>
                <a:gd name="T17" fmla="*/ 29 h 29"/>
                <a:gd name="T18" fmla="*/ 20 w 36"/>
                <a:gd name="T19" fmla="*/ 29 h 29"/>
                <a:gd name="T20" fmla="*/ 17 w 36"/>
                <a:gd name="T21" fmla="*/ 29 h 29"/>
                <a:gd name="T22" fmla="*/ 1 w 36"/>
                <a:gd name="T23" fmla="*/ 2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9">
                  <a:moveTo>
                    <a:pt x="1" y="20"/>
                  </a:moveTo>
                  <a:cubicBezTo>
                    <a:pt x="0" y="19"/>
                    <a:pt x="0" y="19"/>
                    <a:pt x="1" y="18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2" y="0"/>
                    <a:pt x="33" y="0"/>
                    <a:pt x="34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6" y="1"/>
                    <a:pt x="36" y="2"/>
                    <a:pt x="35" y="2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1" y="27"/>
                    <a:pt x="21" y="28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29"/>
                    <a:pt x="18" y="29"/>
                    <a:pt x="17" y="29"/>
                  </a:cubicBezTo>
                  <a:lnTo>
                    <a:pt x="1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6" name="Freeform 1455">
              <a:extLst>
                <a:ext uri="{FF2B5EF4-FFF2-40B4-BE49-F238E27FC236}">
                  <a16:creationId xmlns:a16="http://schemas.microsoft.com/office/drawing/2014/main" id="{01CB3713-AB6C-4CF1-8459-FF647D15E9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8801" y="3779431"/>
              <a:ext cx="225118" cy="127425"/>
            </a:xfrm>
            <a:custGeom>
              <a:avLst/>
              <a:gdLst>
                <a:gd name="T0" fmla="*/ 1 w 51"/>
                <a:gd name="T1" fmla="*/ 19 h 29"/>
                <a:gd name="T2" fmla="*/ 1 w 51"/>
                <a:gd name="T3" fmla="*/ 18 h 29"/>
                <a:gd name="T4" fmla="*/ 31 w 51"/>
                <a:gd name="T5" fmla="*/ 0 h 29"/>
                <a:gd name="T6" fmla="*/ 34 w 51"/>
                <a:gd name="T7" fmla="*/ 0 h 29"/>
                <a:gd name="T8" fmla="*/ 50 w 51"/>
                <a:gd name="T9" fmla="*/ 10 h 29"/>
                <a:gd name="T10" fmla="*/ 50 w 51"/>
                <a:gd name="T11" fmla="*/ 11 h 29"/>
                <a:gd name="T12" fmla="*/ 50 w 51"/>
                <a:gd name="T13" fmla="*/ 12 h 29"/>
                <a:gd name="T14" fmla="*/ 47 w 51"/>
                <a:gd name="T15" fmla="*/ 12 h 29"/>
                <a:gd name="T16" fmla="*/ 33 w 51"/>
                <a:gd name="T17" fmla="*/ 3 h 29"/>
                <a:gd name="T18" fmla="*/ 23 w 51"/>
                <a:gd name="T19" fmla="*/ 9 h 29"/>
                <a:gd name="T20" fmla="*/ 37 w 51"/>
                <a:gd name="T21" fmla="*/ 16 h 29"/>
                <a:gd name="T22" fmla="*/ 37 w 51"/>
                <a:gd name="T23" fmla="*/ 18 h 29"/>
                <a:gd name="T24" fmla="*/ 37 w 51"/>
                <a:gd name="T25" fmla="*/ 18 h 29"/>
                <a:gd name="T26" fmla="*/ 34 w 51"/>
                <a:gd name="T27" fmla="*/ 18 h 29"/>
                <a:gd name="T28" fmla="*/ 20 w 51"/>
                <a:gd name="T29" fmla="*/ 10 h 29"/>
                <a:gd name="T30" fmla="*/ 6 w 51"/>
                <a:gd name="T31" fmla="*/ 19 h 29"/>
                <a:gd name="T32" fmla="*/ 20 w 51"/>
                <a:gd name="T33" fmla="*/ 27 h 29"/>
                <a:gd name="T34" fmla="*/ 20 w 51"/>
                <a:gd name="T35" fmla="*/ 29 h 29"/>
                <a:gd name="T36" fmla="*/ 20 w 51"/>
                <a:gd name="T37" fmla="*/ 29 h 29"/>
                <a:gd name="T38" fmla="*/ 17 w 51"/>
                <a:gd name="T39" fmla="*/ 29 h 29"/>
                <a:gd name="T40" fmla="*/ 1 w 51"/>
                <a:gd name="T4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29">
                  <a:moveTo>
                    <a:pt x="1" y="19"/>
                  </a:moveTo>
                  <a:cubicBezTo>
                    <a:pt x="0" y="19"/>
                    <a:pt x="0" y="18"/>
                    <a:pt x="1" y="18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3" y="0"/>
                    <a:pt x="34" y="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1" y="10"/>
                    <a:pt x="51" y="11"/>
                    <a:pt x="50" y="11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49" y="12"/>
                    <a:pt x="48" y="12"/>
                    <a:pt x="47" y="12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7"/>
                    <a:pt x="38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6" y="19"/>
                    <a:pt x="35" y="19"/>
                    <a:pt x="34" y="18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1" y="27"/>
                    <a:pt x="21" y="28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29"/>
                    <a:pt x="18" y="29"/>
                    <a:pt x="17" y="29"/>
                  </a:cubicBezTo>
                  <a:lnTo>
                    <a:pt x="1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7" name="Freeform 1456">
              <a:extLst>
                <a:ext uri="{FF2B5EF4-FFF2-40B4-BE49-F238E27FC236}">
                  <a16:creationId xmlns:a16="http://schemas.microsoft.com/office/drawing/2014/main" id="{49117797-E109-4482-BE5F-CC513E786E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49236" y="3841020"/>
              <a:ext cx="220870" cy="142292"/>
            </a:xfrm>
            <a:custGeom>
              <a:avLst/>
              <a:gdLst>
                <a:gd name="T0" fmla="*/ 1 w 50"/>
                <a:gd name="T1" fmla="*/ 20 h 32"/>
                <a:gd name="T2" fmla="*/ 1 w 50"/>
                <a:gd name="T3" fmla="*/ 18 h 32"/>
                <a:gd name="T4" fmla="*/ 31 w 50"/>
                <a:gd name="T5" fmla="*/ 1 h 32"/>
                <a:gd name="T6" fmla="*/ 34 w 50"/>
                <a:gd name="T7" fmla="*/ 1 h 32"/>
                <a:gd name="T8" fmla="*/ 44 w 50"/>
                <a:gd name="T9" fmla="*/ 6 h 32"/>
                <a:gd name="T10" fmla="*/ 44 w 50"/>
                <a:gd name="T11" fmla="*/ 18 h 32"/>
                <a:gd name="T12" fmla="*/ 26 w 50"/>
                <a:gd name="T13" fmla="*/ 20 h 32"/>
                <a:gd name="T14" fmla="*/ 24 w 50"/>
                <a:gd name="T15" fmla="*/ 31 h 32"/>
                <a:gd name="T16" fmla="*/ 21 w 50"/>
                <a:gd name="T17" fmla="*/ 32 h 32"/>
                <a:gd name="T18" fmla="*/ 20 w 50"/>
                <a:gd name="T19" fmla="*/ 31 h 32"/>
                <a:gd name="T20" fmla="*/ 19 w 50"/>
                <a:gd name="T21" fmla="*/ 29 h 32"/>
                <a:gd name="T22" fmla="*/ 22 w 50"/>
                <a:gd name="T23" fmla="*/ 17 h 32"/>
                <a:gd name="T24" fmla="*/ 16 w 50"/>
                <a:gd name="T25" fmla="*/ 14 h 32"/>
                <a:gd name="T26" fmla="*/ 4 w 50"/>
                <a:gd name="T27" fmla="*/ 20 h 32"/>
                <a:gd name="T28" fmla="*/ 1 w 50"/>
                <a:gd name="T29" fmla="*/ 20 h 32"/>
                <a:gd name="T30" fmla="*/ 26 w 50"/>
                <a:gd name="T31" fmla="*/ 16 h 32"/>
                <a:gd name="T32" fmla="*/ 40 w 50"/>
                <a:gd name="T33" fmla="*/ 16 h 32"/>
                <a:gd name="T34" fmla="*/ 40 w 50"/>
                <a:gd name="T35" fmla="*/ 8 h 32"/>
                <a:gd name="T36" fmla="*/ 33 w 50"/>
                <a:gd name="T37" fmla="*/ 4 h 32"/>
                <a:gd name="T38" fmla="*/ 19 w 50"/>
                <a:gd name="T39" fmla="*/ 12 h 32"/>
                <a:gd name="T40" fmla="*/ 26 w 50"/>
                <a:gd name="T4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32">
                  <a:moveTo>
                    <a:pt x="1" y="20"/>
                  </a:moveTo>
                  <a:cubicBezTo>
                    <a:pt x="0" y="19"/>
                    <a:pt x="0" y="19"/>
                    <a:pt x="1" y="18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2" y="0"/>
                    <a:pt x="33" y="0"/>
                    <a:pt x="34" y="1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50" y="10"/>
                    <a:pt x="50" y="15"/>
                    <a:pt x="44" y="18"/>
                  </a:cubicBezTo>
                  <a:cubicBezTo>
                    <a:pt x="39" y="21"/>
                    <a:pt x="32" y="22"/>
                    <a:pt x="26" y="2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4" y="32"/>
                    <a:pt x="22" y="32"/>
                    <a:pt x="21" y="32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9" y="31"/>
                    <a:pt x="19" y="30"/>
                    <a:pt x="19" y="29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3" y="21"/>
                    <a:pt x="2" y="21"/>
                    <a:pt x="1" y="20"/>
                  </a:cubicBezTo>
                  <a:close/>
                  <a:moveTo>
                    <a:pt x="26" y="16"/>
                  </a:moveTo>
                  <a:cubicBezTo>
                    <a:pt x="30" y="19"/>
                    <a:pt x="36" y="19"/>
                    <a:pt x="40" y="16"/>
                  </a:cubicBezTo>
                  <a:cubicBezTo>
                    <a:pt x="45" y="14"/>
                    <a:pt x="45" y="11"/>
                    <a:pt x="40" y="8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19" y="12"/>
                    <a:pt x="19" y="12"/>
                    <a:pt x="19" y="12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8" name="Freeform 1457">
              <a:extLst>
                <a:ext uri="{FF2B5EF4-FFF2-40B4-BE49-F238E27FC236}">
                  <a16:creationId xmlns:a16="http://schemas.microsoft.com/office/drawing/2014/main" id="{0E756C6E-B7C5-43A4-BB2B-EA7C8F45B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4269" y="3902608"/>
              <a:ext cx="206005" cy="118930"/>
            </a:xfrm>
            <a:custGeom>
              <a:avLst/>
              <a:gdLst>
                <a:gd name="T0" fmla="*/ 1 w 47"/>
                <a:gd name="T1" fmla="*/ 26 h 27"/>
                <a:gd name="T2" fmla="*/ 1 w 47"/>
                <a:gd name="T3" fmla="*/ 25 h 27"/>
                <a:gd name="T4" fmla="*/ 30 w 47"/>
                <a:gd name="T5" fmla="*/ 8 h 27"/>
                <a:gd name="T6" fmla="*/ 20 w 47"/>
                <a:gd name="T7" fmla="*/ 3 h 27"/>
                <a:gd name="T8" fmla="*/ 20 w 47"/>
                <a:gd name="T9" fmla="*/ 1 h 27"/>
                <a:gd name="T10" fmla="*/ 20 w 47"/>
                <a:gd name="T11" fmla="*/ 1 h 27"/>
                <a:gd name="T12" fmla="*/ 23 w 47"/>
                <a:gd name="T13" fmla="*/ 1 h 27"/>
                <a:gd name="T14" fmla="*/ 46 w 47"/>
                <a:gd name="T15" fmla="*/ 14 h 27"/>
                <a:gd name="T16" fmla="*/ 46 w 47"/>
                <a:gd name="T17" fmla="*/ 16 h 27"/>
                <a:gd name="T18" fmla="*/ 46 w 47"/>
                <a:gd name="T19" fmla="*/ 16 h 27"/>
                <a:gd name="T20" fmla="*/ 43 w 47"/>
                <a:gd name="T21" fmla="*/ 16 h 27"/>
                <a:gd name="T22" fmla="*/ 33 w 47"/>
                <a:gd name="T23" fmla="*/ 10 h 27"/>
                <a:gd name="T24" fmla="*/ 5 w 47"/>
                <a:gd name="T25" fmla="*/ 27 h 27"/>
                <a:gd name="T26" fmla="*/ 2 w 47"/>
                <a:gd name="T27" fmla="*/ 27 h 27"/>
                <a:gd name="T28" fmla="*/ 1 w 47"/>
                <a:gd name="T2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27">
                  <a:moveTo>
                    <a:pt x="1" y="26"/>
                  </a:moveTo>
                  <a:cubicBezTo>
                    <a:pt x="0" y="26"/>
                    <a:pt x="0" y="25"/>
                    <a:pt x="1" y="25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2"/>
                    <a:pt x="19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0"/>
                    <a:pt x="22" y="0"/>
                    <a:pt x="23" y="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7" y="14"/>
                    <a:pt x="47" y="15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5" y="16"/>
                    <a:pt x="44" y="16"/>
                    <a:pt x="43" y="16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lnTo>
                    <a:pt x="1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9" name="Freeform 1458">
              <a:extLst>
                <a:ext uri="{FF2B5EF4-FFF2-40B4-BE49-F238E27FC236}">
                  <a16:creationId xmlns:a16="http://schemas.microsoft.com/office/drawing/2014/main" id="{F04F686E-C628-42C4-AAE9-F410A13DB1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67823" y="5117395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0" name="Freeform 1459">
              <a:extLst>
                <a:ext uri="{FF2B5EF4-FFF2-40B4-BE49-F238E27FC236}">
                  <a16:creationId xmlns:a16="http://schemas.microsoft.com/office/drawing/2014/main" id="{FCFFEAC1-D79D-494C-A29E-2DCBA4DADF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25165" y="508553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1" name="Freeform 1460">
              <a:extLst>
                <a:ext uri="{FF2B5EF4-FFF2-40B4-BE49-F238E27FC236}">
                  <a16:creationId xmlns:a16="http://schemas.microsoft.com/office/drawing/2014/main" id="{184EFA69-0D39-44B4-8502-C8FFDFD17C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8258" y="505580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2" name="Freeform 1461">
              <a:extLst>
                <a:ext uri="{FF2B5EF4-FFF2-40B4-BE49-F238E27FC236}">
                  <a16:creationId xmlns:a16="http://schemas.microsoft.com/office/drawing/2014/main" id="{4A96C02E-CF4B-416E-B275-1E3C1B623C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35600" y="5023950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3" name="Freeform 1462">
              <a:extLst>
                <a:ext uri="{FF2B5EF4-FFF2-40B4-BE49-F238E27FC236}">
                  <a16:creationId xmlns:a16="http://schemas.microsoft.com/office/drawing/2014/main" id="{1978C3FC-F0CB-465A-80B9-B1C39D4D7E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88693" y="499421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4" name="Freeform 1463">
              <a:extLst>
                <a:ext uri="{FF2B5EF4-FFF2-40B4-BE49-F238E27FC236}">
                  <a16:creationId xmlns:a16="http://schemas.microsoft.com/office/drawing/2014/main" id="{C2734DB5-B66B-461D-A5BA-3F32FBC7EE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46035" y="495811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5" name="Freeform 1464">
              <a:extLst>
                <a:ext uri="{FF2B5EF4-FFF2-40B4-BE49-F238E27FC236}">
                  <a16:creationId xmlns:a16="http://schemas.microsoft.com/office/drawing/2014/main" id="{D58370E3-BC57-4728-B852-C124457FB8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57387" y="518323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6" name="Freeform 1465">
              <a:extLst>
                <a:ext uri="{FF2B5EF4-FFF2-40B4-BE49-F238E27FC236}">
                  <a16:creationId xmlns:a16="http://schemas.microsoft.com/office/drawing/2014/main" id="{962EC398-D4E5-41A5-91BC-67FC4BCF88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14729" y="5153499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7" name="Freeform 1466">
              <a:extLst>
                <a:ext uri="{FF2B5EF4-FFF2-40B4-BE49-F238E27FC236}">
                  <a16:creationId xmlns:a16="http://schemas.microsoft.com/office/drawing/2014/main" id="{273DC17C-45DA-49FB-B71A-0F87F125E2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46952" y="5183232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8" name="Freeform 1467">
              <a:extLst>
                <a:ext uri="{FF2B5EF4-FFF2-40B4-BE49-F238E27FC236}">
                  <a16:creationId xmlns:a16="http://schemas.microsoft.com/office/drawing/2014/main" id="{8D6AFED1-1D5A-4CA4-97ED-89FE05ED15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14729" y="508553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9" name="Freeform 1468">
              <a:extLst>
                <a:ext uri="{FF2B5EF4-FFF2-40B4-BE49-F238E27FC236}">
                  <a16:creationId xmlns:a16="http://schemas.microsoft.com/office/drawing/2014/main" id="{B9694669-DCFE-4D4A-A3EE-63B59EC2AA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67823" y="505580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0" name="Freeform 1469">
              <a:extLst>
                <a:ext uri="{FF2B5EF4-FFF2-40B4-BE49-F238E27FC236}">
                  <a16:creationId xmlns:a16="http://schemas.microsoft.com/office/drawing/2014/main" id="{6358619E-D3AC-4781-AA68-74E31E5F7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25165" y="502395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1" name="Freeform 1470">
              <a:extLst>
                <a:ext uri="{FF2B5EF4-FFF2-40B4-BE49-F238E27FC236}">
                  <a16:creationId xmlns:a16="http://schemas.microsoft.com/office/drawing/2014/main" id="{7D9B56EA-A4D6-4AD4-851E-273A4BDD14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8258" y="499421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2" name="Freeform 1471">
              <a:extLst>
                <a:ext uri="{FF2B5EF4-FFF2-40B4-BE49-F238E27FC236}">
                  <a16:creationId xmlns:a16="http://schemas.microsoft.com/office/drawing/2014/main" id="{795E9739-C4FD-488D-AC46-DBEE519D97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35600" y="495811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3" name="Freeform 1472">
              <a:extLst>
                <a:ext uri="{FF2B5EF4-FFF2-40B4-BE49-F238E27FC236}">
                  <a16:creationId xmlns:a16="http://schemas.microsoft.com/office/drawing/2014/main" id="{7DC2F018-6331-418A-A913-784A136B1E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88693" y="492838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1 w 8"/>
                <a:gd name="T5" fmla="*/ 4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4" name="Freeform 1473">
              <a:extLst>
                <a:ext uri="{FF2B5EF4-FFF2-40B4-BE49-F238E27FC236}">
                  <a16:creationId xmlns:a16="http://schemas.microsoft.com/office/drawing/2014/main" id="{D2925220-0CC3-4AD7-A196-D45026D27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04294" y="5153499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5" name="Freeform 1474">
              <a:extLst>
                <a:ext uri="{FF2B5EF4-FFF2-40B4-BE49-F238E27FC236}">
                  <a16:creationId xmlns:a16="http://schemas.microsoft.com/office/drawing/2014/main" id="{F760BD27-A894-4B80-8F5D-55263DB62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57387" y="5117395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6" name="Freeform 1475">
              <a:extLst>
                <a:ext uri="{FF2B5EF4-FFF2-40B4-BE49-F238E27FC236}">
                  <a16:creationId xmlns:a16="http://schemas.microsoft.com/office/drawing/2014/main" id="{828EEC3A-B44F-4A5E-9CE0-A0DCEDADED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04294" y="508553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7" name="Freeform 1476">
              <a:extLst>
                <a:ext uri="{FF2B5EF4-FFF2-40B4-BE49-F238E27FC236}">
                  <a16:creationId xmlns:a16="http://schemas.microsoft.com/office/drawing/2014/main" id="{3E1935BF-6A37-4C61-8CCB-AA548291B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57387" y="505580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8" name="Freeform 1477">
              <a:extLst>
                <a:ext uri="{FF2B5EF4-FFF2-40B4-BE49-F238E27FC236}">
                  <a16:creationId xmlns:a16="http://schemas.microsoft.com/office/drawing/2014/main" id="{2310D827-8BE5-4A07-8A47-E38D9FFEA1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14729" y="502395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9" name="Freeform 1478">
              <a:extLst>
                <a:ext uri="{FF2B5EF4-FFF2-40B4-BE49-F238E27FC236}">
                  <a16:creationId xmlns:a16="http://schemas.microsoft.com/office/drawing/2014/main" id="{E59DCCF1-482B-48CD-B42F-9C97AD0763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67823" y="499421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0" name="Freeform 1479">
              <a:extLst>
                <a:ext uri="{FF2B5EF4-FFF2-40B4-BE49-F238E27FC236}">
                  <a16:creationId xmlns:a16="http://schemas.microsoft.com/office/drawing/2014/main" id="{3AF4BCC9-13A7-42C2-A6D0-C803DA3BFD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25165" y="495811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1" name="Freeform 1480">
              <a:extLst>
                <a:ext uri="{FF2B5EF4-FFF2-40B4-BE49-F238E27FC236}">
                  <a16:creationId xmlns:a16="http://schemas.microsoft.com/office/drawing/2014/main" id="{280D3BFC-A858-4563-9549-FF0EB9FC69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8258" y="492838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2" name="Freeform 1481">
              <a:extLst>
                <a:ext uri="{FF2B5EF4-FFF2-40B4-BE49-F238E27FC236}">
                  <a16:creationId xmlns:a16="http://schemas.microsoft.com/office/drawing/2014/main" id="{8EB90FDC-2D0A-4C23-A3E7-A9FEA4B868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35600" y="489652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3" name="Freeform 1482">
              <a:extLst>
                <a:ext uri="{FF2B5EF4-FFF2-40B4-BE49-F238E27FC236}">
                  <a16:creationId xmlns:a16="http://schemas.microsoft.com/office/drawing/2014/main" id="{025DA6BE-B1D3-433F-AD0C-3545E42F10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3859" y="5153499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4" name="Freeform 1483">
              <a:extLst>
                <a:ext uri="{FF2B5EF4-FFF2-40B4-BE49-F238E27FC236}">
                  <a16:creationId xmlns:a16="http://schemas.microsoft.com/office/drawing/2014/main" id="{8CC06F04-EB2D-40DC-ACAF-C9FCDBDF06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46952" y="5117395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5" name="Freeform 1484">
              <a:extLst>
                <a:ext uri="{FF2B5EF4-FFF2-40B4-BE49-F238E27FC236}">
                  <a16:creationId xmlns:a16="http://schemas.microsoft.com/office/drawing/2014/main" id="{225238F6-1D13-4ED3-B151-5EE5EEF73C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46952" y="505580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6" name="Freeform 1485">
              <a:extLst>
                <a:ext uri="{FF2B5EF4-FFF2-40B4-BE49-F238E27FC236}">
                  <a16:creationId xmlns:a16="http://schemas.microsoft.com/office/drawing/2014/main" id="{11008974-04F4-4EBE-855B-5087B69115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04294" y="502395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7" name="Freeform 1486">
              <a:extLst>
                <a:ext uri="{FF2B5EF4-FFF2-40B4-BE49-F238E27FC236}">
                  <a16:creationId xmlns:a16="http://schemas.microsoft.com/office/drawing/2014/main" id="{BE053F38-BB48-440D-AF24-77A011AC49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57387" y="499421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8" name="Freeform 1487">
              <a:extLst>
                <a:ext uri="{FF2B5EF4-FFF2-40B4-BE49-F238E27FC236}">
                  <a16:creationId xmlns:a16="http://schemas.microsoft.com/office/drawing/2014/main" id="{72E314E3-4A11-44A4-8E5C-ECFAE7BD9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14729" y="495811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9" name="Freeform 1488">
              <a:extLst>
                <a:ext uri="{FF2B5EF4-FFF2-40B4-BE49-F238E27FC236}">
                  <a16:creationId xmlns:a16="http://schemas.microsoft.com/office/drawing/2014/main" id="{8AA4A78C-062C-49AA-9DDA-CBD047A6C5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67823" y="492838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0" name="Freeform 1489">
              <a:extLst>
                <a:ext uri="{FF2B5EF4-FFF2-40B4-BE49-F238E27FC236}">
                  <a16:creationId xmlns:a16="http://schemas.microsoft.com/office/drawing/2014/main" id="{8B4FF539-7159-4188-A2F4-17092B58E0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25165" y="489652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1" name="Freeform 1490">
              <a:extLst>
                <a:ext uri="{FF2B5EF4-FFF2-40B4-BE49-F238E27FC236}">
                  <a16:creationId xmlns:a16="http://schemas.microsoft.com/office/drawing/2014/main" id="{FD6332BC-5A24-4374-9134-9656A01067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8258" y="4864669"/>
              <a:ext cx="33980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2" name="Freeform 1491">
              <a:extLst>
                <a:ext uri="{FF2B5EF4-FFF2-40B4-BE49-F238E27FC236}">
                  <a16:creationId xmlns:a16="http://schemas.microsoft.com/office/drawing/2014/main" id="{BF636429-29DA-411B-9BCC-D111C03447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36517" y="5117395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3" name="Freeform 1492">
              <a:extLst>
                <a:ext uri="{FF2B5EF4-FFF2-40B4-BE49-F238E27FC236}">
                  <a16:creationId xmlns:a16="http://schemas.microsoft.com/office/drawing/2014/main" id="{24A5BDFB-4AD0-49EC-82C2-B9DF13554E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3859" y="508553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4" name="Freeform 1493">
              <a:extLst>
                <a:ext uri="{FF2B5EF4-FFF2-40B4-BE49-F238E27FC236}">
                  <a16:creationId xmlns:a16="http://schemas.microsoft.com/office/drawing/2014/main" id="{F20BCAA7-50C0-43F8-98B4-1DB9AC29E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3859" y="502395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5" name="Freeform 1494">
              <a:extLst>
                <a:ext uri="{FF2B5EF4-FFF2-40B4-BE49-F238E27FC236}">
                  <a16:creationId xmlns:a16="http://schemas.microsoft.com/office/drawing/2014/main" id="{F69FD3FC-746F-4E32-AA6C-9D984DB84E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246952" y="499421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6" name="Freeform 1495">
              <a:extLst>
                <a:ext uri="{FF2B5EF4-FFF2-40B4-BE49-F238E27FC236}">
                  <a16:creationId xmlns:a16="http://schemas.microsoft.com/office/drawing/2014/main" id="{040BAA60-739F-4B1B-88FE-43E476644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04294" y="495811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7" name="Freeform 1496">
              <a:extLst>
                <a:ext uri="{FF2B5EF4-FFF2-40B4-BE49-F238E27FC236}">
                  <a16:creationId xmlns:a16="http://schemas.microsoft.com/office/drawing/2014/main" id="{F0347734-06F3-45CB-9819-4BD6E7FE3A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57387" y="492838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8" name="Freeform 1497">
              <a:extLst>
                <a:ext uri="{FF2B5EF4-FFF2-40B4-BE49-F238E27FC236}">
                  <a16:creationId xmlns:a16="http://schemas.microsoft.com/office/drawing/2014/main" id="{71F613B5-DA60-41C5-83DA-252EEBAE2B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14729" y="489652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9" name="Freeform 1498">
              <a:extLst>
                <a:ext uri="{FF2B5EF4-FFF2-40B4-BE49-F238E27FC236}">
                  <a16:creationId xmlns:a16="http://schemas.microsoft.com/office/drawing/2014/main" id="{9A4F0CA6-F170-4504-8406-08CEAF48BF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467823" y="4864669"/>
              <a:ext cx="33980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0" name="Freeform 1499">
              <a:extLst>
                <a:ext uri="{FF2B5EF4-FFF2-40B4-BE49-F238E27FC236}">
                  <a16:creationId xmlns:a16="http://schemas.microsoft.com/office/drawing/2014/main" id="{7C616F3B-5A14-4837-B642-CF2500535E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25165" y="4830689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1" name="Freeform 1500">
              <a:extLst>
                <a:ext uri="{FF2B5EF4-FFF2-40B4-BE49-F238E27FC236}">
                  <a16:creationId xmlns:a16="http://schemas.microsoft.com/office/drawing/2014/main" id="{37C4A103-6976-4CEF-88A7-34B30B5BA8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36517" y="5055807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2" name="Freeform 1501">
              <a:extLst>
                <a:ext uri="{FF2B5EF4-FFF2-40B4-BE49-F238E27FC236}">
                  <a16:creationId xmlns:a16="http://schemas.microsoft.com/office/drawing/2014/main" id="{E9D1320D-D991-473F-87CD-1A9A22F98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99128" y="4928382"/>
              <a:ext cx="33980" cy="21238"/>
            </a:xfrm>
            <a:custGeom>
              <a:avLst/>
              <a:gdLst>
                <a:gd name="T0" fmla="*/ 2 w 8"/>
                <a:gd name="T1" fmla="*/ 1 h 5"/>
                <a:gd name="T2" fmla="*/ 6 w 8"/>
                <a:gd name="T3" fmla="*/ 1 h 5"/>
                <a:gd name="T4" fmla="*/ 6 w 8"/>
                <a:gd name="T5" fmla="*/ 4 h 5"/>
                <a:gd name="T6" fmla="*/ 2 w 8"/>
                <a:gd name="T7" fmla="*/ 4 h 5"/>
                <a:gd name="T8" fmla="*/ 2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3" name="Freeform 1502">
              <a:extLst>
                <a:ext uri="{FF2B5EF4-FFF2-40B4-BE49-F238E27FC236}">
                  <a16:creationId xmlns:a16="http://schemas.microsoft.com/office/drawing/2014/main" id="{5182EA3B-A4EE-4B88-9777-72FDA64D70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56470" y="489652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4" name="Freeform 1503">
              <a:extLst>
                <a:ext uri="{FF2B5EF4-FFF2-40B4-BE49-F238E27FC236}">
                  <a16:creationId xmlns:a16="http://schemas.microsoft.com/office/drawing/2014/main" id="{DA9FBE45-92A1-4511-9656-8609FE0CF1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46035" y="4896525"/>
              <a:ext cx="29733" cy="16990"/>
            </a:xfrm>
            <a:custGeom>
              <a:avLst/>
              <a:gdLst>
                <a:gd name="T0" fmla="*/ 1 w 7"/>
                <a:gd name="T1" fmla="*/ 1 h 4"/>
                <a:gd name="T2" fmla="*/ 6 w 7"/>
                <a:gd name="T3" fmla="*/ 1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1"/>
                  </a:moveTo>
                  <a:cubicBezTo>
                    <a:pt x="2" y="0"/>
                    <a:pt x="5" y="0"/>
                    <a:pt x="6" y="1"/>
                  </a:cubicBez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5" name="Freeform 1504">
              <a:extLst>
                <a:ext uri="{FF2B5EF4-FFF2-40B4-BE49-F238E27FC236}">
                  <a16:creationId xmlns:a16="http://schemas.microsoft.com/office/drawing/2014/main" id="{5749AAD3-EB79-4A29-B5EB-0414773641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99128" y="4864669"/>
              <a:ext cx="33980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6" name="Freeform 1505">
              <a:extLst>
                <a:ext uri="{FF2B5EF4-FFF2-40B4-BE49-F238E27FC236}">
                  <a16:creationId xmlns:a16="http://schemas.microsoft.com/office/drawing/2014/main" id="{F9DF403E-3911-4CF1-A35E-E50D820985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56470" y="483493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7" name="Freeform 1506">
              <a:extLst>
                <a:ext uri="{FF2B5EF4-FFF2-40B4-BE49-F238E27FC236}">
                  <a16:creationId xmlns:a16="http://schemas.microsoft.com/office/drawing/2014/main" id="{DFA65D24-1735-46FF-9A9D-4D6EDA5C61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88693" y="4864669"/>
              <a:ext cx="33980" cy="19114"/>
            </a:xfrm>
            <a:custGeom>
              <a:avLst/>
              <a:gdLst>
                <a:gd name="T0" fmla="*/ 2 w 8"/>
                <a:gd name="T1" fmla="*/ 1 h 4"/>
                <a:gd name="T2" fmla="*/ 6 w 8"/>
                <a:gd name="T3" fmla="*/ 1 h 4"/>
                <a:gd name="T4" fmla="*/ 6 w 8"/>
                <a:gd name="T5" fmla="*/ 3 h 4"/>
                <a:gd name="T6" fmla="*/ 2 w 8"/>
                <a:gd name="T7" fmla="*/ 3 h 4"/>
                <a:gd name="T8" fmla="*/ 2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8" name="Freeform 1507">
              <a:extLst>
                <a:ext uri="{FF2B5EF4-FFF2-40B4-BE49-F238E27FC236}">
                  <a16:creationId xmlns:a16="http://schemas.microsoft.com/office/drawing/2014/main" id="{85EA934E-8ED1-499F-A61B-81C13CB8CC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46035" y="483493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9" name="Freeform 1508">
              <a:extLst>
                <a:ext uri="{FF2B5EF4-FFF2-40B4-BE49-F238E27FC236}">
                  <a16:creationId xmlns:a16="http://schemas.microsoft.com/office/drawing/2014/main" id="{910F0885-C252-41F6-BAF2-9D7799F783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99128" y="4798832"/>
              <a:ext cx="33980" cy="23362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0" name="Freeform 1509">
              <a:extLst>
                <a:ext uri="{FF2B5EF4-FFF2-40B4-BE49-F238E27FC236}">
                  <a16:creationId xmlns:a16="http://schemas.microsoft.com/office/drawing/2014/main" id="{7DB1B819-B198-4360-8BA1-42350A9944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35600" y="4834936"/>
              <a:ext cx="29733" cy="16990"/>
            </a:xfrm>
            <a:custGeom>
              <a:avLst/>
              <a:gdLst>
                <a:gd name="T0" fmla="*/ 1 w 7"/>
                <a:gd name="T1" fmla="*/ 0 h 4"/>
                <a:gd name="T2" fmla="*/ 6 w 7"/>
                <a:gd name="T3" fmla="*/ 0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2" y="0"/>
                    <a:pt x="5" y="0"/>
                    <a:pt x="6" y="0"/>
                  </a:cubicBez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1" name="Freeform 1510">
              <a:extLst>
                <a:ext uri="{FF2B5EF4-FFF2-40B4-BE49-F238E27FC236}">
                  <a16:creationId xmlns:a16="http://schemas.microsoft.com/office/drawing/2014/main" id="{DEE62CB1-95B4-430C-879C-39F54BEB55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88693" y="4798832"/>
              <a:ext cx="33980" cy="23362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2" name="Freeform 1511">
              <a:extLst>
                <a:ext uri="{FF2B5EF4-FFF2-40B4-BE49-F238E27FC236}">
                  <a16:creationId xmlns:a16="http://schemas.microsoft.com/office/drawing/2014/main" id="{E2315144-B311-44E5-A49F-D5A53079D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46035" y="4769099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3" name="Freeform 1512">
              <a:extLst>
                <a:ext uri="{FF2B5EF4-FFF2-40B4-BE49-F238E27FC236}">
                  <a16:creationId xmlns:a16="http://schemas.microsoft.com/office/drawing/2014/main" id="{CA7DD1B3-9086-4713-BF94-8EFFB6C099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78258" y="4798832"/>
              <a:ext cx="33980" cy="23362"/>
            </a:xfrm>
            <a:custGeom>
              <a:avLst/>
              <a:gdLst>
                <a:gd name="T0" fmla="*/ 2 w 8"/>
                <a:gd name="T1" fmla="*/ 1 h 5"/>
                <a:gd name="T2" fmla="*/ 6 w 8"/>
                <a:gd name="T3" fmla="*/ 1 h 5"/>
                <a:gd name="T4" fmla="*/ 6 w 8"/>
                <a:gd name="T5" fmla="*/ 4 h 5"/>
                <a:gd name="T6" fmla="*/ 2 w 8"/>
                <a:gd name="T7" fmla="*/ 4 h 5"/>
                <a:gd name="T8" fmla="*/ 2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4" name="Freeform 1513">
              <a:extLst>
                <a:ext uri="{FF2B5EF4-FFF2-40B4-BE49-F238E27FC236}">
                  <a16:creationId xmlns:a16="http://schemas.microsoft.com/office/drawing/2014/main" id="{91178C0D-5596-4849-9BF3-31999782A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35600" y="4769099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5" name="Freeform 1514">
              <a:extLst>
                <a:ext uri="{FF2B5EF4-FFF2-40B4-BE49-F238E27FC236}">
                  <a16:creationId xmlns:a16="http://schemas.microsoft.com/office/drawing/2014/main" id="{02EE3F2C-AE9C-4C10-BB2B-EC281A7B0E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09459" y="3131687"/>
              <a:ext cx="1244519" cy="1830675"/>
            </a:xfrm>
            <a:custGeom>
              <a:avLst/>
              <a:gdLst>
                <a:gd name="T0" fmla="*/ 20 w 282"/>
                <a:gd name="T1" fmla="*/ 128 h 415"/>
                <a:gd name="T2" fmla="*/ 130 w 282"/>
                <a:gd name="T3" fmla="*/ 16 h 415"/>
                <a:gd name="T4" fmla="*/ 240 w 282"/>
                <a:gd name="T5" fmla="*/ 2 h 415"/>
                <a:gd name="T6" fmla="*/ 253 w 282"/>
                <a:gd name="T7" fmla="*/ 3 h 415"/>
                <a:gd name="T8" fmla="*/ 282 w 282"/>
                <a:gd name="T9" fmla="*/ 20 h 415"/>
                <a:gd name="T10" fmla="*/ 260 w 282"/>
                <a:gd name="T11" fmla="*/ 67 h 415"/>
                <a:gd name="T12" fmla="*/ 260 w 282"/>
                <a:gd name="T13" fmla="*/ 141 h 415"/>
                <a:gd name="T14" fmla="*/ 188 w 282"/>
                <a:gd name="T15" fmla="*/ 332 h 415"/>
                <a:gd name="T16" fmla="*/ 130 w 282"/>
                <a:gd name="T17" fmla="*/ 412 h 415"/>
                <a:gd name="T18" fmla="*/ 99 w 282"/>
                <a:gd name="T19" fmla="*/ 407 h 415"/>
                <a:gd name="T20" fmla="*/ 93 w 282"/>
                <a:gd name="T21" fmla="*/ 410 h 415"/>
                <a:gd name="T22" fmla="*/ 68 w 282"/>
                <a:gd name="T23" fmla="*/ 395 h 415"/>
                <a:gd name="T24" fmla="*/ 55 w 282"/>
                <a:gd name="T25" fmla="*/ 388 h 415"/>
                <a:gd name="T26" fmla="*/ 54 w 282"/>
                <a:gd name="T27" fmla="*/ 388 h 415"/>
                <a:gd name="T28" fmla="*/ 54 w 282"/>
                <a:gd name="T29" fmla="*/ 388 h 415"/>
                <a:gd name="T30" fmla="*/ 0 w 282"/>
                <a:gd name="T31" fmla="*/ 290 h 415"/>
                <a:gd name="T32" fmla="*/ 0 w 282"/>
                <a:gd name="T33" fmla="*/ 167 h 415"/>
                <a:gd name="T34" fmla="*/ 20 w 282"/>
                <a:gd name="T35" fmla="*/ 128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415">
                  <a:moveTo>
                    <a:pt x="20" y="128"/>
                  </a:moveTo>
                  <a:cubicBezTo>
                    <a:pt x="130" y="16"/>
                    <a:pt x="130" y="16"/>
                    <a:pt x="130" y="16"/>
                  </a:cubicBezTo>
                  <a:cubicBezTo>
                    <a:pt x="240" y="2"/>
                    <a:pt x="240" y="2"/>
                    <a:pt x="240" y="2"/>
                  </a:cubicBezTo>
                  <a:cubicBezTo>
                    <a:pt x="246" y="0"/>
                    <a:pt x="250" y="1"/>
                    <a:pt x="253" y="3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60" y="67"/>
                    <a:pt x="260" y="67"/>
                    <a:pt x="260" y="67"/>
                  </a:cubicBezTo>
                  <a:cubicBezTo>
                    <a:pt x="260" y="141"/>
                    <a:pt x="260" y="141"/>
                    <a:pt x="260" y="141"/>
                  </a:cubicBezTo>
                  <a:cubicBezTo>
                    <a:pt x="260" y="141"/>
                    <a:pt x="248" y="238"/>
                    <a:pt x="188" y="332"/>
                  </a:cubicBezTo>
                  <a:cubicBezTo>
                    <a:pt x="140" y="406"/>
                    <a:pt x="130" y="412"/>
                    <a:pt x="130" y="412"/>
                  </a:cubicBezTo>
                  <a:cubicBezTo>
                    <a:pt x="130" y="412"/>
                    <a:pt x="125" y="415"/>
                    <a:pt x="99" y="407"/>
                  </a:cubicBezTo>
                  <a:cubicBezTo>
                    <a:pt x="93" y="410"/>
                    <a:pt x="93" y="410"/>
                    <a:pt x="93" y="410"/>
                  </a:cubicBezTo>
                  <a:cubicBezTo>
                    <a:pt x="68" y="395"/>
                    <a:pt x="68" y="395"/>
                    <a:pt x="68" y="395"/>
                  </a:cubicBezTo>
                  <a:cubicBezTo>
                    <a:pt x="63" y="393"/>
                    <a:pt x="59" y="391"/>
                    <a:pt x="55" y="388"/>
                  </a:cubicBezTo>
                  <a:cubicBezTo>
                    <a:pt x="54" y="388"/>
                    <a:pt x="54" y="388"/>
                    <a:pt x="54" y="388"/>
                  </a:cubicBezTo>
                  <a:cubicBezTo>
                    <a:pt x="54" y="388"/>
                    <a:pt x="54" y="388"/>
                    <a:pt x="54" y="388"/>
                  </a:cubicBezTo>
                  <a:cubicBezTo>
                    <a:pt x="9" y="356"/>
                    <a:pt x="0" y="290"/>
                    <a:pt x="0" y="290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54"/>
                    <a:pt x="8" y="138"/>
                    <a:pt x="20" y="12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6" name="Freeform 1515">
              <a:extLst>
                <a:ext uri="{FF2B5EF4-FFF2-40B4-BE49-F238E27FC236}">
                  <a16:creationId xmlns:a16="http://schemas.microsoft.com/office/drawing/2014/main" id="{D2B309D1-82A3-42F2-A1AA-3F7DE7F1B0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13707" y="3178409"/>
              <a:ext cx="1244519" cy="1414419"/>
            </a:xfrm>
            <a:custGeom>
              <a:avLst/>
              <a:gdLst>
                <a:gd name="T0" fmla="*/ 282 w 282"/>
                <a:gd name="T1" fmla="*/ 20 h 320"/>
                <a:gd name="T2" fmla="*/ 253 w 282"/>
                <a:gd name="T3" fmla="*/ 3 h 320"/>
                <a:gd name="T4" fmla="*/ 240 w 282"/>
                <a:gd name="T5" fmla="*/ 1 h 320"/>
                <a:gd name="T6" fmla="*/ 129 w 282"/>
                <a:gd name="T7" fmla="*/ 16 h 320"/>
                <a:gd name="T8" fmla="*/ 19 w 282"/>
                <a:gd name="T9" fmla="*/ 128 h 320"/>
                <a:gd name="T10" fmla="*/ 0 w 282"/>
                <a:gd name="T11" fmla="*/ 167 h 320"/>
                <a:gd name="T12" fmla="*/ 0 w 282"/>
                <a:gd name="T13" fmla="*/ 188 h 320"/>
                <a:gd name="T14" fmla="*/ 118 w 282"/>
                <a:gd name="T15" fmla="*/ 257 h 320"/>
                <a:gd name="T16" fmla="*/ 131 w 282"/>
                <a:gd name="T17" fmla="*/ 258 h 320"/>
                <a:gd name="T18" fmla="*/ 137 w 282"/>
                <a:gd name="T19" fmla="*/ 262 h 320"/>
                <a:gd name="T20" fmla="*/ 92 w 282"/>
                <a:gd name="T21" fmla="*/ 217 h 320"/>
                <a:gd name="T22" fmla="*/ 160 w 282"/>
                <a:gd name="T23" fmla="*/ 275 h 320"/>
                <a:gd name="T24" fmla="*/ 137 w 282"/>
                <a:gd name="T25" fmla="*/ 262 h 320"/>
                <a:gd name="T26" fmla="*/ 195 w 282"/>
                <a:gd name="T27" fmla="*/ 320 h 320"/>
                <a:gd name="T28" fmla="*/ 260 w 282"/>
                <a:gd name="T29" fmla="*/ 141 h 320"/>
                <a:gd name="T30" fmla="*/ 260 w 282"/>
                <a:gd name="T31" fmla="*/ 67 h 320"/>
                <a:gd name="T32" fmla="*/ 282 w 282"/>
                <a:gd name="T33" fmla="*/ 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2" h="320">
                  <a:moveTo>
                    <a:pt x="282" y="20"/>
                  </a:moveTo>
                  <a:cubicBezTo>
                    <a:pt x="253" y="3"/>
                    <a:pt x="253" y="3"/>
                    <a:pt x="253" y="3"/>
                  </a:cubicBezTo>
                  <a:cubicBezTo>
                    <a:pt x="249" y="1"/>
                    <a:pt x="245" y="0"/>
                    <a:pt x="240" y="1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9" y="128"/>
                    <a:pt x="19" y="128"/>
                    <a:pt x="19" y="128"/>
                  </a:cubicBezTo>
                  <a:cubicBezTo>
                    <a:pt x="8" y="138"/>
                    <a:pt x="0" y="154"/>
                    <a:pt x="0" y="167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118" y="257"/>
                    <a:pt x="118" y="257"/>
                    <a:pt x="118" y="257"/>
                  </a:cubicBezTo>
                  <a:cubicBezTo>
                    <a:pt x="123" y="256"/>
                    <a:pt x="128" y="256"/>
                    <a:pt x="131" y="258"/>
                  </a:cubicBezTo>
                  <a:cubicBezTo>
                    <a:pt x="137" y="262"/>
                    <a:pt x="137" y="262"/>
                    <a:pt x="137" y="262"/>
                  </a:cubicBezTo>
                  <a:cubicBezTo>
                    <a:pt x="92" y="217"/>
                    <a:pt x="92" y="217"/>
                    <a:pt x="92" y="217"/>
                  </a:cubicBezTo>
                  <a:cubicBezTo>
                    <a:pt x="160" y="275"/>
                    <a:pt x="160" y="275"/>
                    <a:pt x="160" y="275"/>
                  </a:cubicBezTo>
                  <a:cubicBezTo>
                    <a:pt x="137" y="262"/>
                    <a:pt x="137" y="262"/>
                    <a:pt x="137" y="262"/>
                  </a:cubicBezTo>
                  <a:cubicBezTo>
                    <a:pt x="195" y="320"/>
                    <a:pt x="195" y="320"/>
                    <a:pt x="195" y="320"/>
                  </a:cubicBezTo>
                  <a:cubicBezTo>
                    <a:pt x="249" y="230"/>
                    <a:pt x="260" y="141"/>
                    <a:pt x="260" y="141"/>
                  </a:cubicBezTo>
                  <a:cubicBezTo>
                    <a:pt x="260" y="67"/>
                    <a:pt x="260" y="67"/>
                    <a:pt x="260" y="67"/>
                  </a:cubicBezTo>
                  <a:lnTo>
                    <a:pt x="282" y="2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7" name="Freeform 1516">
              <a:extLst>
                <a:ext uri="{FF2B5EF4-FFF2-40B4-BE49-F238E27FC236}">
                  <a16:creationId xmlns:a16="http://schemas.microsoft.com/office/drawing/2014/main" id="{3FAA2A23-8A4F-441A-9627-683ECCB0AA5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796717" y="3116820"/>
              <a:ext cx="1276376" cy="1845542"/>
            </a:xfrm>
            <a:custGeom>
              <a:avLst/>
              <a:gdLst>
                <a:gd name="T0" fmla="*/ 129 w 289"/>
                <a:gd name="T1" fmla="*/ 418 h 418"/>
                <a:gd name="T2" fmla="*/ 103 w 289"/>
                <a:gd name="T3" fmla="*/ 413 h 418"/>
                <a:gd name="T4" fmla="*/ 96 w 289"/>
                <a:gd name="T5" fmla="*/ 416 h 418"/>
                <a:gd name="T6" fmla="*/ 69 w 289"/>
                <a:gd name="T7" fmla="*/ 401 h 418"/>
                <a:gd name="T8" fmla="*/ 56 w 289"/>
                <a:gd name="T9" fmla="*/ 394 h 418"/>
                <a:gd name="T10" fmla="*/ 55 w 289"/>
                <a:gd name="T11" fmla="*/ 393 h 418"/>
                <a:gd name="T12" fmla="*/ 0 w 289"/>
                <a:gd name="T13" fmla="*/ 294 h 418"/>
                <a:gd name="T14" fmla="*/ 0 w 289"/>
                <a:gd name="T15" fmla="*/ 170 h 418"/>
                <a:gd name="T16" fmla="*/ 21 w 289"/>
                <a:gd name="T17" fmla="*/ 129 h 418"/>
                <a:gd name="T18" fmla="*/ 132 w 289"/>
                <a:gd name="T19" fmla="*/ 16 h 418"/>
                <a:gd name="T20" fmla="*/ 243 w 289"/>
                <a:gd name="T21" fmla="*/ 2 h 418"/>
                <a:gd name="T22" fmla="*/ 258 w 289"/>
                <a:gd name="T23" fmla="*/ 3 h 418"/>
                <a:gd name="T24" fmla="*/ 289 w 289"/>
                <a:gd name="T25" fmla="*/ 22 h 418"/>
                <a:gd name="T26" fmla="*/ 266 w 289"/>
                <a:gd name="T27" fmla="*/ 71 h 418"/>
                <a:gd name="T28" fmla="*/ 266 w 289"/>
                <a:gd name="T29" fmla="*/ 144 h 418"/>
                <a:gd name="T30" fmla="*/ 193 w 289"/>
                <a:gd name="T31" fmla="*/ 337 h 418"/>
                <a:gd name="T32" fmla="*/ 135 w 289"/>
                <a:gd name="T33" fmla="*/ 417 h 418"/>
                <a:gd name="T34" fmla="*/ 129 w 289"/>
                <a:gd name="T35" fmla="*/ 418 h 418"/>
                <a:gd name="T36" fmla="*/ 102 w 289"/>
                <a:gd name="T37" fmla="*/ 407 h 418"/>
                <a:gd name="T38" fmla="*/ 103 w 289"/>
                <a:gd name="T39" fmla="*/ 407 h 418"/>
                <a:gd name="T40" fmla="*/ 132 w 289"/>
                <a:gd name="T41" fmla="*/ 412 h 418"/>
                <a:gd name="T42" fmla="*/ 188 w 289"/>
                <a:gd name="T43" fmla="*/ 333 h 418"/>
                <a:gd name="T44" fmla="*/ 260 w 289"/>
                <a:gd name="T45" fmla="*/ 144 h 418"/>
                <a:gd name="T46" fmla="*/ 260 w 289"/>
                <a:gd name="T47" fmla="*/ 69 h 418"/>
                <a:gd name="T48" fmla="*/ 282 w 289"/>
                <a:gd name="T49" fmla="*/ 24 h 418"/>
                <a:gd name="T50" fmla="*/ 255 w 289"/>
                <a:gd name="T51" fmla="*/ 8 h 418"/>
                <a:gd name="T52" fmla="*/ 244 w 289"/>
                <a:gd name="T53" fmla="*/ 7 h 418"/>
                <a:gd name="T54" fmla="*/ 134 w 289"/>
                <a:gd name="T55" fmla="*/ 22 h 418"/>
                <a:gd name="T56" fmla="*/ 25 w 289"/>
                <a:gd name="T57" fmla="*/ 133 h 418"/>
                <a:gd name="T58" fmla="*/ 6 w 289"/>
                <a:gd name="T59" fmla="*/ 170 h 418"/>
                <a:gd name="T60" fmla="*/ 6 w 289"/>
                <a:gd name="T61" fmla="*/ 293 h 418"/>
                <a:gd name="T62" fmla="*/ 59 w 289"/>
                <a:gd name="T63" fmla="*/ 388 h 418"/>
                <a:gd name="T64" fmla="*/ 60 w 289"/>
                <a:gd name="T65" fmla="*/ 389 h 418"/>
                <a:gd name="T66" fmla="*/ 72 w 289"/>
                <a:gd name="T67" fmla="*/ 396 h 418"/>
                <a:gd name="T68" fmla="*/ 96 w 289"/>
                <a:gd name="T69" fmla="*/ 410 h 418"/>
                <a:gd name="T70" fmla="*/ 102 w 289"/>
                <a:gd name="T71" fmla="*/ 407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9" h="418">
                  <a:moveTo>
                    <a:pt x="129" y="418"/>
                  </a:moveTo>
                  <a:cubicBezTo>
                    <a:pt x="124" y="418"/>
                    <a:pt x="116" y="417"/>
                    <a:pt x="103" y="413"/>
                  </a:cubicBezTo>
                  <a:cubicBezTo>
                    <a:pt x="96" y="416"/>
                    <a:pt x="96" y="416"/>
                    <a:pt x="96" y="416"/>
                  </a:cubicBezTo>
                  <a:cubicBezTo>
                    <a:pt x="69" y="401"/>
                    <a:pt x="69" y="401"/>
                    <a:pt x="69" y="401"/>
                  </a:cubicBezTo>
                  <a:cubicBezTo>
                    <a:pt x="65" y="399"/>
                    <a:pt x="61" y="397"/>
                    <a:pt x="56" y="394"/>
                  </a:cubicBezTo>
                  <a:cubicBezTo>
                    <a:pt x="55" y="393"/>
                    <a:pt x="55" y="393"/>
                    <a:pt x="55" y="393"/>
                  </a:cubicBezTo>
                  <a:cubicBezTo>
                    <a:pt x="10" y="360"/>
                    <a:pt x="1" y="296"/>
                    <a:pt x="0" y="294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0" y="156"/>
                    <a:pt x="8" y="140"/>
                    <a:pt x="21" y="129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243" y="2"/>
                    <a:pt x="243" y="2"/>
                    <a:pt x="243" y="2"/>
                  </a:cubicBezTo>
                  <a:cubicBezTo>
                    <a:pt x="249" y="0"/>
                    <a:pt x="254" y="1"/>
                    <a:pt x="258" y="3"/>
                  </a:cubicBezTo>
                  <a:cubicBezTo>
                    <a:pt x="289" y="22"/>
                    <a:pt x="289" y="22"/>
                    <a:pt x="289" y="22"/>
                  </a:cubicBezTo>
                  <a:cubicBezTo>
                    <a:pt x="266" y="71"/>
                    <a:pt x="266" y="71"/>
                    <a:pt x="266" y="71"/>
                  </a:cubicBezTo>
                  <a:cubicBezTo>
                    <a:pt x="266" y="144"/>
                    <a:pt x="266" y="144"/>
                    <a:pt x="266" y="144"/>
                  </a:cubicBezTo>
                  <a:cubicBezTo>
                    <a:pt x="266" y="146"/>
                    <a:pt x="253" y="243"/>
                    <a:pt x="193" y="337"/>
                  </a:cubicBezTo>
                  <a:cubicBezTo>
                    <a:pt x="146" y="409"/>
                    <a:pt x="136" y="417"/>
                    <a:pt x="135" y="417"/>
                  </a:cubicBezTo>
                  <a:cubicBezTo>
                    <a:pt x="134" y="418"/>
                    <a:pt x="133" y="418"/>
                    <a:pt x="129" y="418"/>
                  </a:cubicBezTo>
                  <a:close/>
                  <a:moveTo>
                    <a:pt x="102" y="407"/>
                  </a:moveTo>
                  <a:cubicBezTo>
                    <a:pt x="103" y="407"/>
                    <a:pt x="103" y="407"/>
                    <a:pt x="103" y="407"/>
                  </a:cubicBezTo>
                  <a:cubicBezTo>
                    <a:pt x="123" y="413"/>
                    <a:pt x="131" y="413"/>
                    <a:pt x="132" y="412"/>
                  </a:cubicBezTo>
                  <a:cubicBezTo>
                    <a:pt x="134" y="411"/>
                    <a:pt x="146" y="399"/>
                    <a:pt x="188" y="333"/>
                  </a:cubicBezTo>
                  <a:cubicBezTo>
                    <a:pt x="248" y="241"/>
                    <a:pt x="260" y="145"/>
                    <a:pt x="260" y="144"/>
                  </a:cubicBezTo>
                  <a:cubicBezTo>
                    <a:pt x="260" y="69"/>
                    <a:pt x="260" y="69"/>
                    <a:pt x="260" y="69"/>
                  </a:cubicBezTo>
                  <a:cubicBezTo>
                    <a:pt x="282" y="24"/>
                    <a:pt x="282" y="24"/>
                    <a:pt x="282" y="24"/>
                  </a:cubicBezTo>
                  <a:cubicBezTo>
                    <a:pt x="255" y="8"/>
                    <a:pt x="255" y="8"/>
                    <a:pt x="255" y="8"/>
                  </a:cubicBezTo>
                  <a:cubicBezTo>
                    <a:pt x="252" y="7"/>
                    <a:pt x="248" y="6"/>
                    <a:pt x="244" y="7"/>
                  </a:cubicBezTo>
                  <a:cubicBezTo>
                    <a:pt x="134" y="22"/>
                    <a:pt x="134" y="22"/>
                    <a:pt x="134" y="22"/>
                  </a:cubicBezTo>
                  <a:cubicBezTo>
                    <a:pt x="25" y="133"/>
                    <a:pt x="25" y="133"/>
                    <a:pt x="25" y="133"/>
                  </a:cubicBezTo>
                  <a:cubicBezTo>
                    <a:pt x="14" y="143"/>
                    <a:pt x="6" y="158"/>
                    <a:pt x="6" y="170"/>
                  </a:cubicBezTo>
                  <a:cubicBezTo>
                    <a:pt x="6" y="293"/>
                    <a:pt x="6" y="293"/>
                    <a:pt x="6" y="293"/>
                  </a:cubicBezTo>
                  <a:cubicBezTo>
                    <a:pt x="6" y="293"/>
                    <a:pt x="16" y="358"/>
                    <a:pt x="59" y="388"/>
                  </a:cubicBezTo>
                  <a:cubicBezTo>
                    <a:pt x="60" y="389"/>
                    <a:pt x="60" y="389"/>
                    <a:pt x="60" y="389"/>
                  </a:cubicBezTo>
                  <a:cubicBezTo>
                    <a:pt x="64" y="392"/>
                    <a:pt x="68" y="394"/>
                    <a:pt x="72" y="396"/>
                  </a:cubicBezTo>
                  <a:cubicBezTo>
                    <a:pt x="96" y="410"/>
                    <a:pt x="96" y="410"/>
                    <a:pt x="96" y="410"/>
                  </a:cubicBezTo>
                  <a:lnTo>
                    <a:pt x="102" y="407"/>
                  </a:lnTo>
                  <a:close/>
                </a:path>
              </a:pathLst>
            </a:custGeom>
            <a:solidFill>
              <a:srgbClr val="1510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8" name="Freeform 1517">
              <a:extLst>
                <a:ext uri="{FF2B5EF4-FFF2-40B4-BE49-F238E27FC236}">
                  <a16:creationId xmlns:a16="http://schemas.microsoft.com/office/drawing/2014/main" id="{3D8005FA-17C8-4EE4-A941-5EEB54065B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2872" y="3131687"/>
              <a:ext cx="671106" cy="193262"/>
            </a:xfrm>
            <a:custGeom>
              <a:avLst/>
              <a:gdLst>
                <a:gd name="T0" fmla="*/ 0 w 152"/>
                <a:gd name="T1" fmla="*/ 16 h 44"/>
                <a:gd name="T2" fmla="*/ 110 w 152"/>
                <a:gd name="T3" fmla="*/ 2 h 44"/>
                <a:gd name="T4" fmla="*/ 123 w 152"/>
                <a:gd name="T5" fmla="*/ 3 h 44"/>
                <a:gd name="T6" fmla="*/ 152 w 152"/>
                <a:gd name="T7" fmla="*/ 20 h 44"/>
                <a:gd name="T8" fmla="*/ 141 w 152"/>
                <a:gd name="T9" fmla="*/ 44 h 44"/>
                <a:gd name="T10" fmla="*/ 30 w 152"/>
                <a:gd name="T11" fmla="*/ 33 h 44"/>
                <a:gd name="T12" fmla="*/ 0 w 152"/>
                <a:gd name="T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44">
                  <a:moveTo>
                    <a:pt x="0" y="16"/>
                  </a:moveTo>
                  <a:cubicBezTo>
                    <a:pt x="110" y="2"/>
                    <a:pt x="110" y="2"/>
                    <a:pt x="110" y="2"/>
                  </a:cubicBezTo>
                  <a:cubicBezTo>
                    <a:pt x="116" y="0"/>
                    <a:pt x="120" y="1"/>
                    <a:pt x="123" y="3"/>
                  </a:cubicBezTo>
                  <a:cubicBezTo>
                    <a:pt x="152" y="20"/>
                    <a:pt x="152" y="20"/>
                    <a:pt x="152" y="20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30" y="33"/>
                    <a:pt x="30" y="33"/>
                    <a:pt x="30" y="33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9" name="Freeform 1518">
              <a:extLst>
                <a:ext uri="{FF2B5EF4-FFF2-40B4-BE49-F238E27FC236}">
                  <a16:creationId xmlns:a16="http://schemas.microsoft.com/office/drawing/2014/main" id="{552DAF1F-4FF3-45E5-96ED-0B2EF48B04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7120" y="3178409"/>
              <a:ext cx="671106" cy="195385"/>
            </a:xfrm>
            <a:custGeom>
              <a:avLst/>
              <a:gdLst>
                <a:gd name="T0" fmla="*/ 0 w 152"/>
                <a:gd name="T1" fmla="*/ 16 h 44"/>
                <a:gd name="T2" fmla="*/ 110 w 152"/>
                <a:gd name="T3" fmla="*/ 1 h 44"/>
                <a:gd name="T4" fmla="*/ 123 w 152"/>
                <a:gd name="T5" fmla="*/ 3 h 44"/>
                <a:gd name="T6" fmla="*/ 152 w 152"/>
                <a:gd name="T7" fmla="*/ 20 h 44"/>
                <a:gd name="T8" fmla="*/ 140 w 152"/>
                <a:gd name="T9" fmla="*/ 44 h 44"/>
                <a:gd name="T10" fmla="*/ 30 w 152"/>
                <a:gd name="T11" fmla="*/ 33 h 44"/>
                <a:gd name="T12" fmla="*/ 0 w 152"/>
                <a:gd name="T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44">
                  <a:moveTo>
                    <a:pt x="0" y="16"/>
                  </a:moveTo>
                  <a:cubicBezTo>
                    <a:pt x="110" y="1"/>
                    <a:pt x="110" y="1"/>
                    <a:pt x="110" y="1"/>
                  </a:cubicBezTo>
                  <a:cubicBezTo>
                    <a:pt x="115" y="0"/>
                    <a:pt x="119" y="1"/>
                    <a:pt x="123" y="3"/>
                  </a:cubicBezTo>
                  <a:cubicBezTo>
                    <a:pt x="152" y="20"/>
                    <a:pt x="152" y="20"/>
                    <a:pt x="152" y="20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30" y="33"/>
                    <a:pt x="30" y="33"/>
                    <a:pt x="30" y="33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0" name="Freeform 1519">
              <a:extLst>
                <a:ext uri="{FF2B5EF4-FFF2-40B4-BE49-F238E27FC236}">
                  <a16:creationId xmlns:a16="http://schemas.microsoft.com/office/drawing/2014/main" id="{4C343A29-B0A9-47BF-A8B0-5F6AC395D2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61635" y="3116820"/>
              <a:ext cx="711458" cy="225118"/>
            </a:xfrm>
            <a:custGeom>
              <a:avLst/>
              <a:gdLst>
                <a:gd name="T0" fmla="*/ 148 w 161"/>
                <a:gd name="T1" fmla="*/ 51 h 51"/>
                <a:gd name="T2" fmla="*/ 34 w 161"/>
                <a:gd name="T3" fmla="*/ 39 h 51"/>
                <a:gd name="T4" fmla="*/ 0 w 161"/>
                <a:gd name="T5" fmla="*/ 20 h 51"/>
                <a:gd name="T6" fmla="*/ 4 w 161"/>
                <a:gd name="T7" fmla="*/ 16 h 51"/>
                <a:gd name="T8" fmla="*/ 115 w 161"/>
                <a:gd name="T9" fmla="*/ 2 h 51"/>
                <a:gd name="T10" fmla="*/ 130 w 161"/>
                <a:gd name="T11" fmla="*/ 3 h 51"/>
                <a:gd name="T12" fmla="*/ 161 w 161"/>
                <a:gd name="T13" fmla="*/ 22 h 51"/>
                <a:gd name="T14" fmla="*/ 148 w 161"/>
                <a:gd name="T15" fmla="*/ 51 h 51"/>
                <a:gd name="T16" fmla="*/ 36 w 161"/>
                <a:gd name="T17" fmla="*/ 34 h 51"/>
                <a:gd name="T18" fmla="*/ 144 w 161"/>
                <a:gd name="T19" fmla="*/ 44 h 51"/>
                <a:gd name="T20" fmla="*/ 154 w 161"/>
                <a:gd name="T21" fmla="*/ 24 h 51"/>
                <a:gd name="T22" fmla="*/ 127 w 161"/>
                <a:gd name="T23" fmla="*/ 8 h 51"/>
                <a:gd name="T24" fmla="*/ 116 w 161"/>
                <a:gd name="T25" fmla="*/ 7 h 51"/>
                <a:gd name="T26" fmla="*/ 14 w 161"/>
                <a:gd name="T27" fmla="*/ 21 h 51"/>
                <a:gd name="T28" fmla="*/ 36 w 161"/>
                <a:gd name="T29" fmla="*/ 3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1" h="51">
                  <a:moveTo>
                    <a:pt x="148" y="51"/>
                  </a:moveTo>
                  <a:cubicBezTo>
                    <a:pt x="34" y="39"/>
                    <a:pt x="34" y="39"/>
                    <a:pt x="34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21" y="0"/>
                    <a:pt x="126" y="1"/>
                    <a:pt x="130" y="3"/>
                  </a:cubicBezTo>
                  <a:cubicBezTo>
                    <a:pt x="161" y="22"/>
                    <a:pt x="161" y="22"/>
                    <a:pt x="161" y="22"/>
                  </a:cubicBezTo>
                  <a:lnTo>
                    <a:pt x="148" y="51"/>
                  </a:lnTo>
                  <a:close/>
                  <a:moveTo>
                    <a:pt x="36" y="34"/>
                  </a:moveTo>
                  <a:cubicBezTo>
                    <a:pt x="144" y="44"/>
                    <a:pt x="144" y="44"/>
                    <a:pt x="144" y="44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27" y="8"/>
                    <a:pt x="127" y="8"/>
                    <a:pt x="127" y="8"/>
                  </a:cubicBezTo>
                  <a:cubicBezTo>
                    <a:pt x="124" y="7"/>
                    <a:pt x="120" y="6"/>
                    <a:pt x="116" y="7"/>
                  </a:cubicBezTo>
                  <a:cubicBezTo>
                    <a:pt x="14" y="21"/>
                    <a:pt x="14" y="21"/>
                    <a:pt x="14" y="21"/>
                  </a:cubicBezTo>
                  <a:lnTo>
                    <a:pt x="36" y="34"/>
                  </a:lnTo>
                  <a:close/>
                </a:path>
              </a:pathLst>
            </a:custGeom>
            <a:solidFill>
              <a:srgbClr val="1510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1" name="Freeform 1520">
              <a:extLst>
                <a:ext uri="{FF2B5EF4-FFF2-40B4-BE49-F238E27FC236}">
                  <a16:creationId xmlns:a16="http://schemas.microsoft.com/office/drawing/2014/main" id="{55FCE763-3277-4FBF-83D4-B306861A75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41132" y="3201770"/>
              <a:ext cx="1148951" cy="1845542"/>
            </a:xfrm>
            <a:custGeom>
              <a:avLst/>
              <a:gdLst>
                <a:gd name="T0" fmla="*/ 20 w 260"/>
                <a:gd name="T1" fmla="*/ 129 h 418"/>
                <a:gd name="T2" fmla="*/ 130 w 260"/>
                <a:gd name="T3" fmla="*/ 17 h 418"/>
                <a:gd name="T4" fmla="*/ 241 w 260"/>
                <a:gd name="T5" fmla="*/ 3 h 418"/>
                <a:gd name="T6" fmla="*/ 260 w 260"/>
                <a:gd name="T7" fmla="*/ 20 h 418"/>
                <a:gd name="T8" fmla="*/ 260 w 260"/>
                <a:gd name="T9" fmla="*/ 143 h 418"/>
                <a:gd name="T10" fmla="*/ 188 w 260"/>
                <a:gd name="T11" fmla="*/ 333 h 418"/>
                <a:gd name="T12" fmla="*/ 130 w 260"/>
                <a:gd name="T13" fmla="*/ 413 h 418"/>
                <a:gd name="T14" fmla="*/ 73 w 260"/>
                <a:gd name="T15" fmla="*/ 399 h 418"/>
                <a:gd name="T16" fmla="*/ 0 w 260"/>
                <a:gd name="T17" fmla="*/ 292 h 418"/>
                <a:gd name="T18" fmla="*/ 0 w 260"/>
                <a:gd name="T19" fmla="*/ 169 h 418"/>
                <a:gd name="T20" fmla="*/ 20 w 260"/>
                <a:gd name="T21" fmla="*/ 129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0" h="418">
                  <a:moveTo>
                    <a:pt x="20" y="129"/>
                  </a:moveTo>
                  <a:cubicBezTo>
                    <a:pt x="130" y="17"/>
                    <a:pt x="130" y="17"/>
                    <a:pt x="130" y="17"/>
                  </a:cubicBezTo>
                  <a:cubicBezTo>
                    <a:pt x="241" y="3"/>
                    <a:pt x="241" y="3"/>
                    <a:pt x="241" y="3"/>
                  </a:cubicBezTo>
                  <a:cubicBezTo>
                    <a:pt x="252" y="0"/>
                    <a:pt x="260" y="7"/>
                    <a:pt x="260" y="20"/>
                  </a:cubicBezTo>
                  <a:cubicBezTo>
                    <a:pt x="260" y="143"/>
                    <a:pt x="260" y="143"/>
                    <a:pt x="260" y="143"/>
                  </a:cubicBezTo>
                  <a:cubicBezTo>
                    <a:pt x="260" y="143"/>
                    <a:pt x="248" y="240"/>
                    <a:pt x="188" y="333"/>
                  </a:cubicBezTo>
                  <a:cubicBezTo>
                    <a:pt x="140" y="407"/>
                    <a:pt x="130" y="413"/>
                    <a:pt x="130" y="413"/>
                  </a:cubicBezTo>
                  <a:cubicBezTo>
                    <a:pt x="130" y="413"/>
                    <a:pt x="121" y="418"/>
                    <a:pt x="73" y="399"/>
                  </a:cubicBezTo>
                  <a:cubicBezTo>
                    <a:pt x="12" y="375"/>
                    <a:pt x="0" y="292"/>
                    <a:pt x="0" y="292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156"/>
                    <a:pt x="8" y="139"/>
                    <a:pt x="20" y="129"/>
                  </a:cubicBezTo>
                  <a:close/>
                </a:path>
              </a:pathLst>
            </a:custGeom>
            <a:solidFill>
              <a:srgbClr val="140F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2" name="Freeform 1521">
              <a:extLst>
                <a:ext uri="{FF2B5EF4-FFF2-40B4-BE49-F238E27FC236}">
                  <a16:creationId xmlns:a16="http://schemas.microsoft.com/office/drawing/2014/main" id="{298D93A5-0130-4FB0-A907-2ADA2F997E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28389" y="3193275"/>
              <a:ext cx="1174436" cy="1849789"/>
            </a:xfrm>
            <a:custGeom>
              <a:avLst/>
              <a:gdLst>
                <a:gd name="T0" fmla="*/ 129 w 266"/>
                <a:gd name="T1" fmla="*/ 419 h 419"/>
                <a:gd name="T2" fmla="*/ 75 w 266"/>
                <a:gd name="T3" fmla="*/ 404 h 419"/>
                <a:gd name="T4" fmla="*/ 0 w 266"/>
                <a:gd name="T5" fmla="*/ 294 h 419"/>
                <a:gd name="T6" fmla="*/ 0 w 266"/>
                <a:gd name="T7" fmla="*/ 171 h 419"/>
                <a:gd name="T8" fmla="*/ 21 w 266"/>
                <a:gd name="T9" fmla="*/ 129 h 419"/>
                <a:gd name="T10" fmla="*/ 132 w 266"/>
                <a:gd name="T11" fmla="*/ 17 h 419"/>
                <a:gd name="T12" fmla="*/ 243 w 266"/>
                <a:gd name="T13" fmla="*/ 2 h 419"/>
                <a:gd name="T14" fmla="*/ 259 w 266"/>
                <a:gd name="T15" fmla="*/ 5 h 419"/>
                <a:gd name="T16" fmla="*/ 266 w 266"/>
                <a:gd name="T17" fmla="*/ 22 h 419"/>
                <a:gd name="T18" fmla="*/ 266 w 266"/>
                <a:gd name="T19" fmla="*/ 145 h 419"/>
                <a:gd name="T20" fmla="*/ 193 w 266"/>
                <a:gd name="T21" fmla="*/ 337 h 419"/>
                <a:gd name="T22" fmla="*/ 135 w 266"/>
                <a:gd name="T23" fmla="*/ 418 h 419"/>
                <a:gd name="T24" fmla="*/ 129 w 266"/>
                <a:gd name="T25" fmla="*/ 419 h 419"/>
                <a:gd name="T26" fmla="*/ 135 w 266"/>
                <a:gd name="T27" fmla="*/ 22 h 419"/>
                <a:gd name="T28" fmla="*/ 25 w 266"/>
                <a:gd name="T29" fmla="*/ 133 h 419"/>
                <a:gd name="T30" fmla="*/ 6 w 266"/>
                <a:gd name="T31" fmla="*/ 171 h 419"/>
                <a:gd name="T32" fmla="*/ 6 w 266"/>
                <a:gd name="T33" fmla="*/ 294 h 419"/>
                <a:gd name="T34" fmla="*/ 77 w 266"/>
                <a:gd name="T35" fmla="*/ 398 h 419"/>
                <a:gd name="T36" fmla="*/ 132 w 266"/>
                <a:gd name="T37" fmla="*/ 413 h 419"/>
                <a:gd name="T38" fmla="*/ 188 w 266"/>
                <a:gd name="T39" fmla="*/ 334 h 419"/>
                <a:gd name="T40" fmla="*/ 260 w 266"/>
                <a:gd name="T41" fmla="*/ 144 h 419"/>
                <a:gd name="T42" fmla="*/ 260 w 266"/>
                <a:gd name="T43" fmla="*/ 22 h 419"/>
                <a:gd name="T44" fmla="*/ 255 w 266"/>
                <a:gd name="T45" fmla="*/ 9 h 419"/>
                <a:gd name="T46" fmla="*/ 244 w 266"/>
                <a:gd name="T47" fmla="*/ 8 h 419"/>
                <a:gd name="T48" fmla="*/ 135 w 266"/>
                <a:gd name="T49" fmla="*/ 22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6" h="419">
                  <a:moveTo>
                    <a:pt x="129" y="419"/>
                  </a:moveTo>
                  <a:cubicBezTo>
                    <a:pt x="122" y="419"/>
                    <a:pt x="106" y="416"/>
                    <a:pt x="75" y="404"/>
                  </a:cubicBezTo>
                  <a:cubicBezTo>
                    <a:pt x="13" y="379"/>
                    <a:pt x="1" y="297"/>
                    <a:pt x="0" y="294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57"/>
                    <a:pt x="9" y="140"/>
                    <a:pt x="21" y="129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243" y="2"/>
                    <a:pt x="243" y="2"/>
                    <a:pt x="243" y="2"/>
                  </a:cubicBezTo>
                  <a:cubicBezTo>
                    <a:pt x="249" y="0"/>
                    <a:pt x="255" y="1"/>
                    <a:pt x="259" y="5"/>
                  </a:cubicBezTo>
                  <a:cubicBezTo>
                    <a:pt x="264" y="8"/>
                    <a:pt x="266" y="14"/>
                    <a:pt x="266" y="22"/>
                  </a:cubicBezTo>
                  <a:cubicBezTo>
                    <a:pt x="266" y="145"/>
                    <a:pt x="266" y="145"/>
                    <a:pt x="266" y="145"/>
                  </a:cubicBezTo>
                  <a:cubicBezTo>
                    <a:pt x="266" y="146"/>
                    <a:pt x="253" y="244"/>
                    <a:pt x="193" y="337"/>
                  </a:cubicBezTo>
                  <a:cubicBezTo>
                    <a:pt x="146" y="409"/>
                    <a:pt x="136" y="417"/>
                    <a:pt x="135" y="418"/>
                  </a:cubicBezTo>
                  <a:cubicBezTo>
                    <a:pt x="134" y="418"/>
                    <a:pt x="133" y="419"/>
                    <a:pt x="129" y="419"/>
                  </a:cubicBezTo>
                  <a:close/>
                  <a:moveTo>
                    <a:pt x="135" y="22"/>
                  </a:moveTo>
                  <a:cubicBezTo>
                    <a:pt x="25" y="133"/>
                    <a:pt x="25" y="133"/>
                    <a:pt x="25" y="133"/>
                  </a:cubicBezTo>
                  <a:cubicBezTo>
                    <a:pt x="14" y="143"/>
                    <a:pt x="6" y="158"/>
                    <a:pt x="6" y="171"/>
                  </a:cubicBezTo>
                  <a:cubicBezTo>
                    <a:pt x="6" y="294"/>
                    <a:pt x="6" y="294"/>
                    <a:pt x="6" y="294"/>
                  </a:cubicBezTo>
                  <a:cubicBezTo>
                    <a:pt x="6" y="294"/>
                    <a:pt x="18" y="375"/>
                    <a:pt x="77" y="398"/>
                  </a:cubicBezTo>
                  <a:cubicBezTo>
                    <a:pt x="118" y="415"/>
                    <a:pt x="130" y="413"/>
                    <a:pt x="132" y="413"/>
                  </a:cubicBezTo>
                  <a:cubicBezTo>
                    <a:pt x="134" y="411"/>
                    <a:pt x="146" y="399"/>
                    <a:pt x="188" y="334"/>
                  </a:cubicBezTo>
                  <a:cubicBezTo>
                    <a:pt x="248" y="242"/>
                    <a:pt x="260" y="145"/>
                    <a:pt x="260" y="144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16"/>
                    <a:pt x="259" y="12"/>
                    <a:pt x="255" y="9"/>
                  </a:cubicBezTo>
                  <a:cubicBezTo>
                    <a:pt x="253" y="7"/>
                    <a:pt x="249" y="7"/>
                    <a:pt x="244" y="8"/>
                  </a:cubicBezTo>
                  <a:lnTo>
                    <a:pt x="135" y="22"/>
                  </a:lnTo>
                  <a:close/>
                </a:path>
              </a:pathLst>
            </a:custGeom>
            <a:solidFill>
              <a:srgbClr val="1510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3" name="Freeform 1522">
              <a:extLst>
                <a:ext uri="{FF2B5EF4-FFF2-40B4-BE49-F238E27FC236}">
                  <a16:creationId xmlns:a16="http://schemas.microsoft.com/office/drawing/2014/main" id="{74CA97C9-9E47-4E65-9F6B-9CDDB6AB28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19527" y="3567055"/>
              <a:ext cx="811274" cy="1055506"/>
            </a:xfrm>
            <a:custGeom>
              <a:avLst/>
              <a:gdLst>
                <a:gd name="T0" fmla="*/ 52 w 184"/>
                <a:gd name="T1" fmla="*/ 239 h 239"/>
                <a:gd name="T2" fmla="*/ 27 w 184"/>
                <a:gd name="T3" fmla="*/ 233 h 239"/>
                <a:gd name="T4" fmla="*/ 0 w 184"/>
                <a:gd name="T5" fmla="*/ 173 h 239"/>
                <a:gd name="T6" fmla="*/ 90 w 184"/>
                <a:gd name="T7" fmla="*/ 16 h 239"/>
                <a:gd name="T8" fmla="*/ 156 w 184"/>
                <a:gd name="T9" fmla="*/ 10 h 239"/>
                <a:gd name="T10" fmla="*/ 184 w 184"/>
                <a:gd name="T11" fmla="*/ 70 h 239"/>
                <a:gd name="T12" fmla="*/ 93 w 184"/>
                <a:gd name="T13" fmla="*/ 227 h 239"/>
                <a:gd name="T14" fmla="*/ 52 w 184"/>
                <a:gd name="T15" fmla="*/ 239 h 239"/>
                <a:gd name="T16" fmla="*/ 131 w 184"/>
                <a:gd name="T17" fmla="*/ 9 h 239"/>
                <a:gd name="T18" fmla="*/ 93 w 184"/>
                <a:gd name="T19" fmla="*/ 21 h 239"/>
                <a:gd name="T20" fmla="*/ 6 w 184"/>
                <a:gd name="T21" fmla="*/ 173 h 239"/>
                <a:gd name="T22" fmla="*/ 30 w 184"/>
                <a:gd name="T23" fmla="*/ 228 h 239"/>
                <a:gd name="T24" fmla="*/ 90 w 184"/>
                <a:gd name="T25" fmla="*/ 222 h 239"/>
                <a:gd name="T26" fmla="*/ 178 w 184"/>
                <a:gd name="T27" fmla="*/ 70 h 239"/>
                <a:gd name="T28" fmla="*/ 153 w 184"/>
                <a:gd name="T29" fmla="*/ 15 h 239"/>
                <a:gd name="T30" fmla="*/ 131 w 184"/>
                <a:gd name="T31" fmla="*/ 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4" h="239">
                  <a:moveTo>
                    <a:pt x="52" y="239"/>
                  </a:moveTo>
                  <a:cubicBezTo>
                    <a:pt x="43" y="239"/>
                    <a:pt x="35" y="237"/>
                    <a:pt x="27" y="233"/>
                  </a:cubicBezTo>
                  <a:cubicBezTo>
                    <a:pt x="10" y="223"/>
                    <a:pt x="0" y="201"/>
                    <a:pt x="0" y="173"/>
                  </a:cubicBezTo>
                  <a:cubicBezTo>
                    <a:pt x="0" y="115"/>
                    <a:pt x="40" y="45"/>
                    <a:pt x="90" y="16"/>
                  </a:cubicBezTo>
                  <a:cubicBezTo>
                    <a:pt x="115" y="2"/>
                    <a:pt x="138" y="0"/>
                    <a:pt x="156" y="10"/>
                  </a:cubicBezTo>
                  <a:cubicBezTo>
                    <a:pt x="174" y="20"/>
                    <a:pt x="184" y="41"/>
                    <a:pt x="184" y="70"/>
                  </a:cubicBezTo>
                  <a:cubicBezTo>
                    <a:pt x="184" y="128"/>
                    <a:pt x="143" y="198"/>
                    <a:pt x="93" y="227"/>
                  </a:cubicBezTo>
                  <a:cubicBezTo>
                    <a:pt x="79" y="235"/>
                    <a:pt x="65" y="239"/>
                    <a:pt x="52" y="239"/>
                  </a:cubicBezTo>
                  <a:close/>
                  <a:moveTo>
                    <a:pt x="131" y="9"/>
                  </a:moveTo>
                  <a:cubicBezTo>
                    <a:pt x="120" y="9"/>
                    <a:pt x="107" y="13"/>
                    <a:pt x="93" y="21"/>
                  </a:cubicBezTo>
                  <a:cubicBezTo>
                    <a:pt x="45" y="49"/>
                    <a:pt x="6" y="117"/>
                    <a:pt x="6" y="173"/>
                  </a:cubicBezTo>
                  <a:cubicBezTo>
                    <a:pt x="6" y="199"/>
                    <a:pt x="14" y="219"/>
                    <a:pt x="30" y="228"/>
                  </a:cubicBezTo>
                  <a:cubicBezTo>
                    <a:pt x="46" y="237"/>
                    <a:pt x="67" y="235"/>
                    <a:pt x="90" y="222"/>
                  </a:cubicBezTo>
                  <a:cubicBezTo>
                    <a:pt x="138" y="194"/>
                    <a:pt x="178" y="126"/>
                    <a:pt x="178" y="70"/>
                  </a:cubicBezTo>
                  <a:cubicBezTo>
                    <a:pt x="178" y="44"/>
                    <a:pt x="169" y="24"/>
                    <a:pt x="153" y="15"/>
                  </a:cubicBezTo>
                  <a:cubicBezTo>
                    <a:pt x="147" y="11"/>
                    <a:pt x="139" y="9"/>
                    <a:pt x="131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4" name="Freeform 1523">
              <a:extLst>
                <a:ext uri="{FF2B5EF4-FFF2-40B4-BE49-F238E27FC236}">
                  <a16:creationId xmlns:a16="http://schemas.microsoft.com/office/drawing/2014/main" id="{470504C7-2838-4378-B119-2D193AE207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98107" y="3673243"/>
              <a:ext cx="649868" cy="847378"/>
            </a:xfrm>
            <a:custGeom>
              <a:avLst/>
              <a:gdLst>
                <a:gd name="T0" fmla="*/ 42 w 147"/>
                <a:gd name="T1" fmla="*/ 192 h 192"/>
                <a:gd name="T2" fmla="*/ 22 w 147"/>
                <a:gd name="T3" fmla="*/ 186 h 192"/>
                <a:gd name="T4" fmla="*/ 0 w 147"/>
                <a:gd name="T5" fmla="*/ 138 h 192"/>
                <a:gd name="T6" fmla="*/ 72 w 147"/>
                <a:gd name="T7" fmla="*/ 13 h 192"/>
                <a:gd name="T8" fmla="*/ 125 w 147"/>
                <a:gd name="T9" fmla="*/ 8 h 192"/>
                <a:gd name="T10" fmla="*/ 147 w 147"/>
                <a:gd name="T11" fmla="*/ 57 h 192"/>
                <a:gd name="T12" fmla="*/ 75 w 147"/>
                <a:gd name="T13" fmla="*/ 182 h 192"/>
                <a:gd name="T14" fmla="*/ 42 w 147"/>
                <a:gd name="T15" fmla="*/ 192 h 192"/>
                <a:gd name="T16" fmla="*/ 105 w 147"/>
                <a:gd name="T17" fmla="*/ 9 h 192"/>
                <a:gd name="T18" fmla="*/ 75 w 147"/>
                <a:gd name="T19" fmla="*/ 18 h 192"/>
                <a:gd name="T20" fmla="*/ 6 w 147"/>
                <a:gd name="T21" fmla="*/ 138 h 192"/>
                <a:gd name="T22" fmla="*/ 25 w 147"/>
                <a:gd name="T23" fmla="*/ 181 h 192"/>
                <a:gd name="T24" fmla="*/ 72 w 147"/>
                <a:gd name="T25" fmla="*/ 176 h 192"/>
                <a:gd name="T26" fmla="*/ 141 w 147"/>
                <a:gd name="T27" fmla="*/ 57 h 192"/>
                <a:gd name="T28" fmla="*/ 122 w 147"/>
                <a:gd name="T29" fmla="*/ 13 h 192"/>
                <a:gd name="T30" fmla="*/ 105 w 147"/>
                <a:gd name="T31" fmla="*/ 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7" h="192">
                  <a:moveTo>
                    <a:pt x="42" y="192"/>
                  </a:moveTo>
                  <a:cubicBezTo>
                    <a:pt x="35" y="192"/>
                    <a:pt x="28" y="190"/>
                    <a:pt x="22" y="186"/>
                  </a:cubicBezTo>
                  <a:cubicBezTo>
                    <a:pt x="8" y="178"/>
                    <a:pt x="0" y="161"/>
                    <a:pt x="0" y="138"/>
                  </a:cubicBezTo>
                  <a:cubicBezTo>
                    <a:pt x="0" y="92"/>
                    <a:pt x="32" y="36"/>
                    <a:pt x="72" y="13"/>
                  </a:cubicBezTo>
                  <a:cubicBezTo>
                    <a:pt x="92" y="2"/>
                    <a:pt x="111" y="0"/>
                    <a:pt x="125" y="8"/>
                  </a:cubicBezTo>
                  <a:cubicBezTo>
                    <a:pt x="139" y="17"/>
                    <a:pt x="147" y="34"/>
                    <a:pt x="147" y="57"/>
                  </a:cubicBezTo>
                  <a:cubicBezTo>
                    <a:pt x="147" y="103"/>
                    <a:pt x="115" y="159"/>
                    <a:pt x="75" y="182"/>
                  </a:cubicBezTo>
                  <a:cubicBezTo>
                    <a:pt x="64" y="188"/>
                    <a:pt x="52" y="192"/>
                    <a:pt x="42" y="192"/>
                  </a:cubicBezTo>
                  <a:close/>
                  <a:moveTo>
                    <a:pt x="105" y="9"/>
                  </a:moveTo>
                  <a:cubicBezTo>
                    <a:pt x="96" y="9"/>
                    <a:pt x="86" y="12"/>
                    <a:pt x="75" y="18"/>
                  </a:cubicBezTo>
                  <a:cubicBezTo>
                    <a:pt x="37" y="40"/>
                    <a:pt x="6" y="94"/>
                    <a:pt x="6" y="138"/>
                  </a:cubicBezTo>
                  <a:cubicBezTo>
                    <a:pt x="6" y="159"/>
                    <a:pt x="13" y="174"/>
                    <a:pt x="25" y="181"/>
                  </a:cubicBezTo>
                  <a:cubicBezTo>
                    <a:pt x="38" y="189"/>
                    <a:pt x="54" y="187"/>
                    <a:pt x="72" y="176"/>
                  </a:cubicBezTo>
                  <a:cubicBezTo>
                    <a:pt x="110" y="154"/>
                    <a:pt x="141" y="101"/>
                    <a:pt x="141" y="57"/>
                  </a:cubicBezTo>
                  <a:cubicBezTo>
                    <a:pt x="141" y="36"/>
                    <a:pt x="135" y="21"/>
                    <a:pt x="122" y="13"/>
                  </a:cubicBezTo>
                  <a:cubicBezTo>
                    <a:pt x="117" y="10"/>
                    <a:pt x="111" y="9"/>
                    <a:pt x="105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5" name="Freeform 1524">
              <a:extLst>
                <a:ext uri="{FF2B5EF4-FFF2-40B4-BE49-F238E27FC236}">
                  <a16:creationId xmlns:a16="http://schemas.microsoft.com/office/drawing/2014/main" id="{1EB590F6-2ADD-4328-836D-56EF0CDFA0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00047" y="3911103"/>
              <a:ext cx="450236" cy="384400"/>
            </a:xfrm>
            <a:custGeom>
              <a:avLst/>
              <a:gdLst>
                <a:gd name="T0" fmla="*/ 7 w 102"/>
                <a:gd name="T1" fmla="*/ 87 h 87"/>
                <a:gd name="T2" fmla="*/ 4 w 102"/>
                <a:gd name="T3" fmla="*/ 86 h 87"/>
                <a:gd name="T4" fmla="*/ 0 w 102"/>
                <a:gd name="T5" fmla="*/ 77 h 87"/>
                <a:gd name="T6" fmla="*/ 0 w 102"/>
                <a:gd name="T7" fmla="*/ 65 h 87"/>
                <a:gd name="T8" fmla="*/ 9 w 102"/>
                <a:gd name="T9" fmla="*/ 48 h 87"/>
                <a:gd name="T10" fmla="*/ 89 w 102"/>
                <a:gd name="T11" fmla="*/ 1 h 87"/>
                <a:gd name="T12" fmla="*/ 97 w 102"/>
                <a:gd name="T13" fmla="*/ 1 h 87"/>
                <a:gd name="T14" fmla="*/ 102 w 102"/>
                <a:gd name="T15" fmla="*/ 10 h 87"/>
                <a:gd name="T16" fmla="*/ 102 w 102"/>
                <a:gd name="T17" fmla="*/ 22 h 87"/>
                <a:gd name="T18" fmla="*/ 92 w 102"/>
                <a:gd name="T19" fmla="*/ 39 h 87"/>
                <a:gd name="T20" fmla="*/ 12 w 102"/>
                <a:gd name="T21" fmla="*/ 85 h 87"/>
                <a:gd name="T22" fmla="*/ 7 w 102"/>
                <a:gd name="T23" fmla="*/ 87 h 87"/>
                <a:gd name="T24" fmla="*/ 94 w 102"/>
                <a:gd name="T25" fmla="*/ 6 h 87"/>
                <a:gd name="T26" fmla="*/ 92 w 102"/>
                <a:gd name="T27" fmla="*/ 6 h 87"/>
                <a:gd name="T28" fmla="*/ 12 w 102"/>
                <a:gd name="T29" fmla="*/ 53 h 87"/>
                <a:gd name="T30" fmla="*/ 6 w 102"/>
                <a:gd name="T31" fmla="*/ 65 h 87"/>
                <a:gd name="T32" fmla="*/ 6 w 102"/>
                <a:gd name="T33" fmla="*/ 77 h 87"/>
                <a:gd name="T34" fmla="*/ 7 w 102"/>
                <a:gd name="T35" fmla="*/ 81 h 87"/>
                <a:gd name="T36" fmla="*/ 9 w 102"/>
                <a:gd name="T37" fmla="*/ 80 h 87"/>
                <a:gd name="T38" fmla="*/ 89 w 102"/>
                <a:gd name="T39" fmla="*/ 34 h 87"/>
                <a:gd name="T40" fmla="*/ 96 w 102"/>
                <a:gd name="T41" fmla="*/ 22 h 87"/>
                <a:gd name="T42" fmla="*/ 96 w 102"/>
                <a:gd name="T43" fmla="*/ 10 h 87"/>
                <a:gd name="T44" fmla="*/ 95 w 102"/>
                <a:gd name="T45" fmla="*/ 6 h 87"/>
                <a:gd name="T46" fmla="*/ 94 w 102"/>
                <a:gd name="T47" fmla="*/ 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87">
                  <a:moveTo>
                    <a:pt x="7" y="87"/>
                  </a:moveTo>
                  <a:cubicBezTo>
                    <a:pt x="6" y="87"/>
                    <a:pt x="5" y="86"/>
                    <a:pt x="4" y="86"/>
                  </a:cubicBezTo>
                  <a:cubicBezTo>
                    <a:pt x="1" y="84"/>
                    <a:pt x="0" y="81"/>
                    <a:pt x="0" y="77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58"/>
                    <a:pt x="4" y="51"/>
                    <a:pt x="9" y="48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2" y="0"/>
                    <a:pt x="95" y="0"/>
                    <a:pt x="97" y="1"/>
                  </a:cubicBezTo>
                  <a:cubicBezTo>
                    <a:pt x="100" y="2"/>
                    <a:pt x="102" y="6"/>
                    <a:pt x="102" y="10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8"/>
                    <a:pt x="98" y="36"/>
                    <a:pt x="92" y="39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0" y="86"/>
                    <a:pt x="9" y="87"/>
                    <a:pt x="7" y="87"/>
                  </a:cubicBezTo>
                  <a:close/>
                  <a:moveTo>
                    <a:pt x="94" y="6"/>
                  </a:moveTo>
                  <a:cubicBezTo>
                    <a:pt x="93" y="6"/>
                    <a:pt x="93" y="6"/>
                    <a:pt x="92" y="6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9" y="55"/>
                    <a:pt x="6" y="60"/>
                    <a:pt x="6" y="65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6" y="79"/>
                    <a:pt x="6" y="80"/>
                    <a:pt x="7" y="81"/>
                  </a:cubicBezTo>
                  <a:cubicBezTo>
                    <a:pt x="8" y="81"/>
                    <a:pt x="9" y="81"/>
                    <a:pt x="9" y="80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93" y="32"/>
                    <a:pt x="96" y="26"/>
                    <a:pt x="96" y="22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7"/>
                    <a:pt x="95" y="6"/>
                    <a:pt x="95" y="6"/>
                  </a:cubicBezTo>
                  <a:cubicBezTo>
                    <a:pt x="94" y="6"/>
                    <a:pt x="94" y="6"/>
                    <a:pt x="94" y="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5/1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5/19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pattFill prst="pct5">
          <a:fgClr>
            <a:schemeClr val="accent2">
              <a:lumMod val="75000"/>
            </a:schemeClr>
          </a:fgClr>
          <a:bgClr>
            <a:schemeClr val="accent2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FC332A68-9871-41ED-ABFD-E60FDDE160E6}"/>
              </a:ext>
            </a:extLst>
          </p:cNvPr>
          <p:cNvSpPr/>
          <p:nvPr userDrawn="1"/>
        </p:nvSpPr>
        <p:spPr>
          <a:xfrm>
            <a:off x="0" y="4239235"/>
            <a:ext cx="12192000" cy="2618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179968" y="1798956"/>
            <a:ext cx="10338930" cy="2162010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 i="1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179968" y="4645692"/>
            <a:ext cx="1033893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i="1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9970" y="4349421"/>
            <a:ext cx="1033893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 i="1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D963E4A3-3931-45C2-93F6-0C7F95A7C713}"/>
              </a:ext>
            </a:extLst>
          </p:cNvPr>
          <p:cNvGrpSpPr/>
          <p:nvPr userDrawn="1"/>
        </p:nvGrpSpPr>
        <p:grpSpPr>
          <a:xfrm>
            <a:off x="4716410" y="1267076"/>
            <a:ext cx="6804078" cy="4659316"/>
            <a:chOff x="5939672" y="1538972"/>
            <a:chExt cx="6252328" cy="428148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96FA964-EB28-4B7E-B23F-0B17B865C1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17804" y="3000114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F7DD5BC5-13F8-4C31-B10C-AE64D9B078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710" y="2968258"/>
              <a:ext cx="31856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8B39839A-2078-49DD-9B35-B1FDF2ABD3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7369" y="2934278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FCB2C6A5-9082-49AD-B8BE-00DC3D4BBA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4275" y="2902422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15AE2337-14BE-4E0E-BCE8-2BAAD5DB03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6934" y="2872689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A09002AC-1D65-4015-8954-664E4F7A64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2840833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582B13CD-74AF-4DD0-81DC-BA1077F41B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2808977"/>
              <a:ext cx="36104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89E10A97-5BF4-4575-A529-1BDC1B0258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3405" y="2774997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CCF16ACF-1493-439B-B953-39B2AE92E0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063" y="2743140"/>
              <a:ext cx="36104" cy="19114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1 w 8"/>
                <a:gd name="T5" fmla="*/ 4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7688D511-60E1-42F2-8327-B7EC3C3BAF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5093" y="2713408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76761D36-460A-4B89-9D12-AA838E12E1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628" y="2681551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9B4B4B71-453D-4657-B106-42EDDFFE4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4658" y="2651819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ACE190EC-17F4-49BA-B432-5957B448B6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5193" y="2615715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E292DB1F-BA1A-4F84-98A2-C6221B40B3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4223" y="258385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570B9DD8-15AF-45BC-8B90-2C15A7B0D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2922" y="3123292"/>
              <a:ext cx="31856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BDF62685-708A-4F3C-B241-E905491FA1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5580" y="3087188"/>
              <a:ext cx="31856" cy="23361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9517695B-C835-4DF8-9A43-CF64B6087F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2487" y="3057456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088E99E6-F916-4F26-916E-4CDB857642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5145" y="3025599"/>
              <a:ext cx="36104" cy="19114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D0AE65C6-9EB4-4621-9C07-BE92ACF793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5145" y="2968258"/>
              <a:ext cx="31856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33F4AA7F-BC13-4B9A-A340-3A5DB81692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8239" y="2938526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B84A81FC-AAC9-41E8-B55C-F4C61DF3B1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5580" y="2902422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3A37E4D8-5C4E-4D13-937D-5617AB9464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17804" y="2938526"/>
              <a:ext cx="36104" cy="16990"/>
            </a:xfrm>
            <a:custGeom>
              <a:avLst/>
              <a:gdLst>
                <a:gd name="T0" fmla="*/ 1 w 8"/>
                <a:gd name="T1" fmla="*/ 0 h 4"/>
                <a:gd name="T2" fmla="*/ 6 w 8"/>
                <a:gd name="T3" fmla="*/ 0 h 4"/>
                <a:gd name="T4" fmla="*/ 6 w 8"/>
                <a:gd name="T5" fmla="*/ 3 h 4"/>
                <a:gd name="T6" fmla="*/ 1 w 8"/>
                <a:gd name="T7" fmla="*/ 3 h 4"/>
                <a:gd name="T8" fmla="*/ 1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1" y="0"/>
                  </a:moveTo>
                  <a:cubicBezTo>
                    <a:pt x="3" y="0"/>
                    <a:pt x="5" y="0"/>
                    <a:pt x="6" y="0"/>
                  </a:cubicBez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68CD3557-9778-40C8-9937-43DFA7C38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5145" y="2902422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CCEA6B3A-9859-4D70-8198-CAA0D19CF9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8239" y="2872689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1 w 8"/>
                <a:gd name="T5" fmla="*/ 4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2F45AD2D-D8D9-472B-A465-0F1F47A1FD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710" y="2902422"/>
              <a:ext cx="31856" cy="21238"/>
            </a:xfrm>
            <a:custGeom>
              <a:avLst/>
              <a:gdLst>
                <a:gd name="T0" fmla="*/ 1 w 7"/>
                <a:gd name="T1" fmla="*/ 1 h 5"/>
                <a:gd name="T2" fmla="*/ 6 w 7"/>
                <a:gd name="T3" fmla="*/ 1 h 5"/>
                <a:gd name="T4" fmla="*/ 6 w 7"/>
                <a:gd name="T5" fmla="*/ 4 h 5"/>
                <a:gd name="T6" fmla="*/ 1 w 7"/>
                <a:gd name="T7" fmla="*/ 4 h 5"/>
                <a:gd name="T8" fmla="*/ 1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8519493D-F7FC-4DD4-94F3-DE178D357C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17804" y="2872689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1 w 8"/>
                <a:gd name="T5" fmla="*/ 4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FBEE179B-3613-4966-A9A7-4D921360FE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5145" y="2840833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29FE4168-1E24-4B73-8F6D-4B738087EB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7369" y="2872689"/>
              <a:ext cx="36104" cy="16990"/>
            </a:xfrm>
            <a:custGeom>
              <a:avLst/>
              <a:gdLst>
                <a:gd name="T0" fmla="*/ 2 w 8"/>
                <a:gd name="T1" fmla="*/ 1 h 4"/>
                <a:gd name="T2" fmla="*/ 6 w 8"/>
                <a:gd name="T3" fmla="*/ 1 h 4"/>
                <a:gd name="T4" fmla="*/ 6 w 8"/>
                <a:gd name="T5" fmla="*/ 4 h 4"/>
                <a:gd name="T6" fmla="*/ 2 w 8"/>
                <a:gd name="T7" fmla="*/ 4 h 4"/>
                <a:gd name="T8" fmla="*/ 2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4AD6D92C-A8E7-42EA-8161-796850DDA8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710" y="2840833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A6E376AF-AEA1-4900-B971-AED69512DE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17804" y="2808977"/>
              <a:ext cx="36104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4F9AC124-717F-469D-808E-37AEB4FA91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4275" y="2840833"/>
              <a:ext cx="31856" cy="16990"/>
            </a:xfrm>
            <a:custGeom>
              <a:avLst/>
              <a:gdLst>
                <a:gd name="T0" fmla="*/ 1 w 7"/>
                <a:gd name="T1" fmla="*/ 1 h 4"/>
                <a:gd name="T2" fmla="*/ 6 w 7"/>
                <a:gd name="T3" fmla="*/ 1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7B70BFCD-34BB-408A-AD42-FCFD2982E3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7369" y="2808977"/>
              <a:ext cx="36104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F2647E6C-59F3-4050-AF0C-E10AF8886A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710" y="2779244"/>
              <a:ext cx="31856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972A3514-0520-4217-8C5C-EC1B04B675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6934" y="2808977"/>
              <a:ext cx="36104" cy="19114"/>
            </a:xfrm>
            <a:custGeom>
              <a:avLst/>
              <a:gdLst>
                <a:gd name="T0" fmla="*/ 1 w 8"/>
                <a:gd name="T1" fmla="*/ 0 h 4"/>
                <a:gd name="T2" fmla="*/ 6 w 8"/>
                <a:gd name="T3" fmla="*/ 0 h 4"/>
                <a:gd name="T4" fmla="*/ 6 w 8"/>
                <a:gd name="T5" fmla="*/ 3 h 4"/>
                <a:gd name="T6" fmla="*/ 1 w 8"/>
                <a:gd name="T7" fmla="*/ 3 h 4"/>
                <a:gd name="T8" fmla="*/ 1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1" y="0"/>
                  </a:moveTo>
                  <a:cubicBezTo>
                    <a:pt x="3" y="0"/>
                    <a:pt x="5" y="0"/>
                    <a:pt x="6" y="0"/>
                  </a:cubicBez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329D394F-0009-4372-839D-46829F69AE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4275" y="2774997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03394A19-D368-49CC-AA31-2875E10AFF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7369" y="2743140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E0A085AB-7CAB-4C22-A3C9-FD7AA86BCB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2774997"/>
              <a:ext cx="31856" cy="21238"/>
            </a:xfrm>
            <a:custGeom>
              <a:avLst/>
              <a:gdLst>
                <a:gd name="T0" fmla="*/ 1 w 7"/>
                <a:gd name="T1" fmla="*/ 1 h 5"/>
                <a:gd name="T2" fmla="*/ 6 w 7"/>
                <a:gd name="T3" fmla="*/ 1 h 5"/>
                <a:gd name="T4" fmla="*/ 6 w 7"/>
                <a:gd name="T5" fmla="*/ 4 h 5"/>
                <a:gd name="T6" fmla="*/ 1 w 7"/>
                <a:gd name="T7" fmla="*/ 4 h 5"/>
                <a:gd name="T8" fmla="*/ 1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EBDB3680-ADE9-4817-BF29-3A40DF21C5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6934" y="2743140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2315375B-F24F-4A34-A1A1-328B12EC14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54275" y="2713408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63E92B5F-3589-41EF-A41D-BD62753B0A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2743140"/>
              <a:ext cx="36104" cy="23361"/>
            </a:xfrm>
            <a:custGeom>
              <a:avLst/>
              <a:gdLst>
                <a:gd name="T0" fmla="*/ 1 w 8"/>
                <a:gd name="T1" fmla="*/ 1 h 5"/>
                <a:gd name="T2" fmla="*/ 6 w 8"/>
                <a:gd name="T3" fmla="*/ 1 h 5"/>
                <a:gd name="T4" fmla="*/ 6 w 8"/>
                <a:gd name="T5" fmla="*/ 4 h 5"/>
                <a:gd name="T6" fmla="*/ 1 w 8"/>
                <a:gd name="T7" fmla="*/ 4 h 5"/>
                <a:gd name="T8" fmla="*/ 1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1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F544E630-7098-4BBB-8768-A8AE2A987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2713408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2935B9A8-4C55-4AE8-B254-49FF816DC8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96934" y="268155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B4E8A2AB-D0B6-4B0B-9E2A-B61A54321C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3405" y="2713408"/>
              <a:ext cx="31856" cy="16990"/>
            </a:xfrm>
            <a:custGeom>
              <a:avLst/>
              <a:gdLst>
                <a:gd name="T0" fmla="*/ 1 w 7"/>
                <a:gd name="T1" fmla="*/ 1 h 4"/>
                <a:gd name="T2" fmla="*/ 6 w 7"/>
                <a:gd name="T3" fmla="*/ 1 h 4"/>
                <a:gd name="T4" fmla="*/ 6 w 7"/>
                <a:gd name="T5" fmla="*/ 4 h 4"/>
                <a:gd name="T6" fmla="*/ 1 w 7"/>
                <a:gd name="T7" fmla="*/ 4 h 4"/>
                <a:gd name="T8" fmla="*/ 1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1F66C3E5-FF17-4797-9634-F110687516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268155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6B78F7AA-AF0F-41C7-9AC1-280C9C00BE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2651819"/>
              <a:ext cx="31856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F0E15C21-021F-4605-B752-F8BADF9CD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063" y="2681551"/>
              <a:ext cx="36104" cy="16990"/>
            </a:xfrm>
            <a:custGeom>
              <a:avLst/>
              <a:gdLst>
                <a:gd name="T0" fmla="*/ 2 w 8"/>
                <a:gd name="T1" fmla="*/ 1 h 4"/>
                <a:gd name="T2" fmla="*/ 6 w 8"/>
                <a:gd name="T3" fmla="*/ 1 h 4"/>
                <a:gd name="T4" fmla="*/ 6 w 8"/>
                <a:gd name="T5" fmla="*/ 3 h 4"/>
                <a:gd name="T6" fmla="*/ 2 w 8"/>
                <a:gd name="T7" fmla="*/ 3 h 4"/>
                <a:gd name="T8" fmla="*/ 2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CCFBF3BF-97E7-4C83-86F1-0F77F3130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3405" y="2651819"/>
              <a:ext cx="31856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DEE59375-4B04-42AD-91B8-F236B97ADE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2615715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DB8B698E-389B-4003-803E-BF169C2371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5093" y="2651819"/>
              <a:ext cx="29733" cy="16990"/>
            </a:xfrm>
            <a:custGeom>
              <a:avLst/>
              <a:gdLst>
                <a:gd name="T0" fmla="*/ 1 w 7"/>
                <a:gd name="T1" fmla="*/ 0 h 4"/>
                <a:gd name="T2" fmla="*/ 6 w 7"/>
                <a:gd name="T3" fmla="*/ 0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9A8C1136-B510-4AE2-AF13-12B18C51CC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063" y="2615715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CBDADA64-8CD5-4750-B5BF-D5CC07C6FF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33405" y="2583859"/>
              <a:ext cx="31856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711CCB80-D207-4245-A357-EB7B0862C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628" y="2615715"/>
              <a:ext cx="36104" cy="21238"/>
            </a:xfrm>
            <a:custGeom>
              <a:avLst/>
              <a:gdLst>
                <a:gd name="T0" fmla="*/ 2 w 8"/>
                <a:gd name="T1" fmla="*/ 1 h 5"/>
                <a:gd name="T2" fmla="*/ 6 w 8"/>
                <a:gd name="T3" fmla="*/ 1 h 5"/>
                <a:gd name="T4" fmla="*/ 6 w 8"/>
                <a:gd name="T5" fmla="*/ 4 h 5"/>
                <a:gd name="T6" fmla="*/ 2 w 8"/>
                <a:gd name="T7" fmla="*/ 4 h 5"/>
                <a:gd name="T8" fmla="*/ 2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15A768EC-C045-43A7-97CA-59CA4057C1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5093" y="258385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6C2BD633-C8EC-4973-94D3-C3AC629C64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063" y="2554126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6CC29A42-6BCF-401B-97EF-F23283C3BA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4658" y="2583859"/>
              <a:ext cx="29733" cy="19114"/>
            </a:xfrm>
            <a:custGeom>
              <a:avLst/>
              <a:gdLst>
                <a:gd name="T0" fmla="*/ 1 w 7"/>
                <a:gd name="T1" fmla="*/ 1 h 4"/>
                <a:gd name="T2" fmla="*/ 6 w 7"/>
                <a:gd name="T3" fmla="*/ 1 h 4"/>
                <a:gd name="T4" fmla="*/ 6 w 7"/>
                <a:gd name="T5" fmla="*/ 4 h 4"/>
                <a:gd name="T6" fmla="*/ 1 w 7"/>
                <a:gd name="T7" fmla="*/ 4 h 4"/>
                <a:gd name="T8" fmla="*/ 1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1"/>
                  </a:moveTo>
                  <a:cubicBezTo>
                    <a:pt x="2" y="0"/>
                    <a:pt x="5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E75D6073-B9EC-4D6C-AB6F-CE701852FC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628" y="2554126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5C29B7DA-D5BB-43F0-8DE6-622E254569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5093" y="2522270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F0C5161F-B00B-41D0-9D8F-C5F320430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5193" y="2554126"/>
              <a:ext cx="36104" cy="16990"/>
            </a:xfrm>
            <a:custGeom>
              <a:avLst/>
              <a:gdLst>
                <a:gd name="T0" fmla="*/ 1 w 8"/>
                <a:gd name="T1" fmla="*/ 1 h 4"/>
                <a:gd name="T2" fmla="*/ 6 w 8"/>
                <a:gd name="T3" fmla="*/ 1 h 4"/>
                <a:gd name="T4" fmla="*/ 6 w 8"/>
                <a:gd name="T5" fmla="*/ 3 h 4"/>
                <a:gd name="T6" fmla="*/ 1 w 8"/>
                <a:gd name="T7" fmla="*/ 3 h 4"/>
                <a:gd name="T8" fmla="*/ 1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1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B313586E-5702-437F-9AB2-B3A685A92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4658" y="252227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B14ADEFA-5C44-4ABC-91EC-E834EB181C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65628" y="2492537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2C834C36-6185-4874-8132-F338508EEF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4223" y="2522270"/>
              <a:ext cx="29733" cy="19114"/>
            </a:xfrm>
            <a:custGeom>
              <a:avLst/>
              <a:gdLst>
                <a:gd name="T0" fmla="*/ 1 w 7"/>
                <a:gd name="T1" fmla="*/ 0 h 4"/>
                <a:gd name="T2" fmla="*/ 6 w 7"/>
                <a:gd name="T3" fmla="*/ 0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8B63904C-7CF8-4D0D-9775-526CAE6A7B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5193" y="2492537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9DCD9757-F444-42FB-A684-B04D404CE4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4658" y="2456433"/>
              <a:ext cx="29733" cy="23361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8A92F019-D39B-40F9-9EFB-58F62A97DA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4223" y="2456433"/>
              <a:ext cx="29733" cy="23361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6C9FC9D6-321C-4E12-9762-1BD8146F90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5193" y="242670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1234AD88-1C0B-4BE5-ABF6-C990400C9A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6016" y="3087188"/>
              <a:ext cx="31856" cy="23361"/>
            </a:xfrm>
            <a:custGeom>
              <a:avLst/>
              <a:gdLst>
                <a:gd name="T0" fmla="*/ 1 w 7"/>
                <a:gd name="T1" fmla="*/ 1 h 5"/>
                <a:gd name="T2" fmla="*/ 6 w 7"/>
                <a:gd name="T3" fmla="*/ 1 h 5"/>
                <a:gd name="T4" fmla="*/ 6 w 7"/>
                <a:gd name="T5" fmla="*/ 4 h 5"/>
                <a:gd name="T6" fmla="*/ 1 w 7"/>
                <a:gd name="T7" fmla="*/ 4 h 5"/>
                <a:gd name="T8" fmla="*/ 1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8BE32A3E-70E7-44C9-964F-92A9E8005E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53357" y="3057456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7970D7FB-D0F2-42CC-974F-9FEB3169E1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06451" y="3025599"/>
              <a:ext cx="31856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CA740286-D6D5-4F10-8823-238B5EFA10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2922" y="3057456"/>
              <a:ext cx="31856" cy="21238"/>
            </a:xfrm>
            <a:custGeom>
              <a:avLst/>
              <a:gdLst>
                <a:gd name="T0" fmla="*/ 1 w 7"/>
                <a:gd name="T1" fmla="*/ 1 h 5"/>
                <a:gd name="T2" fmla="*/ 6 w 7"/>
                <a:gd name="T3" fmla="*/ 1 h 5"/>
                <a:gd name="T4" fmla="*/ 6 w 7"/>
                <a:gd name="T5" fmla="*/ 4 h 5"/>
                <a:gd name="T6" fmla="*/ 1 w 7"/>
                <a:gd name="T7" fmla="*/ 4 h 5"/>
                <a:gd name="T8" fmla="*/ 1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2"/>
                    <a:pt x="7" y="3"/>
                    <a:pt x="6" y="4"/>
                  </a:cubicBezTo>
                  <a:cubicBezTo>
                    <a:pt x="4" y="4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FC798EDD-86FB-45D8-8FEA-964F878580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6016" y="3025599"/>
              <a:ext cx="31856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A1EBE711-8F8C-4295-BF45-297B979B2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53357" y="2995867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63849660-AC20-47C3-A70F-B164ADDF33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5580" y="3025599"/>
              <a:ext cx="36104" cy="19114"/>
            </a:xfrm>
            <a:custGeom>
              <a:avLst/>
              <a:gdLst>
                <a:gd name="T0" fmla="*/ 1 w 8"/>
                <a:gd name="T1" fmla="*/ 1 h 4"/>
                <a:gd name="T2" fmla="*/ 6 w 8"/>
                <a:gd name="T3" fmla="*/ 1 h 4"/>
                <a:gd name="T4" fmla="*/ 6 w 8"/>
                <a:gd name="T5" fmla="*/ 4 h 4"/>
                <a:gd name="T6" fmla="*/ 1 w 8"/>
                <a:gd name="T7" fmla="*/ 4 h 4"/>
                <a:gd name="T8" fmla="*/ 1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1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E11EC0C2-C5CA-4B82-9B82-45D635BB09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2922" y="2995867"/>
              <a:ext cx="31856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960EC7F8-C2CC-4253-94EF-74EA20B4A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96016" y="2964011"/>
              <a:ext cx="31856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6" name="Freeform 79">
              <a:extLst>
                <a:ext uri="{FF2B5EF4-FFF2-40B4-BE49-F238E27FC236}">
                  <a16:creationId xmlns:a16="http://schemas.microsoft.com/office/drawing/2014/main" id="{AA1A247D-F639-4A10-82F5-4AE9387391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32487" y="2995867"/>
              <a:ext cx="31856" cy="16990"/>
            </a:xfrm>
            <a:custGeom>
              <a:avLst/>
              <a:gdLst>
                <a:gd name="T0" fmla="*/ 1 w 7"/>
                <a:gd name="T1" fmla="*/ 1 h 4"/>
                <a:gd name="T2" fmla="*/ 6 w 7"/>
                <a:gd name="T3" fmla="*/ 1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1"/>
                  </a:moveTo>
                  <a:cubicBezTo>
                    <a:pt x="2" y="0"/>
                    <a:pt x="4" y="0"/>
                    <a:pt x="6" y="1"/>
                  </a:cubicBez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0BEE4A60-7FAA-42D6-A6F9-10A632A2BB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85580" y="2964011"/>
              <a:ext cx="36104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F508880B-5FEF-492D-8D4C-B1F66ABC97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42922" y="2930031"/>
              <a:ext cx="31856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6AB52264-0083-41DC-84DB-C82B277072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3788" y="1579323"/>
              <a:ext cx="2975378" cy="1703250"/>
            </a:xfrm>
            <a:custGeom>
              <a:avLst/>
              <a:gdLst>
                <a:gd name="T0" fmla="*/ 403 w 674"/>
                <a:gd name="T1" fmla="*/ 386 h 386"/>
                <a:gd name="T2" fmla="*/ 391 w 674"/>
                <a:gd name="T3" fmla="*/ 384 h 386"/>
                <a:gd name="T4" fmla="*/ 5 w 674"/>
                <a:gd name="T5" fmla="*/ 164 h 386"/>
                <a:gd name="T6" fmla="*/ 0 w 674"/>
                <a:gd name="T7" fmla="*/ 158 h 386"/>
                <a:gd name="T8" fmla="*/ 0 w 674"/>
                <a:gd name="T9" fmla="*/ 158 h 386"/>
                <a:gd name="T10" fmla="*/ 0 w 674"/>
                <a:gd name="T11" fmla="*/ 156 h 386"/>
                <a:gd name="T12" fmla="*/ 0 w 674"/>
                <a:gd name="T13" fmla="*/ 146 h 386"/>
                <a:gd name="T14" fmla="*/ 16 w 674"/>
                <a:gd name="T15" fmla="*/ 141 h 386"/>
                <a:gd name="T16" fmla="*/ 258 w 674"/>
                <a:gd name="T17" fmla="*/ 5 h 386"/>
                <a:gd name="T18" fmla="*/ 284 w 674"/>
                <a:gd name="T19" fmla="*/ 4 h 386"/>
                <a:gd name="T20" fmla="*/ 674 w 674"/>
                <a:gd name="T21" fmla="*/ 219 h 386"/>
                <a:gd name="T22" fmla="*/ 674 w 674"/>
                <a:gd name="T23" fmla="*/ 233 h 386"/>
                <a:gd name="T24" fmla="*/ 667 w 674"/>
                <a:gd name="T25" fmla="*/ 241 h 386"/>
                <a:gd name="T26" fmla="*/ 418 w 674"/>
                <a:gd name="T27" fmla="*/ 383 h 386"/>
                <a:gd name="T28" fmla="*/ 403 w 674"/>
                <a:gd name="T29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4" h="386">
                  <a:moveTo>
                    <a:pt x="403" y="386"/>
                  </a:moveTo>
                  <a:cubicBezTo>
                    <a:pt x="398" y="386"/>
                    <a:pt x="394" y="386"/>
                    <a:pt x="391" y="384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2" y="162"/>
                    <a:pt x="1" y="160"/>
                    <a:pt x="0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258" y="5"/>
                    <a:pt x="258" y="5"/>
                    <a:pt x="258" y="5"/>
                  </a:cubicBezTo>
                  <a:cubicBezTo>
                    <a:pt x="265" y="0"/>
                    <a:pt x="277" y="0"/>
                    <a:pt x="284" y="4"/>
                  </a:cubicBezTo>
                  <a:cubicBezTo>
                    <a:pt x="674" y="219"/>
                    <a:pt x="674" y="219"/>
                    <a:pt x="674" y="219"/>
                  </a:cubicBezTo>
                  <a:cubicBezTo>
                    <a:pt x="674" y="233"/>
                    <a:pt x="674" y="233"/>
                    <a:pt x="674" y="233"/>
                  </a:cubicBezTo>
                  <a:cubicBezTo>
                    <a:pt x="673" y="236"/>
                    <a:pt x="671" y="239"/>
                    <a:pt x="667" y="241"/>
                  </a:cubicBezTo>
                  <a:cubicBezTo>
                    <a:pt x="418" y="383"/>
                    <a:pt x="418" y="383"/>
                    <a:pt x="418" y="383"/>
                  </a:cubicBezTo>
                  <a:cubicBezTo>
                    <a:pt x="413" y="385"/>
                    <a:pt x="408" y="386"/>
                    <a:pt x="403" y="38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C7638EE0-2CD0-4939-A4E1-BEAA2AC00A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3788" y="1547467"/>
              <a:ext cx="2983873" cy="1694755"/>
            </a:xfrm>
            <a:custGeom>
              <a:avLst/>
              <a:gdLst>
                <a:gd name="T0" fmla="*/ 670 w 676"/>
                <a:gd name="T1" fmla="*/ 224 h 384"/>
                <a:gd name="T2" fmla="*/ 283 w 676"/>
                <a:gd name="T3" fmla="*/ 4 h 384"/>
                <a:gd name="T4" fmla="*/ 259 w 676"/>
                <a:gd name="T5" fmla="*/ 5 h 384"/>
                <a:gd name="T6" fmla="*/ 8 w 676"/>
                <a:gd name="T7" fmla="*/ 146 h 384"/>
                <a:gd name="T8" fmla="*/ 6 w 676"/>
                <a:gd name="T9" fmla="*/ 160 h 384"/>
                <a:gd name="T10" fmla="*/ 393 w 676"/>
                <a:gd name="T11" fmla="*/ 380 h 384"/>
                <a:gd name="T12" fmla="*/ 417 w 676"/>
                <a:gd name="T13" fmla="*/ 379 h 384"/>
                <a:gd name="T14" fmla="*/ 661 w 676"/>
                <a:gd name="T15" fmla="*/ 242 h 384"/>
                <a:gd name="T16" fmla="*/ 670 w 676"/>
                <a:gd name="T17" fmla="*/ 22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6" h="384">
                  <a:moveTo>
                    <a:pt x="670" y="224"/>
                  </a:moveTo>
                  <a:cubicBezTo>
                    <a:pt x="283" y="4"/>
                    <a:pt x="283" y="4"/>
                    <a:pt x="283" y="4"/>
                  </a:cubicBezTo>
                  <a:cubicBezTo>
                    <a:pt x="277" y="0"/>
                    <a:pt x="266" y="1"/>
                    <a:pt x="259" y="5"/>
                  </a:cubicBezTo>
                  <a:cubicBezTo>
                    <a:pt x="8" y="146"/>
                    <a:pt x="8" y="146"/>
                    <a:pt x="8" y="146"/>
                  </a:cubicBezTo>
                  <a:cubicBezTo>
                    <a:pt x="1" y="150"/>
                    <a:pt x="0" y="157"/>
                    <a:pt x="6" y="160"/>
                  </a:cubicBezTo>
                  <a:cubicBezTo>
                    <a:pt x="393" y="380"/>
                    <a:pt x="393" y="380"/>
                    <a:pt x="393" y="380"/>
                  </a:cubicBezTo>
                  <a:cubicBezTo>
                    <a:pt x="399" y="384"/>
                    <a:pt x="410" y="383"/>
                    <a:pt x="417" y="379"/>
                  </a:cubicBezTo>
                  <a:cubicBezTo>
                    <a:pt x="661" y="242"/>
                    <a:pt x="661" y="242"/>
                    <a:pt x="661" y="242"/>
                  </a:cubicBezTo>
                  <a:cubicBezTo>
                    <a:pt x="668" y="238"/>
                    <a:pt x="676" y="227"/>
                    <a:pt x="670" y="224"/>
                  </a:cubicBezTo>
                  <a:close/>
                </a:path>
              </a:pathLst>
            </a:custGeom>
            <a:solidFill>
              <a:srgbClr val="FFB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E0F3960C-B131-48B5-BC73-54783A7888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93788" y="1572952"/>
              <a:ext cx="2979626" cy="1673518"/>
            </a:xfrm>
            <a:custGeom>
              <a:avLst/>
              <a:gdLst>
                <a:gd name="T0" fmla="*/ 669 w 675"/>
                <a:gd name="T1" fmla="*/ 224 h 379"/>
                <a:gd name="T2" fmla="*/ 283 w 675"/>
                <a:gd name="T3" fmla="*/ 4 h 379"/>
                <a:gd name="T4" fmla="*/ 258 w 675"/>
                <a:gd name="T5" fmla="*/ 5 h 379"/>
                <a:gd name="T6" fmla="*/ 7 w 675"/>
                <a:gd name="T7" fmla="*/ 146 h 379"/>
                <a:gd name="T8" fmla="*/ 9 w 675"/>
                <a:gd name="T9" fmla="*/ 157 h 379"/>
                <a:gd name="T10" fmla="*/ 390 w 675"/>
                <a:gd name="T11" fmla="*/ 371 h 379"/>
                <a:gd name="T12" fmla="*/ 415 w 675"/>
                <a:gd name="T13" fmla="*/ 375 h 379"/>
                <a:gd name="T14" fmla="*/ 653 w 675"/>
                <a:gd name="T15" fmla="*/ 239 h 379"/>
                <a:gd name="T16" fmla="*/ 669 w 675"/>
                <a:gd name="T17" fmla="*/ 224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379">
                  <a:moveTo>
                    <a:pt x="669" y="224"/>
                  </a:moveTo>
                  <a:cubicBezTo>
                    <a:pt x="283" y="4"/>
                    <a:pt x="283" y="4"/>
                    <a:pt x="283" y="4"/>
                  </a:cubicBezTo>
                  <a:cubicBezTo>
                    <a:pt x="276" y="0"/>
                    <a:pt x="265" y="1"/>
                    <a:pt x="258" y="5"/>
                  </a:cubicBezTo>
                  <a:cubicBezTo>
                    <a:pt x="7" y="146"/>
                    <a:pt x="7" y="146"/>
                    <a:pt x="7" y="146"/>
                  </a:cubicBezTo>
                  <a:cubicBezTo>
                    <a:pt x="0" y="150"/>
                    <a:pt x="3" y="154"/>
                    <a:pt x="9" y="157"/>
                  </a:cubicBezTo>
                  <a:cubicBezTo>
                    <a:pt x="390" y="371"/>
                    <a:pt x="390" y="371"/>
                    <a:pt x="390" y="371"/>
                  </a:cubicBezTo>
                  <a:cubicBezTo>
                    <a:pt x="396" y="374"/>
                    <a:pt x="408" y="379"/>
                    <a:pt x="415" y="375"/>
                  </a:cubicBezTo>
                  <a:cubicBezTo>
                    <a:pt x="653" y="239"/>
                    <a:pt x="653" y="239"/>
                    <a:pt x="653" y="239"/>
                  </a:cubicBezTo>
                  <a:cubicBezTo>
                    <a:pt x="661" y="235"/>
                    <a:pt x="675" y="227"/>
                    <a:pt x="669" y="224"/>
                  </a:cubicBezTo>
                  <a:close/>
                </a:path>
              </a:pathLst>
            </a:custGeom>
            <a:solidFill>
              <a:srgbClr val="FFE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FE413F0E-A92D-460B-975F-779EE0A44E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93788" y="1538972"/>
              <a:ext cx="2975378" cy="1707498"/>
            </a:xfrm>
            <a:custGeom>
              <a:avLst/>
              <a:gdLst>
                <a:gd name="T0" fmla="*/ 403 w 674"/>
                <a:gd name="T1" fmla="*/ 387 h 387"/>
                <a:gd name="T2" fmla="*/ 392 w 674"/>
                <a:gd name="T3" fmla="*/ 384 h 387"/>
                <a:gd name="T4" fmla="*/ 5 w 674"/>
                <a:gd name="T5" fmla="*/ 164 h 387"/>
                <a:gd name="T6" fmla="*/ 0 w 674"/>
                <a:gd name="T7" fmla="*/ 156 h 387"/>
                <a:gd name="T8" fmla="*/ 7 w 674"/>
                <a:gd name="T9" fmla="*/ 147 h 387"/>
                <a:gd name="T10" fmla="*/ 258 w 674"/>
                <a:gd name="T11" fmla="*/ 5 h 387"/>
                <a:gd name="T12" fmla="*/ 284 w 674"/>
                <a:gd name="T13" fmla="*/ 4 h 387"/>
                <a:gd name="T14" fmla="*/ 671 w 674"/>
                <a:gd name="T15" fmla="*/ 224 h 387"/>
                <a:gd name="T16" fmla="*/ 674 w 674"/>
                <a:gd name="T17" fmla="*/ 229 h 387"/>
                <a:gd name="T18" fmla="*/ 661 w 674"/>
                <a:gd name="T19" fmla="*/ 245 h 387"/>
                <a:gd name="T20" fmla="*/ 418 w 674"/>
                <a:gd name="T21" fmla="*/ 383 h 387"/>
                <a:gd name="T22" fmla="*/ 403 w 674"/>
                <a:gd name="T23" fmla="*/ 387 h 387"/>
                <a:gd name="T24" fmla="*/ 273 w 674"/>
                <a:gd name="T25" fmla="*/ 5 h 387"/>
                <a:gd name="T26" fmla="*/ 260 w 674"/>
                <a:gd name="T27" fmla="*/ 8 h 387"/>
                <a:gd name="T28" fmla="*/ 9 w 674"/>
                <a:gd name="T29" fmla="*/ 150 h 387"/>
                <a:gd name="T30" fmla="*/ 4 w 674"/>
                <a:gd name="T31" fmla="*/ 156 h 387"/>
                <a:gd name="T32" fmla="*/ 7 w 674"/>
                <a:gd name="T33" fmla="*/ 161 h 387"/>
                <a:gd name="T34" fmla="*/ 394 w 674"/>
                <a:gd name="T35" fmla="*/ 381 h 387"/>
                <a:gd name="T36" fmla="*/ 416 w 674"/>
                <a:gd name="T37" fmla="*/ 380 h 387"/>
                <a:gd name="T38" fmla="*/ 660 w 674"/>
                <a:gd name="T39" fmla="*/ 242 h 387"/>
                <a:gd name="T40" fmla="*/ 670 w 674"/>
                <a:gd name="T41" fmla="*/ 229 h 387"/>
                <a:gd name="T42" fmla="*/ 669 w 674"/>
                <a:gd name="T43" fmla="*/ 227 h 387"/>
                <a:gd name="T44" fmla="*/ 282 w 674"/>
                <a:gd name="T45" fmla="*/ 7 h 387"/>
                <a:gd name="T46" fmla="*/ 273 w 674"/>
                <a:gd name="T47" fmla="*/ 5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74" h="387">
                  <a:moveTo>
                    <a:pt x="403" y="387"/>
                  </a:moveTo>
                  <a:cubicBezTo>
                    <a:pt x="399" y="387"/>
                    <a:pt x="395" y="386"/>
                    <a:pt x="392" y="384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2" y="162"/>
                    <a:pt x="0" y="159"/>
                    <a:pt x="0" y="156"/>
                  </a:cubicBezTo>
                  <a:cubicBezTo>
                    <a:pt x="0" y="153"/>
                    <a:pt x="3" y="149"/>
                    <a:pt x="7" y="147"/>
                  </a:cubicBezTo>
                  <a:cubicBezTo>
                    <a:pt x="258" y="5"/>
                    <a:pt x="258" y="5"/>
                    <a:pt x="258" y="5"/>
                  </a:cubicBezTo>
                  <a:cubicBezTo>
                    <a:pt x="266" y="1"/>
                    <a:pt x="278" y="0"/>
                    <a:pt x="284" y="4"/>
                  </a:cubicBezTo>
                  <a:cubicBezTo>
                    <a:pt x="671" y="224"/>
                    <a:pt x="671" y="224"/>
                    <a:pt x="671" y="224"/>
                  </a:cubicBezTo>
                  <a:cubicBezTo>
                    <a:pt x="673" y="225"/>
                    <a:pt x="674" y="227"/>
                    <a:pt x="674" y="229"/>
                  </a:cubicBezTo>
                  <a:cubicBezTo>
                    <a:pt x="674" y="235"/>
                    <a:pt x="668" y="242"/>
                    <a:pt x="661" y="245"/>
                  </a:cubicBezTo>
                  <a:cubicBezTo>
                    <a:pt x="418" y="383"/>
                    <a:pt x="418" y="383"/>
                    <a:pt x="418" y="383"/>
                  </a:cubicBezTo>
                  <a:cubicBezTo>
                    <a:pt x="414" y="385"/>
                    <a:pt x="408" y="387"/>
                    <a:pt x="403" y="387"/>
                  </a:cubicBezTo>
                  <a:close/>
                  <a:moveTo>
                    <a:pt x="273" y="5"/>
                  </a:moveTo>
                  <a:cubicBezTo>
                    <a:pt x="268" y="5"/>
                    <a:pt x="264" y="6"/>
                    <a:pt x="260" y="8"/>
                  </a:cubicBezTo>
                  <a:cubicBezTo>
                    <a:pt x="9" y="150"/>
                    <a:pt x="9" y="150"/>
                    <a:pt x="9" y="150"/>
                  </a:cubicBezTo>
                  <a:cubicBezTo>
                    <a:pt x="6" y="152"/>
                    <a:pt x="4" y="154"/>
                    <a:pt x="4" y="156"/>
                  </a:cubicBezTo>
                  <a:cubicBezTo>
                    <a:pt x="4" y="158"/>
                    <a:pt x="5" y="160"/>
                    <a:pt x="7" y="161"/>
                  </a:cubicBezTo>
                  <a:cubicBezTo>
                    <a:pt x="394" y="381"/>
                    <a:pt x="394" y="381"/>
                    <a:pt x="394" y="381"/>
                  </a:cubicBezTo>
                  <a:cubicBezTo>
                    <a:pt x="399" y="384"/>
                    <a:pt x="410" y="383"/>
                    <a:pt x="416" y="380"/>
                  </a:cubicBezTo>
                  <a:cubicBezTo>
                    <a:pt x="660" y="242"/>
                    <a:pt x="660" y="242"/>
                    <a:pt x="660" y="242"/>
                  </a:cubicBezTo>
                  <a:cubicBezTo>
                    <a:pt x="665" y="239"/>
                    <a:pt x="670" y="233"/>
                    <a:pt x="670" y="229"/>
                  </a:cubicBezTo>
                  <a:cubicBezTo>
                    <a:pt x="670" y="228"/>
                    <a:pt x="670" y="228"/>
                    <a:pt x="669" y="227"/>
                  </a:cubicBezTo>
                  <a:cubicBezTo>
                    <a:pt x="282" y="7"/>
                    <a:pt x="282" y="7"/>
                    <a:pt x="282" y="7"/>
                  </a:cubicBezTo>
                  <a:cubicBezTo>
                    <a:pt x="280" y="6"/>
                    <a:pt x="277" y="5"/>
                    <a:pt x="273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Freeform 86">
              <a:extLst>
                <a:ext uri="{FF2B5EF4-FFF2-40B4-BE49-F238E27FC236}">
                  <a16:creationId xmlns:a16="http://schemas.microsoft.com/office/drawing/2014/main" id="{529843CA-0F41-44FA-93C9-E32F6703E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1884" y="1961599"/>
              <a:ext cx="273964" cy="155034"/>
            </a:xfrm>
            <a:custGeom>
              <a:avLst/>
              <a:gdLst>
                <a:gd name="T0" fmla="*/ 16 w 62"/>
                <a:gd name="T1" fmla="*/ 35 h 35"/>
                <a:gd name="T2" fmla="*/ 4 w 62"/>
                <a:gd name="T3" fmla="*/ 28 h 35"/>
                <a:gd name="T4" fmla="*/ 4 w 62"/>
                <a:gd name="T5" fmla="*/ 20 h 35"/>
                <a:gd name="T6" fmla="*/ 36 w 62"/>
                <a:gd name="T7" fmla="*/ 2 h 35"/>
                <a:gd name="T8" fmla="*/ 50 w 62"/>
                <a:gd name="T9" fmla="*/ 2 h 35"/>
                <a:gd name="T10" fmla="*/ 62 w 62"/>
                <a:gd name="T11" fmla="*/ 8 h 35"/>
                <a:gd name="T12" fmla="*/ 16 w 62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35">
                  <a:moveTo>
                    <a:pt x="16" y="35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0" y="26"/>
                    <a:pt x="0" y="22"/>
                    <a:pt x="4" y="20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40" y="0"/>
                    <a:pt x="46" y="0"/>
                    <a:pt x="50" y="2"/>
                  </a:cubicBezTo>
                  <a:cubicBezTo>
                    <a:pt x="62" y="8"/>
                    <a:pt x="62" y="8"/>
                    <a:pt x="62" y="8"/>
                  </a:cubicBezTo>
                  <a:lnTo>
                    <a:pt x="16" y="35"/>
                  </a:lnTo>
                  <a:close/>
                </a:path>
              </a:pathLst>
            </a:custGeom>
            <a:solidFill>
              <a:srgbClr val="FFB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4" name="Freeform 87">
              <a:extLst>
                <a:ext uri="{FF2B5EF4-FFF2-40B4-BE49-F238E27FC236}">
                  <a16:creationId xmlns:a16="http://schemas.microsoft.com/office/drawing/2014/main" id="{8800EB0E-603F-4F76-9847-65FEAED6E9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77636" y="1919124"/>
              <a:ext cx="295202" cy="176272"/>
            </a:xfrm>
            <a:custGeom>
              <a:avLst/>
              <a:gdLst>
                <a:gd name="T0" fmla="*/ 17 w 67"/>
                <a:gd name="T1" fmla="*/ 40 h 40"/>
                <a:gd name="T2" fmla="*/ 4 w 67"/>
                <a:gd name="T3" fmla="*/ 32 h 40"/>
                <a:gd name="T4" fmla="*/ 0 w 67"/>
                <a:gd name="T5" fmla="*/ 27 h 40"/>
                <a:gd name="T6" fmla="*/ 4 w 67"/>
                <a:gd name="T7" fmla="*/ 21 h 40"/>
                <a:gd name="T8" fmla="*/ 36 w 67"/>
                <a:gd name="T9" fmla="*/ 3 h 40"/>
                <a:gd name="T10" fmla="*/ 52 w 67"/>
                <a:gd name="T11" fmla="*/ 3 h 40"/>
                <a:gd name="T12" fmla="*/ 67 w 67"/>
                <a:gd name="T13" fmla="*/ 11 h 40"/>
                <a:gd name="T14" fmla="*/ 17 w 67"/>
                <a:gd name="T15" fmla="*/ 40 h 40"/>
                <a:gd name="T16" fmla="*/ 44 w 67"/>
                <a:gd name="T17" fmla="*/ 5 h 40"/>
                <a:gd name="T18" fmla="*/ 38 w 67"/>
                <a:gd name="T19" fmla="*/ 6 h 40"/>
                <a:gd name="T20" fmla="*/ 6 w 67"/>
                <a:gd name="T21" fmla="*/ 24 h 40"/>
                <a:gd name="T22" fmla="*/ 4 w 67"/>
                <a:gd name="T23" fmla="*/ 27 h 40"/>
                <a:gd name="T24" fmla="*/ 6 w 67"/>
                <a:gd name="T25" fmla="*/ 29 h 40"/>
                <a:gd name="T26" fmla="*/ 17 w 67"/>
                <a:gd name="T27" fmla="*/ 35 h 40"/>
                <a:gd name="T28" fmla="*/ 59 w 67"/>
                <a:gd name="T29" fmla="*/ 11 h 40"/>
                <a:gd name="T30" fmla="*/ 50 w 67"/>
                <a:gd name="T31" fmla="*/ 6 h 40"/>
                <a:gd name="T32" fmla="*/ 44 w 67"/>
                <a:gd name="T33" fmla="*/ 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" h="40">
                  <a:moveTo>
                    <a:pt x="17" y="40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2" y="31"/>
                    <a:pt x="0" y="29"/>
                    <a:pt x="0" y="27"/>
                  </a:cubicBezTo>
                  <a:cubicBezTo>
                    <a:pt x="0" y="25"/>
                    <a:pt x="2" y="23"/>
                    <a:pt x="4" y="21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41" y="0"/>
                    <a:pt x="48" y="0"/>
                    <a:pt x="52" y="3"/>
                  </a:cubicBezTo>
                  <a:cubicBezTo>
                    <a:pt x="67" y="11"/>
                    <a:pt x="67" y="11"/>
                    <a:pt x="67" y="11"/>
                  </a:cubicBezTo>
                  <a:lnTo>
                    <a:pt x="17" y="40"/>
                  </a:lnTo>
                  <a:close/>
                  <a:moveTo>
                    <a:pt x="44" y="5"/>
                  </a:moveTo>
                  <a:cubicBezTo>
                    <a:pt x="42" y="5"/>
                    <a:pt x="40" y="5"/>
                    <a:pt x="38" y="6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5" y="25"/>
                    <a:pt x="4" y="26"/>
                    <a:pt x="4" y="27"/>
                  </a:cubicBezTo>
                  <a:cubicBezTo>
                    <a:pt x="4" y="28"/>
                    <a:pt x="5" y="28"/>
                    <a:pt x="6" y="29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49" y="5"/>
                    <a:pt x="46" y="5"/>
                    <a:pt x="44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745439B3-1CD0-49B0-B264-B2A9E91F16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75329" y="2010445"/>
              <a:ext cx="286707" cy="163529"/>
            </a:xfrm>
            <a:custGeom>
              <a:avLst/>
              <a:gdLst>
                <a:gd name="T0" fmla="*/ 95 w 135"/>
                <a:gd name="T1" fmla="*/ 0 h 77"/>
                <a:gd name="T2" fmla="*/ 135 w 135"/>
                <a:gd name="T3" fmla="*/ 23 h 77"/>
                <a:gd name="T4" fmla="*/ 37 w 135"/>
                <a:gd name="T5" fmla="*/ 77 h 77"/>
                <a:gd name="T6" fmla="*/ 0 w 135"/>
                <a:gd name="T7" fmla="*/ 54 h 77"/>
                <a:gd name="T8" fmla="*/ 95 w 135"/>
                <a:gd name="T9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77">
                  <a:moveTo>
                    <a:pt x="95" y="0"/>
                  </a:moveTo>
                  <a:lnTo>
                    <a:pt x="135" y="23"/>
                  </a:lnTo>
                  <a:lnTo>
                    <a:pt x="37" y="77"/>
                  </a:lnTo>
                  <a:lnTo>
                    <a:pt x="0" y="54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FFB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077F2318-D234-496E-94AB-B121328304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56215" y="1972218"/>
              <a:ext cx="318563" cy="180519"/>
            </a:xfrm>
            <a:custGeom>
              <a:avLst/>
              <a:gdLst>
                <a:gd name="T0" fmla="*/ 46 w 150"/>
                <a:gd name="T1" fmla="*/ 85 h 85"/>
                <a:gd name="T2" fmla="*/ 0 w 150"/>
                <a:gd name="T3" fmla="*/ 58 h 85"/>
                <a:gd name="T4" fmla="*/ 104 w 150"/>
                <a:gd name="T5" fmla="*/ 0 h 85"/>
                <a:gd name="T6" fmla="*/ 150 w 150"/>
                <a:gd name="T7" fmla="*/ 27 h 85"/>
                <a:gd name="T8" fmla="*/ 46 w 150"/>
                <a:gd name="T9" fmla="*/ 85 h 85"/>
                <a:gd name="T10" fmla="*/ 15 w 150"/>
                <a:gd name="T11" fmla="*/ 58 h 85"/>
                <a:gd name="T12" fmla="*/ 46 w 150"/>
                <a:gd name="T13" fmla="*/ 76 h 85"/>
                <a:gd name="T14" fmla="*/ 135 w 150"/>
                <a:gd name="T15" fmla="*/ 27 h 85"/>
                <a:gd name="T16" fmla="*/ 104 w 150"/>
                <a:gd name="T17" fmla="*/ 8 h 85"/>
                <a:gd name="T18" fmla="*/ 15 w 150"/>
                <a:gd name="T19" fmla="*/ 5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85">
                  <a:moveTo>
                    <a:pt x="46" y="85"/>
                  </a:moveTo>
                  <a:lnTo>
                    <a:pt x="0" y="58"/>
                  </a:lnTo>
                  <a:lnTo>
                    <a:pt x="104" y="0"/>
                  </a:lnTo>
                  <a:lnTo>
                    <a:pt x="150" y="27"/>
                  </a:lnTo>
                  <a:lnTo>
                    <a:pt x="46" y="85"/>
                  </a:lnTo>
                  <a:close/>
                  <a:moveTo>
                    <a:pt x="15" y="58"/>
                  </a:moveTo>
                  <a:lnTo>
                    <a:pt x="46" y="76"/>
                  </a:lnTo>
                  <a:lnTo>
                    <a:pt x="135" y="27"/>
                  </a:lnTo>
                  <a:lnTo>
                    <a:pt x="104" y="8"/>
                  </a:lnTo>
                  <a:lnTo>
                    <a:pt x="15" y="5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329EA29E-EF3C-4498-9159-CB3C9A967E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75145" y="2072034"/>
              <a:ext cx="273964" cy="155034"/>
            </a:xfrm>
            <a:custGeom>
              <a:avLst/>
              <a:gdLst>
                <a:gd name="T0" fmla="*/ 12 w 62"/>
                <a:gd name="T1" fmla="*/ 32 h 35"/>
                <a:gd name="T2" fmla="*/ 0 w 62"/>
                <a:gd name="T3" fmla="*/ 26 h 35"/>
                <a:gd name="T4" fmla="*/ 46 w 62"/>
                <a:gd name="T5" fmla="*/ 0 h 35"/>
                <a:gd name="T6" fmla="*/ 58 w 62"/>
                <a:gd name="T7" fmla="*/ 6 h 35"/>
                <a:gd name="T8" fmla="*/ 58 w 62"/>
                <a:gd name="T9" fmla="*/ 14 h 35"/>
                <a:gd name="T10" fmla="*/ 26 w 62"/>
                <a:gd name="T11" fmla="*/ 32 h 35"/>
                <a:gd name="T12" fmla="*/ 12 w 62"/>
                <a:gd name="T13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35">
                  <a:moveTo>
                    <a:pt x="12" y="32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62" y="8"/>
                    <a:pt x="62" y="12"/>
                    <a:pt x="58" y="14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2" y="35"/>
                    <a:pt x="16" y="35"/>
                    <a:pt x="12" y="32"/>
                  </a:cubicBezTo>
                  <a:close/>
                </a:path>
              </a:pathLst>
            </a:custGeom>
            <a:solidFill>
              <a:srgbClr val="FFB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3F996210-8491-4606-9F61-5DB8B5C362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58155" y="2029559"/>
              <a:ext cx="295202" cy="172024"/>
            </a:xfrm>
            <a:custGeom>
              <a:avLst/>
              <a:gdLst>
                <a:gd name="T0" fmla="*/ 23 w 67"/>
                <a:gd name="T1" fmla="*/ 39 h 39"/>
                <a:gd name="T2" fmla="*/ 15 w 67"/>
                <a:gd name="T3" fmla="*/ 37 h 39"/>
                <a:gd name="T4" fmla="*/ 0 w 67"/>
                <a:gd name="T5" fmla="*/ 29 h 39"/>
                <a:gd name="T6" fmla="*/ 50 w 67"/>
                <a:gd name="T7" fmla="*/ 0 h 39"/>
                <a:gd name="T8" fmla="*/ 63 w 67"/>
                <a:gd name="T9" fmla="*/ 7 h 39"/>
                <a:gd name="T10" fmla="*/ 67 w 67"/>
                <a:gd name="T11" fmla="*/ 13 h 39"/>
                <a:gd name="T12" fmla="*/ 63 w 67"/>
                <a:gd name="T13" fmla="*/ 19 h 39"/>
                <a:gd name="T14" fmla="*/ 31 w 67"/>
                <a:gd name="T15" fmla="*/ 37 h 39"/>
                <a:gd name="T16" fmla="*/ 23 w 67"/>
                <a:gd name="T17" fmla="*/ 39 h 39"/>
                <a:gd name="T18" fmla="*/ 17 w 67"/>
                <a:gd name="T19" fmla="*/ 33 h 39"/>
                <a:gd name="T20" fmla="*/ 29 w 67"/>
                <a:gd name="T21" fmla="*/ 34 h 39"/>
                <a:gd name="T22" fmla="*/ 61 w 67"/>
                <a:gd name="T23" fmla="*/ 15 h 39"/>
                <a:gd name="T24" fmla="*/ 63 w 67"/>
                <a:gd name="T25" fmla="*/ 13 h 39"/>
                <a:gd name="T26" fmla="*/ 61 w 67"/>
                <a:gd name="T27" fmla="*/ 11 h 39"/>
                <a:gd name="T28" fmla="*/ 50 w 67"/>
                <a:gd name="T29" fmla="*/ 5 h 39"/>
                <a:gd name="T30" fmla="*/ 8 w 67"/>
                <a:gd name="T31" fmla="*/ 29 h 39"/>
                <a:gd name="T32" fmla="*/ 17 w 67"/>
                <a:gd name="T33" fmla="*/ 3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" h="39">
                  <a:moveTo>
                    <a:pt x="23" y="39"/>
                  </a:moveTo>
                  <a:cubicBezTo>
                    <a:pt x="20" y="39"/>
                    <a:pt x="17" y="38"/>
                    <a:pt x="15" y="37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5" y="9"/>
                    <a:pt x="67" y="11"/>
                    <a:pt x="67" y="13"/>
                  </a:cubicBezTo>
                  <a:cubicBezTo>
                    <a:pt x="67" y="15"/>
                    <a:pt x="65" y="17"/>
                    <a:pt x="63" y="19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29" y="38"/>
                    <a:pt x="26" y="39"/>
                    <a:pt x="23" y="39"/>
                  </a:cubicBezTo>
                  <a:close/>
                  <a:moveTo>
                    <a:pt x="17" y="33"/>
                  </a:moveTo>
                  <a:cubicBezTo>
                    <a:pt x="20" y="35"/>
                    <a:pt x="26" y="35"/>
                    <a:pt x="29" y="34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2" y="15"/>
                    <a:pt x="63" y="14"/>
                    <a:pt x="63" y="13"/>
                  </a:cubicBezTo>
                  <a:cubicBezTo>
                    <a:pt x="63" y="12"/>
                    <a:pt x="62" y="11"/>
                    <a:pt x="61" y="11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8" y="29"/>
                    <a:pt x="8" y="29"/>
                    <a:pt x="8" y="29"/>
                  </a:cubicBezTo>
                  <a:lnTo>
                    <a:pt x="17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2F63874B-F69C-488E-AC02-7F02119A84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2439" y="2906669"/>
              <a:ext cx="150786" cy="89198"/>
            </a:xfrm>
            <a:custGeom>
              <a:avLst/>
              <a:gdLst>
                <a:gd name="T0" fmla="*/ 29 w 34"/>
                <a:gd name="T1" fmla="*/ 3 h 20"/>
                <a:gd name="T2" fmla="*/ 25 w 34"/>
                <a:gd name="T3" fmla="*/ 15 h 20"/>
                <a:gd name="T4" fmla="*/ 6 w 34"/>
                <a:gd name="T5" fmla="*/ 17 h 20"/>
                <a:gd name="T6" fmla="*/ 9 w 34"/>
                <a:gd name="T7" fmla="*/ 5 h 20"/>
                <a:gd name="T8" fmla="*/ 29 w 34"/>
                <a:gd name="T9" fmla="*/ 3 h 20"/>
                <a:gd name="T10" fmla="*/ 8 w 34"/>
                <a:gd name="T11" fmla="*/ 15 h 20"/>
                <a:gd name="T12" fmla="*/ 23 w 34"/>
                <a:gd name="T13" fmla="*/ 14 h 20"/>
                <a:gd name="T14" fmla="*/ 26 w 34"/>
                <a:gd name="T15" fmla="*/ 5 h 20"/>
                <a:gd name="T16" fmla="*/ 11 w 34"/>
                <a:gd name="T17" fmla="*/ 7 h 20"/>
                <a:gd name="T18" fmla="*/ 8 w 34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20">
                  <a:moveTo>
                    <a:pt x="29" y="3"/>
                  </a:moveTo>
                  <a:cubicBezTo>
                    <a:pt x="34" y="7"/>
                    <a:pt x="32" y="10"/>
                    <a:pt x="25" y="15"/>
                  </a:cubicBezTo>
                  <a:cubicBezTo>
                    <a:pt x="18" y="19"/>
                    <a:pt x="11" y="20"/>
                    <a:pt x="6" y="17"/>
                  </a:cubicBezTo>
                  <a:cubicBezTo>
                    <a:pt x="0" y="14"/>
                    <a:pt x="2" y="10"/>
                    <a:pt x="9" y="5"/>
                  </a:cubicBezTo>
                  <a:cubicBezTo>
                    <a:pt x="16" y="1"/>
                    <a:pt x="23" y="0"/>
                    <a:pt x="29" y="3"/>
                  </a:cubicBezTo>
                  <a:close/>
                  <a:moveTo>
                    <a:pt x="8" y="15"/>
                  </a:moveTo>
                  <a:cubicBezTo>
                    <a:pt x="12" y="18"/>
                    <a:pt x="18" y="17"/>
                    <a:pt x="23" y="14"/>
                  </a:cubicBezTo>
                  <a:cubicBezTo>
                    <a:pt x="29" y="10"/>
                    <a:pt x="30" y="7"/>
                    <a:pt x="26" y="5"/>
                  </a:cubicBezTo>
                  <a:cubicBezTo>
                    <a:pt x="22" y="2"/>
                    <a:pt x="17" y="3"/>
                    <a:pt x="11" y="7"/>
                  </a:cubicBezTo>
                  <a:cubicBezTo>
                    <a:pt x="5" y="10"/>
                    <a:pt x="4" y="13"/>
                    <a:pt x="8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B0F8E5AE-47C8-4414-89BA-9956337675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73860" y="2862070"/>
              <a:ext cx="150786" cy="89198"/>
            </a:xfrm>
            <a:custGeom>
              <a:avLst/>
              <a:gdLst>
                <a:gd name="T0" fmla="*/ 29 w 34"/>
                <a:gd name="T1" fmla="*/ 3 h 20"/>
                <a:gd name="T2" fmla="*/ 25 w 34"/>
                <a:gd name="T3" fmla="*/ 14 h 20"/>
                <a:gd name="T4" fmla="*/ 6 w 34"/>
                <a:gd name="T5" fmla="*/ 16 h 20"/>
                <a:gd name="T6" fmla="*/ 9 w 34"/>
                <a:gd name="T7" fmla="*/ 5 h 20"/>
                <a:gd name="T8" fmla="*/ 29 w 34"/>
                <a:gd name="T9" fmla="*/ 3 h 20"/>
                <a:gd name="T10" fmla="*/ 8 w 34"/>
                <a:gd name="T11" fmla="*/ 15 h 20"/>
                <a:gd name="T12" fmla="*/ 23 w 34"/>
                <a:gd name="T13" fmla="*/ 13 h 20"/>
                <a:gd name="T14" fmla="*/ 26 w 34"/>
                <a:gd name="T15" fmla="*/ 4 h 20"/>
                <a:gd name="T16" fmla="*/ 11 w 34"/>
                <a:gd name="T17" fmla="*/ 6 h 20"/>
                <a:gd name="T18" fmla="*/ 8 w 34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20">
                  <a:moveTo>
                    <a:pt x="29" y="3"/>
                  </a:moveTo>
                  <a:cubicBezTo>
                    <a:pt x="34" y="6"/>
                    <a:pt x="32" y="10"/>
                    <a:pt x="25" y="14"/>
                  </a:cubicBezTo>
                  <a:cubicBezTo>
                    <a:pt x="18" y="18"/>
                    <a:pt x="11" y="20"/>
                    <a:pt x="6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1"/>
                    <a:pt x="23" y="0"/>
                    <a:pt x="29" y="3"/>
                  </a:cubicBezTo>
                  <a:close/>
                  <a:moveTo>
                    <a:pt x="8" y="15"/>
                  </a:moveTo>
                  <a:cubicBezTo>
                    <a:pt x="12" y="18"/>
                    <a:pt x="18" y="17"/>
                    <a:pt x="23" y="13"/>
                  </a:cubicBezTo>
                  <a:cubicBezTo>
                    <a:pt x="29" y="10"/>
                    <a:pt x="31" y="7"/>
                    <a:pt x="26" y="4"/>
                  </a:cubicBezTo>
                  <a:cubicBezTo>
                    <a:pt x="22" y="2"/>
                    <a:pt x="17" y="3"/>
                    <a:pt x="11" y="6"/>
                  </a:cubicBezTo>
                  <a:cubicBezTo>
                    <a:pt x="5" y="10"/>
                    <a:pt x="4" y="13"/>
                    <a:pt x="8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DBEDB37F-69B5-49C8-AA79-77413FDD1D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95281" y="2819595"/>
              <a:ext cx="148663" cy="82826"/>
            </a:xfrm>
            <a:custGeom>
              <a:avLst/>
              <a:gdLst>
                <a:gd name="T0" fmla="*/ 29 w 34"/>
                <a:gd name="T1" fmla="*/ 3 h 19"/>
                <a:gd name="T2" fmla="*/ 25 w 34"/>
                <a:gd name="T3" fmla="*/ 14 h 19"/>
                <a:gd name="T4" fmla="*/ 6 w 34"/>
                <a:gd name="T5" fmla="*/ 16 h 19"/>
                <a:gd name="T6" fmla="*/ 9 w 34"/>
                <a:gd name="T7" fmla="*/ 5 h 19"/>
                <a:gd name="T8" fmla="*/ 29 w 34"/>
                <a:gd name="T9" fmla="*/ 3 h 19"/>
                <a:gd name="T10" fmla="*/ 8 w 34"/>
                <a:gd name="T11" fmla="*/ 15 h 19"/>
                <a:gd name="T12" fmla="*/ 23 w 34"/>
                <a:gd name="T13" fmla="*/ 13 h 19"/>
                <a:gd name="T14" fmla="*/ 26 w 34"/>
                <a:gd name="T15" fmla="*/ 4 h 19"/>
                <a:gd name="T16" fmla="*/ 11 w 34"/>
                <a:gd name="T17" fmla="*/ 6 h 19"/>
                <a:gd name="T18" fmla="*/ 8 w 34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19">
                  <a:moveTo>
                    <a:pt x="29" y="3"/>
                  </a:moveTo>
                  <a:cubicBezTo>
                    <a:pt x="34" y="6"/>
                    <a:pt x="32" y="10"/>
                    <a:pt x="25" y="14"/>
                  </a:cubicBezTo>
                  <a:cubicBezTo>
                    <a:pt x="18" y="18"/>
                    <a:pt x="11" y="19"/>
                    <a:pt x="6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1"/>
                    <a:pt x="23" y="0"/>
                    <a:pt x="29" y="3"/>
                  </a:cubicBezTo>
                  <a:close/>
                  <a:moveTo>
                    <a:pt x="8" y="15"/>
                  </a:moveTo>
                  <a:cubicBezTo>
                    <a:pt x="12" y="17"/>
                    <a:pt x="18" y="16"/>
                    <a:pt x="23" y="13"/>
                  </a:cubicBezTo>
                  <a:cubicBezTo>
                    <a:pt x="29" y="10"/>
                    <a:pt x="31" y="7"/>
                    <a:pt x="26" y="4"/>
                  </a:cubicBezTo>
                  <a:cubicBezTo>
                    <a:pt x="22" y="2"/>
                    <a:pt x="17" y="3"/>
                    <a:pt x="11" y="6"/>
                  </a:cubicBezTo>
                  <a:cubicBezTo>
                    <a:pt x="5" y="9"/>
                    <a:pt x="4" y="12"/>
                    <a:pt x="8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286AD139-AA76-4E3C-92D1-7FD73FAD58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14579" y="2774997"/>
              <a:ext cx="150786" cy="82826"/>
            </a:xfrm>
            <a:custGeom>
              <a:avLst/>
              <a:gdLst>
                <a:gd name="T0" fmla="*/ 29 w 34"/>
                <a:gd name="T1" fmla="*/ 3 h 19"/>
                <a:gd name="T2" fmla="*/ 25 w 34"/>
                <a:gd name="T3" fmla="*/ 14 h 19"/>
                <a:gd name="T4" fmla="*/ 6 w 34"/>
                <a:gd name="T5" fmla="*/ 16 h 19"/>
                <a:gd name="T6" fmla="*/ 9 w 34"/>
                <a:gd name="T7" fmla="*/ 5 h 19"/>
                <a:gd name="T8" fmla="*/ 29 w 34"/>
                <a:gd name="T9" fmla="*/ 3 h 19"/>
                <a:gd name="T10" fmla="*/ 8 w 34"/>
                <a:gd name="T11" fmla="*/ 15 h 19"/>
                <a:gd name="T12" fmla="*/ 23 w 34"/>
                <a:gd name="T13" fmla="*/ 13 h 19"/>
                <a:gd name="T14" fmla="*/ 26 w 34"/>
                <a:gd name="T15" fmla="*/ 4 h 19"/>
                <a:gd name="T16" fmla="*/ 11 w 34"/>
                <a:gd name="T17" fmla="*/ 6 h 19"/>
                <a:gd name="T18" fmla="*/ 8 w 34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19">
                  <a:moveTo>
                    <a:pt x="29" y="3"/>
                  </a:moveTo>
                  <a:cubicBezTo>
                    <a:pt x="34" y="6"/>
                    <a:pt x="32" y="10"/>
                    <a:pt x="25" y="14"/>
                  </a:cubicBezTo>
                  <a:cubicBezTo>
                    <a:pt x="18" y="18"/>
                    <a:pt x="11" y="19"/>
                    <a:pt x="6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0"/>
                    <a:pt x="23" y="0"/>
                    <a:pt x="29" y="3"/>
                  </a:cubicBezTo>
                  <a:close/>
                  <a:moveTo>
                    <a:pt x="8" y="15"/>
                  </a:moveTo>
                  <a:cubicBezTo>
                    <a:pt x="12" y="17"/>
                    <a:pt x="18" y="16"/>
                    <a:pt x="23" y="13"/>
                  </a:cubicBezTo>
                  <a:cubicBezTo>
                    <a:pt x="29" y="9"/>
                    <a:pt x="31" y="6"/>
                    <a:pt x="26" y="4"/>
                  </a:cubicBezTo>
                  <a:cubicBezTo>
                    <a:pt x="22" y="2"/>
                    <a:pt x="17" y="2"/>
                    <a:pt x="11" y="6"/>
                  </a:cubicBezTo>
                  <a:cubicBezTo>
                    <a:pt x="6" y="9"/>
                    <a:pt x="4" y="12"/>
                    <a:pt x="8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6D05FCAE-06B7-4B99-BAAD-A48D1ADAB4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99896" y="2709160"/>
              <a:ext cx="150786" cy="82826"/>
            </a:xfrm>
            <a:custGeom>
              <a:avLst/>
              <a:gdLst>
                <a:gd name="T0" fmla="*/ 29 w 34"/>
                <a:gd name="T1" fmla="*/ 3 h 19"/>
                <a:gd name="T2" fmla="*/ 25 w 34"/>
                <a:gd name="T3" fmla="*/ 14 h 19"/>
                <a:gd name="T4" fmla="*/ 6 w 34"/>
                <a:gd name="T5" fmla="*/ 16 h 19"/>
                <a:gd name="T6" fmla="*/ 9 w 34"/>
                <a:gd name="T7" fmla="*/ 5 h 19"/>
                <a:gd name="T8" fmla="*/ 29 w 34"/>
                <a:gd name="T9" fmla="*/ 3 h 19"/>
                <a:gd name="T10" fmla="*/ 8 w 34"/>
                <a:gd name="T11" fmla="*/ 15 h 19"/>
                <a:gd name="T12" fmla="*/ 23 w 34"/>
                <a:gd name="T13" fmla="*/ 13 h 19"/>
                <a:gd name="T14" fmla="*/ 26 w 34"/>
                <a:gd name="T15" fmla="*/ 4 h 19"/>
                <a:gd name="T16" fmla="*/ 11 w 34"/>
                <a:gd name="T17" fmla="*/ 6 h 19"/>
                <a:gd name="T18" fmla="*/ 8 w 34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19">
                  <a:moveTo>
                    <a:pt x="29" y="3"/>
                  </a:moveTo>
                  <a:cubicBezTo>
                    <a:pt x="34" y="6"/>
                    <a:pt x="32" y="10"/>
                    <a:pt x="25" y="14"/>
                  </a:cubicBezTo>
                  <a:cubicBezTo>
                    <a:pt x="18" y="18"/>
                    <a:pt x="11" y="19"/>
                    <a:pt x="6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1"/>
                    <a:pt x="23" y="0"/>
                    <a:pt x="29" y="3"/>
                  </a:cubicBezTo>
                  <a:close/>
                  <a:moveTo>
                    <a:pt x="8" y="15"/>
                  </a:moveTo>
                  <a:cubicBezTo>
                    <a:pt x="12" y="17"/>
                    <a:pt x="18" y="16"/>
                    <a:pt x="23" y="13"/>
                  </a:cubicBezTo>
                  <a:cubicBezTo>
                    <a:pt x="29" y="10"/>
                    <a:pt x="31" y="6"/>
                    <a:pt x="26" y="4"/>
                  </a:cubicBezTo>
                  <a:cubicBezTo>
                    <a:pt x="22" y="2"/>
                    <a:pt x="17" y="3"/>
                    <a:pt x="11" y="6"/>
                  </a:cubicBezTo>
                  <a:cubicBezTo>
                    <a:pt x="6" y="9"/>
                    <a:pt x="4" y="12"/>
                    <a:pt x="8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FE5AE1C6-DB4C-46F5-B8EB-2B9C50DCCA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25565" y="2660314"/>
              <a:ext cx="144415" cy="87074"/>
            </a:xfrm>
            <a:custGeom>
              <a:avLst/>
              <a:gdLst>
                <a:gd name="T0" fmla="*/ 28 w 33"/>
                <a:gd name="T1" fmla="*/ 4 h 20"/>
                <a:gd name="T2" fmla="*/ 24 w 33"/>
                <a:gd name="T3" fmla="*/ 15 h 20"/>
                <a:gd name="T4" fmla="*/ 5 w 33"/>
                <a:gd name="T5" fmla="*/ 17 h 20"/>
                <a:gd name="T6" fmla="*/ 8 w 33"/>
                <a:gd name="T7" fmla="*/ 6 h 20"/>
                <a:gd name="T8" fmla="*/ 28 w 33"/>
                <a:gd name="T9" fmla="*/ 4 h 20"/>
                <a:gd name="T10" fmla="*/ 7 w 33"/>
                <a:gd name="T11" fmla="*/ 16 h 20"/>
                <a:gd name="T12" fmla="*/ 22 w 33"/>
                <a:gd name="T13" fmla="*/ 14 h 20"/>
                <a:gd name="T14" fmla="*/ 25 w 33"/>
                <a:gd name="T15" fmla="*/ 5 h 20"/>
                <a:gd name="T16" fmla="*/ 10 w 33"/>
                <a:gd name="T17" fmla="*/ 7 h 20"/>
                <a:gd name="T18" fmla="*/ 7 w 33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4"/>
                  </a:moveTo>
                  <a:cubicBezTo>
                    <a:pt x="33" y="7"/>
                    <a:pt x="32" y="11"/>
                    <a:pt x="24" y="15"/>
                  </a:cubicBezTo>
                  <a:cubicBezTo>
                    <a:pt x="17" y="19"/>
                    <a:pt x="10" y="20"/>
                    <a:pt x="5" y="17"/>
                  </a:cubicBezTo>
                  <a:cubicBezTo>
                    <a:pt x="0" y="14"/>
                    <a:pt x="1" y="10"/>
                    <a:pt x="8" y="6"/>
                  </a:cubicBezTo>
                  <a:cubicBezTo>
                    <a:pt x="15" y="1"/>
                    <a:pt x="22" y="0"/>
                    <a:pt x="28" y="4"/>
                  </a:cubicBezTo>
                  <a:close/>
                  <a:moveTo>
                    <a:pt x="7" y="16"/>
                  </a:moveTo>
                  <a:cubicBezTo>
                    <a:pt x="11" y="18"/>
                    <a:pt x="17" y="17"/>
                    <a:pt x="22" y="14"/>
                  </a:cubicBezTo>
                  <a:cubicBezTo>
                    <a:pt x="28" y="10"/>
                    <a:pt x="30" y="7"/>
                    <a:pt x="25" y="5"/>
                  </a:cubicBezTo>
                  <a:cubicBezTo>
                    <a:pt x="21" y="2"/>
                    <a:pt x="16" y="3"/>
                    <a:pt x="10" y="7"/>
                  </a:cubicBezTo>
                  <a:cubicBezTo>
                    <a:pt x="5" y="10"/>
                    <a:pt x="3" y="13"/>
                    <a:pt x="7" y="1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7DE54C0B-6D85-4CFF-BC1E-A7DEE2659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44862" y="2615715"/>
              <a:ext cx="146539" cy="89198"/>
            </a:xfrm>
            <a:custGeom>
              <a:avLst/>
              <a:gdLst>
                <a:gd name="T0" fmla="*/ 28 w 33"/>
                <a:gd name="T1" fmla="*/ 3 h 20"/>
                <a:gd name="T2" fmla="*/ 24 w 33"/>
                <a:gd name="T3" fmla="*/ 14 h 20"/>
                <a:gd name="T4" fmla="*/ 5 w 33"/>
                <a:gd name="T5" fmla="*/ 17 h 20"/>
                <a:gd name="T6" fmla="*/ 8 w 33"/>
                <a:gd name="T7" fmla="*/ 5 h 20"/>
                <a:gd name="T8" fmla="*/ 28 w 33"/>
                <a:gd name="T9" fmla="*/ 3 h 20"/>
                <a:gd name="T10" fmla="*/ 7 w 33"/>
                <a:gd name="T11" fmla="*/ 15 h 20"/>
                <a:gd name="T12" fmla="*/ 22 w 33"/>
                <a:gd name="T13" fmla="*/ 13 h 20"/>
                <a:gd name="T14" fmla="*/ 25 w 33"/>
                <a:gd name="T15" fmla="*/ 5 h 20"/>
                <a:gd name="T16" fmla="*/ 10 w 33"/>
                <a:gd name="T17" fmla="*/ 6 h 20"/>
                <a:gd name="T18" fmla="*/ 7 w 33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3"/>
                  </a:moveTo>
                  <a:cubicBezTo>
                    <a:pt x="33" y="6"/>
                    <a:pt x="32" y="10"/>
                    <a:pt x="24" y="14"/>
                  </a:cubicBezTo>
                  <a:cubicBezTo>
                    <a:pt x="17" y="19"/>
                    <a:pt x="10" y="20"/>
                    <a:pt x="5" y="17"/>
                  </a:cubicBezTo>
                  <a:cubicBezTo>
                    <a:pt x="0" y="14"/>
                    <a:pt x="1" y="9"/>
                    <a:pt x="8" y="5"/>
                  </a:cubicBezTo>
                  <a:cubicBezTo>
                    <a:pt x="15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1" y="18"/>
                    <a:pt x="17" y="17"/>
                    <a:pt x="22" y="13"/>
                  </a:cubicBezTo>
                  <a:cubicBezTo>
                    <a:pt x="28" y="10"/>
                    <a:pt x="30" y="7"/>
                    <a:pt x="25" y="5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10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ADF171C3-DBB1-4F01-97C3-ACC84E6B11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66283" y="2571116"/>
              <a:ext cx="144415" cy="84950"/>
            </a:xfrm>
            <a:custGeom>
              <a:avLst/>
              <a:gdLst>
                <a:gd name="T0" fmla="*/ 28 w 33"/>
                <a:gd name="T1" fmla="*/ 3 h 19"/>
                <a:gd name="T2" fmla="*/ 24 w 33"/>
                <a:gd name="T3" fmla="*/ 14 h 19"/>
                <a:gd name="T4" fmla="*/ 5 w 33"/>
                <a:gd name="T5" fmla="*/ 16 h 19"/>
                <a:gd name="T6" fmla="*/ 8 w 33"/>
                <a:gd name="T7" fmla="*/ 5 h 19"/>
                <a:gd name="T8" fmla="*/ 28 w 33"/>
                <a:gd name="T9" fmla="*/ 3 h 19"/>
                <a:gd name="T10" fmla="*/ 7 w 33"/>
                <a:gd name="T11" fmla="*/ 15 h 19"/>
                <a:gd name="T12" fmla="*/ 22 w 33"/>
                <a:gd name="T13" fmla="*/ 13 h 19"/>
                <a:gd name="T14" fmla="*/ 26 w 33"/>
                <a:gd name="T15" fmla="*/ 4 h 19"/>
                <a:gd name="T16" fmla="*/ 10 w 33"/>
                <a:gd name="T17" fmla="*/ 6 h 19"/>
                <a:gd name="T18" fmla="*/ 7 w 33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9">
                  <a:moveTo>
                    <a:pt x="28" y="3"/>
                  </a:moveTo>
                  <a:cubicBezTo>
                    <a:pt x="33" y="6"/>
                    <a:pt x="32" y="10"/>
                    <a:pt x="24" y="14"/>
                  </a:cubicBezTo>
                  <a:cubicBezTo>
                    <a:pt x="17" y="18"/>
                    <a:pt x="10" y="19"/>
                    <a:pt x="5" y="16"/>
                  </a:cubicBezTo>
                  <a:cubicBezTo>
                    <a:pt x="0" y="13"/>
                    <a:pt x="1" y="9"/>
                    <a:pt x="8" y="5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1" y="17"/>
                    <a:pt x="17" y="16"/>
                    <a:pt x="22" y="13"/>
                  </a:cubicBezTo>
                  <a:cubicBezTo>
                    <a:pt x="28" y="10"/>
                    <a:pt x="30" y="7"/>
                    <a:pt x="26" y="4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9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252DC1BD-21B3-44F2-85D4-E741C12714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51600" y="2505280"/>
              <a:ext cx="144415" cy="89198"/>
            </a:xfrm>
            <a:custGeom>
              <a:avLst/>
              <a:gdLst>
                <a:gd name="T0" fmla="*/ 28 w 33"/>
                <a:gd name="T1" fmla="*/ 3 h 20"/>
                <a:gd name="T2" fmla="*/ 24 w 33"/>
                <a:gd name="T3" fmla="*/ 14 h 20"/>
                <a:gd name="T4" fmla="*/ 5 w 33"/>
                <a:gd name="T5" fmla="*/ 16 h 20"/>
                <a:gd name="T6" fmla="*/ 8 w 33"/>
                <a:gd name="T7" fmla="*/ 5 h 20"/>
                <a:gd name="T8" fmla="*/ 28 w 33"/>
                <a:gd name="T9" fmla="*/ 3 h 20"/>
                <a:gd name="T10" fmla="*/ 7 w 33"/>
                <a:gd name="T11" fmla="*/ 15 h 20"/>
                <a:gd name="T12" fmla="*/ 22 w 33"/>
                <a:gd name="T13" fmla="*/ 13 h 20"/>
                <a:gd name="T14" fmla="*/ 26 w 33"/>
                <a:gd name="T15" fmla="*/ 4 h 20"/>
                <a:gd name="T16" fmla="*/ 10 w 33"/>
                <a:gd name="T17" fmla="*/ 6 h 20"/>
                <a:gd name="T18" fmla="*/ 7 w 33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3"/>
                  </a:moveTo>
                  <a:cubicBezTo>
                    <a:pt x="33" y="6"/>
                    <a:pt x="32" y="10"/>
                    <a:pt x="24" y="14"/>
                  </a:cubicBezTo>
                  <a:cubicBezTo>
                    <a:pt x="17" y="18"/>
                    <a:pt x="10" y="20"/>
                    <a:pt x="5" y="16"/>
                  </a:cubicBezTo>
                  <a:cubicBezTo>
                    <a:pt x="0" y="13"/>
                    <a:pt x="1" y="9"/>
                    <a:pt x="8" y="5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1" y="18"/>
                    <a:pt x="17" y="17"/>
                    <a:pt x="22" y="13"/>
                  </a:cubicBezTo>
                  <a:cubicBezTo>
                    <a:pt x="28" y="10"/>
                    <a:pt x="30" y="7"/>
                    <a:pt x="26" y="4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10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A6C018AF-EBC4-414E-B7A6-D42A7F1330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470898" y="2460681"/>
              <a:ext cx="146539" cy="84950"/>
            </a:xfrm>
            <a:custGeom>
              <a:avLst/>
              <a:gdLst>
                <a:gd name="T0" fmla="*/ 28 w 33"/>
                <a:gd name="T1" fmla="*/ 3 h 19"/>
                <a:gd name="T2" fmla="*/ 24 w 33"/>
                <a:gd name="T3" fmla="*/ 14 h 19"/>
                <a:gd name="T4" fmla="*/ 5 w 33"/>
                <a:gd name="T5" fmla="*/ 16 h 19"/>
                <a:gd name="T6" fmla="*/ 8 w 33"/>
                <a:gd name="T7" fmla="*/ 5 h 19"/>
                <a:gd name="T8" fmla="*/ 28 w 33"/>
                <a:gd name="T9" fmla="*/ 3 h 19"/>
                <a:gd name="T10" fmla="*/ 7 w 33"/>
                <a:gd name="T11" fmla="*/ 15 h 19"/>
                <a:gd name="T12" fmla="*/ 23 w 33"/>
                <a:gd name="T13" fmla="*/ 13 h 19"/>
                <a:gd name="T14" fmla="*/ 26 w 33"/>
                <a:gd name="T15" fmla="*/ 4 h 19"/>
                <a:gd name="T16" fmla="*/ 10 w 33"/>
                <a:gd name="T17" fmla="*/ 6 h 19"/>
                <a:gd name="T18" fmla="*/ 7 w 33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9">
                  <a:moveTo>
                    <a:pt x="28" y="3"/>
                  </a:moveTo>
                  <a:cubicBezTo>
                    <a:pt x="33" y="6"/>
                    <a:pt x="32" y="10"/>
                    <a:pt x="24" y="14"/>
                  </a:cubicBezTo>
                  <a:cubicBezTo>
                    <a:pt x="17" y="18"/>
                    <a:pt x="10" y="19"/>
                    <a:pt x="5" y="16"/>
                  </a:cubicBezTo>
                  <a:cubicBezTo>
                    <a:pt x="0" y="13"/>
                    <a:pt x="1" y="9"/>
                    <a:pt x="8" y="5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1" y="17"/>
                    <a:pt x="17" y="16"/>
                    <a:pt x="23" y="13"/>
                  </a:cubicBezTo>
                  <a:cubicBezTo>
                    <a:pt x="28" y="10"/>
                    <a:pt x="30" y="7"/>
                    <a:pt x="26" y="4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9"/>
                    <a:pt x="3" y="12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296CBF85-0684-4183-BA1D-5B6B682E26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92319" y="2411835"/>
              <a:ext cx="146539" cy="89198"/>
            </a:xfrm>
            <a:custGeom>
              <a:avLst/>
              <a:gdLst>
                <a:gd name="T0" fmla="*/ 28 w 33"/>
                <a:gd name="T1" fmla="*/ 4 h 20"/>
                <a:gd name="T2" fmla="*/ 24 w 33"/>
                <a:gd name="T3" fmla="*/ 15 h 20"/>
                <a:gd name="T4" fmla="*/ 5 w 33"/>
                <a:gd name="T5" fmla="*/ 17 h 20"/>
                <a:gd name="T6" fmla="*/ 8 w 33"/>
                <a:gd name="T7" fmla="*/ 6 h 20"/>
                <a:gd name="T8" fmla="*/ 28 w 33"/>
                <a:gd name="T9" fmla="*/ 4 h 20"/>
                <a:gd name="T10" fmla="*/ 7 w 33"/>
                <a:gd name="T11" fmla="*/ 16 h 20"/>
                <a:gd name="T12" fmla="*/ 23 w 33"/>
                <a:gd name="T13" fmla="*/ 14 h 20"/>
                <a:gd name="T14" fmla="*/ 26 w 33"/>
                <a:gd name="T15" fmla="*/ 5 h 20"/>
                <a:gd name="T16" fmla="*/ 10 w 33"/>
                <a:gd name="T17" fmla="*/ 7 h 20"/>
                <a:gd name="T18" fmla="*/ 7 w 33"/>
                <a:gd name="T1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4"/>
                  </a:moveTo>
                  <a:cubicBezTo>
                    <a:pt x="33" y="7"/>
                    <a:pt x="32" y="11"/>
                    <a:pt x="24" y="15"/>
                  </a:cubicBezTo>
                  <a:cubicBezTo>
                    <a:pt x="17" y="19"/>
                    <a:pt x="10" y="20"/>
                    <a:pt x="5" y="17"/>
                  </a:cubicBezTo>
                  <a:cubicBezTo>
                    <a:pt x="0" y="14"/>
                    <a:pt x="1" y="10"/>
                    <a:pt x="8" y="6"/>
                  </a:cubicBezTo>
                  <a:cubicBezTo>
                    <a:pt x="16" y="1"/>
                    <a:pt x="22" y="0"/>
                    <a:pt x="28" y="4"/>
                  </a:cubicBezTo>
                  <a:close/>
                  <a:moveTo>
                    <a:pt x="7" y="16"/>
                  </a:moveTo>
                  <a:cubicBezTo>
                    <a:pt x="12" y="18"/>
                    <a:pt x="17" y="17"/>
                    <a:pt x="23" y="14"/>
                  </a:cubicBezTo>
                  <a:cubicBezTo>
                    <a:pt x="28" y="10"/>
                    <a:pt x="30" y="7"/>
                    <a:pt x="26" y="5"/>
                  </a:cubicBezTo>
                  <a:cubicBezTo>
                    <a:pt x="21" y="2"/>
                    <a:pt x="16" y="3"/>
                    <a:pt x="10" y="7"/>
                  </a:cubicBezTo>
                  <a:cubicBezTo>
                    <a:pt x="5" y="10"/>
                    <a:pt x="3" y="13"/>
                    <a:pt x="7" y="1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F68ABA0A-071A-4AA9-8475-14D6361EFC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311616" y="2369360"/>
              <a:ext cx="146539" cy="87074"/>
            </a:xfrm>
            <a:custGeom>
              <a:avLst/>
              <a:gdLst>
                <a:gd name="T0" fmla="*/ 28 w 33"/>
                <a:gd name="T1" fmla="*/ 3 h 20"/>
                <a:gd name="T2" fmla="*/ 25 w 33"/>
                <a:gd name="T3" fmla="*/ 15 h 20"/>
                <a:gd name="T4" fmla="*/ 5 w 33"/>
                <a:gd name="T5" fmla="*/ 17 h 20"/>
                <a:gd name="T6" fmla="*/ 8 w 33"/>
                <a:gd name="T7" fmla="*/ 5 h 20"/>
                <a:gd name="T8" fmla="*/ 28 w 33"/>
                <a:gd name="T9" fmla="*/ 3 h 20"/>
                <a:gd name="T10" fmla="*/ 7 w 33"/>
                <a:gd name="T11" fmla="*/ 15 h 20"/>
                <a:gd name="T12" fmla="*/ 23 w 33"/>
                <a:gd name="T13" fmla="*/ 13 h 20"/>
                <a:gd name="T14" fmla="*/ 26 w 33"/>
                <a:gd name="T15" fmla="*/ 5 h 20"/>
                <a:gd name="T16" fmla="*/ 10 w 33"/>
                <a:gd name="T17" fmla="*/ 6 h 20"/>
                <a:gd name="T18" fmla="*/ 7 w 33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3"/>
                  </a:moveTo>
                  <a:cubicBezTo>
                    <a:pt x="33" y="6"/>
                    <a:pt x="32" y="10"/>
                    <a:pt x="25" y="15"/>
                  </a:cubicBezTo>
                  <a:cubicBezTo>
                    <a:pt x="18" y="19"/>
                    <a:pt x="11" y="20"/>
                    <a:pt x="5" y="17"/>
                  </a:cubicBezTo>
                  <a:cubicBezTo>
                    <a:pt x="0" y="14"/>
                    <a:pt x="1" y="9"/>
                    <a:pt x="8" y="5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2" y="18"/>
                    <a:pt x="17" y="17"/>
                    <a:pt x="23" y="13"/>
                  </a:cubicBezTo>
                  <a:cubicBezTo>
                    <a:pt x="28" y="10"/>
                    <a:pt x="30" y="7"/>
                    <a:pt x="26" y="5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10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1" name="Freeform 104">
              <a:extLst>
                <a:ext uri="{FF2B5EF4-FFF2-40B4-BE49-F238E27FC236}">
                  <a16:creationId xmlns:a16="http://schemas.microsoft.com/office/drawing/2014/main" id="{70E64356-4DF2-48E9-97A9-BE0E95E5AF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196934" y="2301399"/>
              <a:ext cx="146539" cy="89198"/>
            </a:xfrm>
            <a:custGeom>
              <a:avLst/>
              <a:gdLst>
                <a:gd name="T0" fmla="*/ 28 w 33"/>
                <a:gd name="T1" fmla="*/ 3 h 20"/>
                <a:gd name="T2" fmla="*/ 25 w 33"/>
                <a:gd name="T3" fmla="*/ 15 h 20"/>
                <a:gd name="T4" fmla="*/ 5 w 33"/>
                <a:gd name="T5" fmla="*/ 17 h 20"/>
                <a:gd name="T6" fmla="*/ 8 w 33"/>
                <a:gd name="T7" fmla="*/ 6 h 20"/>
                <a:gd name="T8" fmla="*/ 28 w 33"/>
                <a:gd name="T9" fmla="*/ 3 h 20"/>
                <a:gd name="T10" fmla="*/ 7 w 33"/>
                <a:gd name="T11" fmla="*/ 15 h 20"/>
                <a:gd name="T12" fmla="*/ 23 w 33"/>
                <a:gd name="T13" fmla="*/ 14 h 20"/>
                <a:gd name="T14" fmla="*/ 26 w 33"/>
                <a:gd name="T15" fmla="*/ 5 h 20"/>
                <a:gd name="T16" fmla="*/ 10 w 33"/>
                <a:gd name="T17" fmla="*/ 7 h 20"/>
                <a:gd name="T18" fmla="*/ 7 w 33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3"/>
                  </a:moveTo>
                  <a:cubicBezTo>
                    <a:pt x="33" y="7"/>
                    <a:pt x="32" y="11"/>
                    <a:pt x="25" y="15"/>
                  </a:cubicBezTo>
                  <a:cubicBezTo>
                    <a:pt x="18" y="19"/>
                    <a:pt x="11" y="20"/>
                    <a:pt x="5" y="17"/>
                  </a:cubicBezTo>
                  <a:cubicBezTo>
                    <a:pt x="0" y="14"/>
                    <a:pt x="1" y="10"/>
                    <a:pt x="8" y="6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2" y="18"/>
                    <a:pt x="17" y="17"/>
                    <a:pt x="23" y="14"/>
                  </a:cubicBezTo>
                  <a:cubicBezTo>
                    <a:pt x="28" y="10"/>
                    <a:pt x="30" y="7"/>
                    <a:pt x="26" y="5"/>
                  </a:cubicBezTo>
                  <a:cubicBezTo>
                    <a:pt x="21" y="2"/>
                    <a:pt x="16" y="3"/>
                    <a:pt x="10" y="7"/>
                  </a:cubicBezTo>
                  <a:cubicBezTo>
                    <a:pt x="5" y="10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2" name="Freeform 105">
              <a:extLst>
                <a:ext uri="{FF2B5EF4-FFF2-40B4-BE49-F238E27FC236}">
                  <a16:creationId xmlns:a16="http://schemas.microsoft.com/office/drawing/2014/main" id="{2B7D0F80-93E5-4E1B-B9CF-F8203CCA3C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118355" y="2258924"/>
              <a:ext cx="146539" cy="87074"/>
            </a:xfrm>
            <a:custGeom>
              <a:avLst/>
              <a:gdLst>
                <a:gd name="T0" fmla="*/ 28 w 33"/>
                <a:gd name="T1" fmla="*/ 3 h 20"/>
                <a:gd name="T2" fmla="*/ 25 w 33"/>
                <a:gd name="T3" fmla="*/ 14 h 20"/>
                <a:gd name="T4" fmla="*/ 5 w 33"/>
                <a:gd name="T5" fmla="*/ 17 h 20"/>
                <a:gd name="T6" fmla="*/ 8 w 33"/>
                <a:gd name="T7" fmla="*/ 5 h 20"/>
                <a:gd name="T8" fmla="*/ 28 w 33"/>
                <a:gd name="T9" fmla="*/ 3 h 20"/>
                <a:gd name="T10" fmla="*/ 7 w 33"/>
                <a:gd name="T11" fmla="*/ 15 h 20"/>
                <a:gd name="T12" fmla="*/ 23 w 33"/>
                <a:gd name="T13" fmla="*/ 13 h 20"/>
                <a:gd name="T14" fmla="*/ 26 w 33"/>
                <a:gd name="T15" fmla="*/ 5 h 20"/>
                <a:gd name="T16" fmla="*/ 10 w 33"/>
                <a:gd name="T17" fmla="*/ 6 h 20"/>
                <a:gd name="T18" fmla="*/ 7 w 33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0">
                  <a:moveTo>
                    <a:pt x="28" y="3"/>
                  </a:moveTo>
                  <a:cubicBezTo>
                    <a:pt x="33" y="6"/>
                    <a:pt x="32" y="10"/>
                    <a:pt x="25" y="14"/>
                  </a:cubicBezTo>
                  <a:cubicBezTo>
                    <a:pt x="18" y="19"/>
                    <a:pt x="11" y="20"/>
                    <a:pt x="5" y="17"/>
                  </a:cubicBezTo>
                  <a:cubicBezTo>
                    <a:pt x="0" y="13"/>
                    <a:pt x="1" y="9"/>
                    <a:pt x="8" y="5"/>
                  </a:cubicBezTo>
                  <a:cubicBezTo>
                    <a:pt x="16" y="1"/>
                    <a:pt x="22" y="0"/>
                    <a:pt x="28" y="3"/>
                  </a:cubicBezTo>
                  <a:close/>
                  <a:moveTo>
                    <a:pt x="7" y="15"/>
                  </a:moveTo>
                  <a:cubicBezTo>
                    <a:pt x="12" y="18"/>
                    <a:pt x="17" y="17"/>
                    <a:pt x="23" y="13"/>
                  </a:cubicBezTo>
                  <a:cubicBezTo>
                    <a:pt x="28" y="10"/>
                    <a:pt x="30" y="7"/>
                    <a:pt x="26" y="5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10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3" name="Freeform 106">
              <a:extLst>
                <a:ext uri="{FF2B5EF4-FFF2-40B4-BE49-F238E27FC236}">
                  <a16:creationId xmlns:a16="http://schemas.microsoft.com/office/drawing/2014/main" id="{84BB400A-746C-43EC-BFD3-8947082928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39776" y="2214326"/>
              <a:ext cx="144415" cy="82826"/>
            </a:xfrm>
            <a:custGeom>
              <a:avLst/>
              <a:gdLst>
                <a:gd name="T0" fmla="*/ 28 w 33"/>
                <a:gd name="T1" fmla="*/ 3 h 19"/>
                <a:gd name="T2" fmla="*/ 25 w 33"/>
                <a:gd name="T3" fmla="*/ 14 h 19"/>
                <a:gd name="T4" fmla="*/ 5 w 33"/>
                <a:gd name="T5" fmla="*/ 16 h 19"/>
                <a:gd name="T6" fmla="*/ 9 w 33"/>
                <a:gd name="T7" fmla="*/ 5 h 19"/>
                <a:gd name="T8" fmla="*/ 28 w 33"/>
                <a:gd name="T9" fmla="*/ 3 h 19"/>
                <a:gd name="T10" fmla="*/ 7 w 33"/>
                <a:gd name="T11" fmla="*/ 15 h 19"/>
                <a:gd name="T12" fmla="*/ 23 w 33"/>
                <a:gd name="T13" fmla="*/ 13 h 19"/>
                <a:gd name="T14" fmla="*/ 26 w 33"/>
                <a:gd name="T15" fmla="*/ 4 h 19"/>
                <a:gd name="T16" fmla="*/ 10 w 33"/>
                <a:gd name="T17" fmla="*/ 6 h 19"/>
                <a:gd name="T18" fmla="*/ 7 w 33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9">
                  <a:moveTo>
                    <a:pt x="28" y="3"/>
                  </a:moveTo>
                  <a:cubicBezTo>
                    <a:pt x="33" y="6"/>
                    <a:pt x="32" y="10"/>
                    <a:pt x="25" y="14"/>
                  </a:cubicBezTo>
                  <a:cubicBezTo>
                    <a:pt x="18" y="18"/>
                    <a:pt x="11" y="19"/>
                    <a:pt x="5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1"/>
                    <a:pt x="23" y="0"/>
                    <a:pt x="28" y="3"/>
                  </a:cubicBezTo>
                  <a:close/>
                  <a:moveTo>
                    <a:pt x="7" y="15"/>
                  </a:moveTo>
                  <a:cubicBezTo>
                    <a:pt x="12" y="17"/>
                    <a:pt x="17" y="16"/>
                    <a:pt x="23" y="13"/>
                  </a:cubicBezTo>
                  <a:cubicBezTo>
                    <a:pt x="28" y="10"/>
                    <a:pt x="30" y="7"/>
                    <a:pt x="26" y="4"/>
                  </a:cubicBezTo>
                  <a:cubicBezTo>
                    <a:pt x="21" y="2"/>
                    <a:pt x="16" y="3"/>
                    <a:pt x="10" y="6"/>
                  </a:cubicBezTo>
                  <a:cubicBezTo>
                    <a:pt x="5" y="9"/>
                    <a:pt x="3" y="13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4" name="Freeform 107">
              <a:extLst>
                <a:ext uri="{FF2B5EF4-FFF2-40B4-BE49-F238E27FC236}">
                  <a16:creationId xmlns:a16="http://schemas.microsoft.com/office/drawing/2014/main" id="{42F2D793-92A7-4F60-8EDE-4B686DD797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59073" y="2169727"/>
              <a:ext cx="146539" cy="84950"/>
            </a:xfrm>
            <a:custGeom>
              <a:avLst/>
              <a:gdLst>
                <a:gd name="T0" fmla="*/ 28 w 33"/>
                <a:gd name="T1" fmla="*/ 3 h 19"/>
                <a:gd name="T2" fmla="*/ 25 w 33"/>
                <a:gd name="T3" fmla="*/ 14 h 19"/>
                <a:gd name="T4" fmla="*/ 5 w 33"/>
                <a:gd name="T5" fmla="*/ 16 h 19"/>
                <a:gd name="T6" fmla="*/ 9 w 33"/>
                <a:gd name="T7" fmla="*/ 5 h 19"/>
                <a:gd name="T8" fmla="*/ 28 w 33"/>
                <a:gd name="T9" fmla="*/ 3 h 19"/>
                <a:gd name="T10" fmla="*/ 7 w 33"/>
                <a:gd name="T11" fmla="*/ 15 h 19"/>
                <a:gd name="T12" fmla="*/ 23 w 33"/>
                <a:gd name="T13" fmla="*/ 13 h 19"/>
                <a:gd name="T14" fmla="*/ 26 w 33"/>
                <a:gd name="T15" fmla="*/ 4 h 19"/>
                <a:gd name="T16" fmla="*/ 11 w 33"/>
                <a:gd name="T17" fmla="*/ 6 h 19"/>
                <a:gd name="T18" fmla="*/ 7 w 33"/>
                <a:gd name="T1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9">
                  <a:moveTo>
                    <a:pt x="28" y="3"/>
                  </a:moveTo>
                  <a:cubicBezTo>
                    <a:pt x="33" y="6"/>
                    <a:pt x="32" y="10"/>
                    <a:pt x="25" y="14"/>
                  </a:cubicBezTo>
                  <a:cubicBezTo>
                    <a:pt x="18" y="18"/>
                    <a:pt x="11" y="19"/>
                    <a:pt x="5" y="16"/>
                  </a:cubicBezTo>
                  <a:cubicBezTo>
                    <a:pt x="0" y="13"/>
                    <a:pt x="2" y="9"/>
                    <a:pt x="9" y="5"/>
                  </a:cubicBezTo>
                  <a:cubicBezTo>
                    <a:pt x="16" y="1"/>
                    <a:pt x="23" y="0"/>
                    <a:pt x="28" y="3"/>
                  </a:cubicBezTo>
                  <a:close/>
                  <a:moveTo>
                    <a:pt x="7" y="15"/>
                  </a:moveTo>
                  <a:cubicBezTo>
                    <a:pt x="12" y="17"/>
                    <a:pt x="17" y="16"/>
                    <a:pt x="23" y="13"/>
                  </a:cubicBezTo>
                  <a:cubicBezTo>
                    <a:pt x="28" y="9"/>
                    <a:pt x="30" y="6"/>
                    <a:pt x="26" y="4"/>
                  </a:cubicBezTo>
                  <a:cubicBezTo>
                    <a:pt x="22" y="2"/>
                    <a:pt x="16" y="2"/>
                    <a:pt x="11" y="6"/>
                  </a:cubicBezTo>
                  <a:cubicBezTo>
                    <a:pt x="5" y="9"/>
                    <a:pt x="3" y="12"/>
                    <a:pt x="7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5" name="Freeform 108">
              <a:extLst>
                <a:ext uri="{FF2B5EF4-FFF2-40B4-BE49-F238E27FC236}">
                  <a16:creationId xmlns:a16="http://schemas.microsoft.com/office/drawing/2014/main" id="{15B51CF7-96C9-4C05-9C78-25ADBADE18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6686" y="2248306"/>
              <a:ext cx="879234" cy="509701"/>
            </a:xfrm>
            <a:custGeom>
              <a:avLst/>
              <a:gdLst>
                <a:gd name="T0" fmla="*/ 74 w 199"/>
                <a:gd name="T1" fmla="*/ 107 h 115"/>
                <a:gd name="T2" fmla="*/ 14 w 199"/>
                <a:gd name="T3" fmla="*/ 72 h 115"/>
                <a:gd name="T4" fmla="*/ 18 w 199"/>
                <a:gd name="T5" fmla="*/ 40 h 115"/>
                <a:gd name="T6" fmla="*/ 70 w 199"/>
                <a:gd name="T7" fmla="*/ 11 h 115"/>
                <a:gd name="T8" fmla="*/ 125 w 199"/>
                <a:gd name="T9" fmla="*/ 8 h 115"/>
                <a:gd name="T10" fmla="*/ 185 w 199"/>
                <a:gd name="T11" fmla="*/ 43 h 115"/>
                <a:gd name="T12" fmla="*/ 181 w 199"/>
                <a:gd name="T13" fmla="*/ 75 h 115"/>
                <a:gd name="T14" fmla="*/ 129 w 199"/>
                <a:gd name="T15" fmla="*/ 104 h 115"/>
                <a:gd name="T16" fmla="*/ 74 w 199"/>
                <a:gd name="T17" fmla="*/ 10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115">
                  <a:moveTo>
                    <a:pt x="74" y="107"/>
                  </a:moveTo>
                  <a:cubicBezTo>
                    <a:pt x="14" y="72"/>
                    <a:pt x="14" y="72"/>
                    <a:pt x="14" y="72"/>
                  </a:cubicBezTo>
                  <a:cubicBezTo>
                    <a:pt x="0" y="64"/>
                    <a:pt x="2" y="50"/>
                    <a:pt x="18" y="40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86" y="1"/>
                    <a:pt x="111" y="0"/>
                    <a:pt x="125" y="8"/>
                  </a:cubicBezTo>
                  <a:cubicBezTo>
                    <a:pt x="185" y="43"/>
                    <a:pt x="185" y="43"/>
                    <a:pt x="185" y="43"/>
                  </a:cubicBezTo>
                  <a:cubicBezTo>
                    <a:pt x="199" y="51"/>
                    <a:pt x="197" y="65"/>
                    <a:pt x="181" y="75"/>
                  </a:cubicBezTo>
                  <a:cubicBezTo>
                    <a:pt x="129" y="104"/>
                    <a:pt x="129" y="104"/>
                    <a:pt x="129" y="104"/>
                  </a:cubicBezTo>
                  <a:cubicBezTo>
                    <a:pt x="113" y="114"/>
                    <a:pt x="88" y="115"/>
                    <a:pt x="74" y="107"/>
                  </a:cubicBezTo>
                  <a:close/>
                </a:path>
              </a:pathLst>
            </a:custGeom>
            <a:solidFill>
              <a:srgbClr val="FFBE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" name="Freeform 109">
              <a:extLst>
                <a:ext uri="{FF2B5EF4-FFF2-40B4-BE49-F238E27FC236}">
                  <a16:creationId xmlns:a16="http://schemas.microsoft.com/office/drawing/2014/main" id="{898C6062-2E03-4815-BBEB-42F1DBC168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71553" y="2205831"/>
              <a:ext cx="851625" cy="511825"/>
            </a:xfrm>
            <a:custGeom>
              <a:avLst/>
              <a:gdLst>
                <a:gd name="T0" fmla="*/ 95 w 193"/>
                <a:gd name="T1" fmla="*/ 116 h 116"/>
                <a:gd name="T2" fmla="*/ 70 w 193"/>
                <a:gd name="T3" fmla="*/ 111 h 116"/>
                <a:gd name="T4" fmla="*/ 10 w 193"/>
                <a:gd name="T5" fmla="*/ 76 h 116"/>
                <a:gd name="T6" fmla="*/ 0 w 193"/>
                <a:gd name="T7" fmla="*/ 61 h 116"/>
                <a:gd name="T8" fmla="*/ 14 w 193"/>
                <a:gd name="T9" fmla="*/ 41 h 116"/>
                <a:gd name="T10" fmla="*/ 66 w 193"/>
                <a:gd name="T11" fmla="*/ 11 h 116"/>
                <a:gd name="T12" fmla="*/ 123 w 193"/>
                <a:gd name="T13" fmla="*/ 9 h 116"/>
                <a:gd name="T14" fmla="*/ 183 w 193"/>
                <a:gd name="T15" fmla="*/ 43 h 116"/>
                <a:gd name="T16" fmla="*/ 193 w 193"/>
                <a:gd name="T17" fmla="*/ 59 h 116"/>
                <a:gd name="T18" fmla="*/ 179 w 193"/>
                <a:gd name="T19" fmla="*/ 79 h 116"/>
                <a:gd name="T20" fmla="*/ 127 w 193"/>
                <a:gd name="T21" fmla="*/ 108 h 116"/>
                <a:gd name="T22" fmla="*/ 95 w 193"/>
                <a:gd name="T23" fmla="*/ 116 h 116"/>
                <a:gd name="T24" fmla="*/ 98 w 193"/>
                <a:gd name="T25" fmla="*/ 7 h 116"/>
                <a:gd name="T26" fmla="*/ 68 w 193"/>
                <a:gd name="T27" fmla="*/ 14 h 116"/>
                <a:gd name="T28" fmla="*/ 16 w 193"/>
                <a:gd name="T29" fmla="*/ 44 h 116"/>
                <a:gd name="T30" fmla="*/ 3 w 193"/>
                <a:gd name="T31" fmla="*/ 61 h 116"/>
                <a:gd name="T32" fmla="*/ 12 w 193"/>
                <a:gd name="T33" fmla="*/ 73 h 116"/>
                <a:gd name="T34" fmla="*/ 72 w 193"/>
                <a:gd name="T35" fmla="*/ 108 h 116"/>
                <a:gd name="T36" fmla="*/ 125 w 193"/>
                <a:gd name="T37" fmla="*/ 105 h 116"/>
                <a:gd name="T38" fmla="*/ 177 w 193"/>
                <a:gd name="T39" fmla="*/ 75 h 116"/>
                <a:gd name="T40" fmla="*/ 190 w 193"/>
                <a:gd name="T41" fmla="*/ 59 h 116"/>
                <a:gd name="T42" fmla="*/ 181 w 193"/>
                <a:gd name="T43" fmla="*/ 47 h 116"/>
                <a:gd name="T44" fmla="*/ 121 w 193"/>
                <a:gd name="T45" fmla="*/ 12 h 116"/>
                <a:gd name="T46" fmla="*/ 98 w 193"/>
                <a:gd name="T47" fmla="*/ 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3" h="116">
                  <a:moveTo>
                    <a:pt x="95" y="116"/>
                  </a:moveTo>
                  <a:cubicBezTo>
                    <a:pt x="85" y="116"/>
                    <a:pt x="77" y="115"/>
                    <a:pt x="70" y="111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3" y="72"/>
                    <a:pt x="0" y="67"/>
                    <a:pt x="0" y="61"/>
                  </a:cubicBezTo>
                  <a:cubicBezTo>
                    <a:pt x="0" y="54"/>
                    <a:pt x="5" y="46"/>
                    <a:pt x="14" y="41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83" y="2"/>
                    <a:pt x="108" y="0"/>
                    <a:pt x="123" y="9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90" y="47"/>
                    <a:pt x="193" y="53"/>
                    <a:pt x="193" y="59"/>
                  </a:cubicBezTo>
                  <a:cubicBezTo>
                    <a:pt x="193" y="66"/>
                    <a:pt x="188" y="73"/>
                    <a:pt x="179" y="79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18" y="114"/>
                    <a:pt x="106" y="116"/>
                    <a:pt x="95" y="116"/>
                  </a:cubicBezTo>
                  <a:close/>
                  <a:moveTo>
                    <a:pt x="98" y="7"/>
                  </a:moveTo>
                  <a:cubicBezTo>
                    <a:pt x="88" y="7"/>
                    <a:pt x="76" y="9"/>
                    <a:pt x="68" y="1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8" y="49"/>
                    <a:pt x="3" y="55"/>
                    <a:pt x="3" y="61"/>
                  </a:cubicBezTo>
                  <a:cubicBezTo>
                    <a:pt x="3" y="65"/>
                    <a:pt x="7" y="70"/>
                    <a:pt x="12" y="73"/>
                  </a:cubicBezTo>
                  <a:cubicBezTo>
                    <a:pt x="72" y="108"/>
                    <a:pt x="72" y="108"/>
                    <a:pt x="72" y="108"/>
                  </a:cubicBezTo>
                  <a:cubicBezTo>
                    <a:pt x="85" y="115"/>
                    <a:pt x="109" y="114"/>
                    <a:pt x="125" y="105"/>
                  </a:cubicBezTo>
                  <a:cubicBezTo>
                    <a:pt x="177" y="75"/>
                    <a:pt x="177" y="75"/>
                    <a:pt x="177" y="75"/>
                  </a:cubicBezTo>
                  <a:cubicBezTo>
                    <a:pt x="185" y="71"/>
                    <a:pt x="190" y="65"/>
                    <a:pt x="190" y="59"/>
                  </a:cubicBezTo>
                  <a:cubicBezTo>
                    <a:pt x="190" y="54"/>
                    <a:pt x="186" y="50"/>
                    <a:pt x="181" y="47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115" y="9"/>
                    <a:pt x="107" y="7"/>
                    <a:pt x="9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" name="Freeform 110">
              <a:extLst>
                <a:ext uri="{FF2B5EF4-FFF2-40B4-BE49-F238E27FC236}">
                  <a16:creationId xmlns:a16="http://schemas.microsoft.com/office/drawing/2014/main" id="{D0F9A605-38C2-4B34-88B9-AA9F752947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41637" y="2411835"/>
              <a:ext cx="352543" cy="208128"/>
            </a:xfrm>
            <a:custGeom>
              <a:avLst/>
              <a:gdLst>
                <a:gd name="T0" fmla="*/ 24 w 80"/>
                <a:gd name="T1" fmla="*/ 41 h 47"/>
                <a:gd name="T2" fmla="*/ 9 w 80"/>
                <a:gd name="T3" fmla="*/ 33 h 47"/>
                <a:gd name="T4" fmla="*/ 11 w 80"/>
                <a:gd name="T5" fmla="*/ 13 h 47"/>
                <a:gd name="T6" fmla="*/ 21 w 80"/>
                <a:gd name="T7" fmla="*/ 7 h 47"/>
                <a:gd name="T8" fmla="*/ 56 w 80"/>
                <a:gd name="T9" fmla="*/ 6 h 47"/>
                <a:gd name="T10" fmla="*/ 71 w 80"/>
                <a:gd name="T11" fmla="*/ 14 h 47"/>
                <a:gd name="T12" fmla="*/ 69 w 80"/>
                <a:gd name="T13" fmla="*/ 34 h 47"/>
                <a:gd name="T14" fmla="*/ 59 w 80"/>
                <a:gd name="T15" fmla="*/ 40 h 47"/>
                <a:gd name="T16" fmla="*/ 24 w 80"/>
                <a:gd name="T17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47">
                  <a:moveTo>
                    <a:pt x="24" y="41"/>
                  </a:moveTo>
                  <a:cubicBezTo>
                    <a:pt x="9" y="33"/>
                    <a:pt x="9" y="33"/>
                    <a:pt x="9" y="33"/>
                  </a:cubicBezTo>
                  <a:cubicBezTo>
                    <a:pt x="0" y="28"/>
                    <a:pt x="1" y="19"/>
                    <a:pt x="11" y="13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32" y="1"/>
                    <a:pt x="47" y="0"/>
                    <a:pt x="56" y="6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80" y="19"/>
                    <a:pt x="79" y="28"/>
                    <a:pt x="69" y="34"/>
                  </a:cubicBezTo>
                  <a:cubicBezTo>
                    <a:pt x="59" y="40"/>
                    <a:pt x="59" y="40"/>
                    <a:pt x="59" y="40"/>
                  </a:cubicBezTo>
                  <a:cubicBezTo>
                    <a:pt x="48" y="46"/>
                    <a:pt x="33" y="47"/>
                    <a:pt x="24" y="41"/>
                  </a:cubicBezTo>
                  <a:close/>
                </a:path>
              </a:pathLst>
            </a:custGeom>
            <a:solidFill>
              <a:srgbClr val="FFEE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" name="Freeform 111">
              <a:extLst>
                <a:ext uri="{FF2B5EF4-FFF2-40B4-BE49-F238E27FC236}">
                  <a16:creationId xmlns:a16="http://schemas.microsoft.com/office/drawing/2014/main" id="{1C5159A7-3834-4CAE-8665-D6CBFA0B83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45884" y="2373607"/>
              <a:ext cx="344048" cy="210252"/>
            </a:xfrm>
            <a:custGeom>
              <a:avLst/>
              <a:gdLst>
                <a:gd name="T0" fmla="*/ 38 w 78"/>
                <a:gd name="T1" fmla="*/ 48 h 48"/>
                <a:gd name="T2" fmla="*/ 22 w 78"/>
                <a:gd name="T3" fmla="*/ 44 h 48"/>
                <a:gd name="T4" fmla="*/ 7 w 78"/>
                <a:gd name="T5" fmla="*/ 36 h 48"/>
                <a:gd name="T6" fmla="*/ 0 w 78"/>
                <a:gd name="T7" fmla="*/ 25 h 48"/>
                <a:gd name="T8" fmla="*/ 9 w 78"/>
                <a:gd name="T9" fmla="*/ 12 h 48"/>
                <a:gd name="T10" fmla="*/ 19 w 78"/>
                <a:gd name="T11" fmla="*/ 7 h 48"/>
                <a:gd name="T12" fmla="*/ 56 w 78"/>
                <a:gd name="T13" fmla="*/ 5 h 48"/>
                <a:gd name="T14" fmla="*/ 71 w 78"/>
                <a:gd name="T15" fmla="*/ 14 h 48"/>
                <a:gd name="T16" fmla="*/ 78 w 78"/>
                <a:gd name="T17" fmla="*/ 24 h 48"/>
                <a:gd name="T18" fmla="*/ 68 w 78"/>
                <a:gd name="T19" fmla="*/ 37 h 48"/>
                <a:gd name="T20" fmla="*/ 59 w 78"/>
                <a:gd name="T21" fmla="*/ 43 h 48"/>
                <a:gd name="T22" fmla="*/ 38 w 78"/>
                <a:gd name="T23" fmla="*/ 48 h 48"/>
                <a:gd name="T24" fmla="*/ 40 w 78"/>
                <a:gd name="T25" fmla="*/ 5 h 48"/>
                <a:gd name="T26" fmla="*/ 21 w 78"/>
                <a:gd name="T27" fmla="*/ 10 h 48"/>
                <a:gd name="T28" fmla="*/ 11 w 78"/>
                <a:gd name="T29" fmla="*/ 16 h 48"/>
                <a:gd name="T30" fmla="*/ 4 w 78"/>
                <a:gd name="T31" fmla="*/ 25 h 48"/>
                <a:gd name="T32" fmla="*/ 9 w 78"/>
                <a:gd name="T33" fmla="*/ 32 h 48"/>
                <a:gd name="T34" fmla="*/ 24 w 78"/>
                <a:gd name="T35" fmla="*/ 41 h 48"/>
                <a:gd name="T36" fmla="*/ 57 w 78"/>
                <a:gd name="T37" fmla="*/ 40 h 48"/>
                <a:gd name="T38" fmla="*/ 67 w 78"/>
                <a:gd name="T39" fmla="*/ 34 h 48"/>
                <a:gd name="T40" fmla="*/ 74 w 78"/>
                <a:gd name="T41" fmla="*/ 24 h 48"/>
                <a:gd name="T42" fmla="*/ 69 w 78"/>
                <a:gd name="T43" fmla="*/ 17 h 48"/>
                <a:gd name="T44" fmla="*/ 54 w 78"/>
                <a:gd name="T45" fmla="*/ 8 h 48"/>
                <a:gd name="T46" fmla="*/ 40 w 78"/>
                <a:gd name="T47" fmla="*/ 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8" h="48">
                  <a:moveTo>
                    <a:pt x="38" y="48"/>
                  </a:moveTo>
                  <a:cubicBezTo>
                    <a:pt x="32" y="48"/>
                    <a:pt x="26" y="47"/>
                    <a:pt x="22" y="44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2" y="33"/>
                    <a:pt x="0" y="29"/>
                    <a:pt x="0" y="25"/>
                  </a:cubicBezTo>
                  <a:cubicBezTo>
                    <a:pt x="0" y="21"/>
                    <a:pt x="3" y="16"/>
                    <a:pt x="9" y="1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30" y="0"/>
                    <a:pt x="47" y="0"/>
                    <a:pt x="56" y="5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5" y="16"/>
                    <a:pt x="78" y="20"/>
                    <a:pt x="78" y="24"/>
                  </a:cubicBezTo>
                  <a:cubicBezTo>
                    <a:pt x="78" y="29"/>
                    <a:pt x="74" y="34"/>
                    <a:pt x="68" y="37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3" y="46"/>
                    <a:pt x="45" y="48"/>
                    <a:pt x="38" y="48"/>
                  </a:cubicBezTo>
                  <a:close/>
                  <a:moveTo>
                    <a:pt x="40" y="5"/>
                  </a:moveTo>
                  <a:cubicBezTo>
                    <a:pt x="33" y="5"/>
                    <a:pt x="27" y="7"/>
                    <a:pt x="21" y="10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6" y="18"/>
                    <a:pt x="4" y="22"/>
                    <a:pt x="4" y="25"/>
                  </a:cubicBezTo>
                  <a:cubicBezTo>
                    <a:pt x="4" y="28"/>
                    <a:pt x="5" y="30"/>
                    <a:pt x="9" y="32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2" y="46"/>
                    <a:pt x="47" y="45"/>
                    <a:pt x="57" y="40"/>
                  </a:cubicBezTo>
                  <a:cubicBezTo>
                    <a:pt x="67" y="34"/>
                    <a:pt x="67" y="34"/>
                    <a:pt x="67" y="34"/>
                  </a:cubicBezTo>
                  <a:cubicBezTo>
                    <a:pt x="71" y="31"/>
                    <a:pt x="74" y="28"/>
                    <a:pt x="74" y="24"/>
                  </a:cubicBezTo>
                  <a:cubicBezTo>
                    <a:pt x="74" y="21"/>
                    <a:pt x="72" y="19"/>
                    <a:pt x="69" y="17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0" y="6"/>
                    <a:pt x="45" y="5"/>
                    <a:pt x="40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" name="Freeform 112">
              <a:extLst>
                <a:ext uri="{FF2B5EF4-FFF2-40B4-BE49-F238E27FC236}">
                  <a16:creationId xmlns:a16="http://schemas.microsoft.com/office/drawing/2014/main" id="{D73DBC6C-4916-46CA-B3F5-B12BE9B97C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66283" y="1759842"/>
              <a:ext cx="172024" cy="101940"/>
            </a:xfrm>
            <a:custGeom>
              <a:avLst/>
              <a:gdLst>
                <a:gd name="T0" fmla="*/ 24 w 39"/>
                <a:gd name="T1" fmla="*/ 21 h 23"/>
                <a:gd name="T2" fmla="*/ 23 w 39"/>
                <a:gd name="T3" fmla="*/ 23 h 23"/>
                <a:gd name="T4" fmla="*/ 7 w 39"/>
                <a:gd name="T5" fmla="*/ 19 h 23"/>
                <a:gd name="T6" fmla="*/ 7 w 39"/>
                <a:gd name="T7" fmla="*/ 4 h 23"/>
                <a:gd name="T8" fmla="*/ 33 w 39"/>
                <a:gd name="T9" fmla="*/ 4 h 23"/>
                <a:gd name="T10" fmla="*/ 39 w 39"/>
                <a:gd name="T11" fmla="*/ 13 h 23"/>
                <a:gd name="T12" fmla="*/ 37 w 39"/>
                <a:gd name="T13" fmla="*/ 14 h 23"/>
                <a:gd name="T14" fmla="*/ 36 w 39"/>
                <a:gd name="T15" fmla="*/ 13 h 23"/>
                <a:gd name="T16" fmla="*/ 35 w 39"/>
                <a:gd name="T17" fmla="*/ 12 h 23"/>
                <a:gd name="T18" fmla="*/ 31 w 39"/>
                <a:gd name="T19" fmla="*/ 6 h 23"/>
                <a:gd name="T20" fmla="*/ 10 w 39"/>
                <a:gd name="T21" fmla="*/ 6 h 23"/>
                <a:gd name="T22" fmla="*/ 10 w 39"/>
                <a:gd name="T23" fmla="*/ 18 h 23"/>
                <a:gd name="T24" fmla="*/ 21 w 39"/>
                <a:gd name="T25" fmla="*/ 20 h 23"/>
                <a:gd name="T26" fmla="*/ 23 w 39"/>
                <a:gd name="T27" fmla="*/ 21 h 23"/>
                <a:gd name="T28" fmla="*/ 24 w 39"/>
                <a:gd name="T2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3">
                  <a:moveTo>
                    <a:pt x="24" y="21"/>
                  </a:moveTo>
                  <a:cubicBezTo>
                    <a:pt x="24" y="22"/>
                    <a:pt x="24" y="22"/>
                    <a:pt x="23" y="23"/>
                  </a:cubicBezTo>
                  <a:cubicBezTo>
                    <a:pt x="17" y="23"/>
                    <a:pt x="12" y="22"/>
                    <a:pt x="7" y="19"/>
                  </a:cubicBezTo>
                  <a:cubicBezTo>
                    <a:pt x="0" y="15"/>
                    <a:pt x="0" y="8"/>
                    <a:pt x="7" y="4"/>
                  </a:cubicBezTo>
                  <a:cubicBezTo>
                    <a:pt x="14" y="0"/>
                    <a:pt x="26" y="0"/>
                    <a:pt x="33" y="4"/>
                  </a:cubicBezTo>
                  <a:cubicBezTo>
                    <a:pt x="38" y="7"/>
                    <a:pt x="39" y="10"/>
                    <a:pt x="39" y="13"/>
                  </a:cubicBezTo>
                  <a:cubicBezTo>
                    <a:pt x="39" y="14"/>
                    <a:pt x="38" y="14"/>
                    <a:pt x="37" y="14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5" y="13"/>
                    <a:pt x="35" y="12"/>
                    <a:pt x="35" y="12"/>
                  </a:cubicBezTo>
                  <a:cubicBezTo>
                    <a:pt x="35" y="10"/>
                    <a:pt x="34" y="8"/>
                    <a:pt x="31" y="6"/>
                  </a:cubicBezTo>
                  <a:cubicBezTo>
                    <a:pt x="25" y="3"/>
                    <a:pt x="16" y="3"/>
                    <a:pt x="10" y="6"/>
                  </a:cubicBezTo>
                  <a:cubicBezTo>
                    <a:pt x="4" y="9"/>
                    <a:pt x="4" y="15"/>
                    <a:pt x="10" y="18"/>
                  </a:cubicBezTo>
                  <a:cubicBezTo>
                    <a:pt x="13" y="20"/>
                    <a:pt x="17" y="21"/>
                    <a:pt x="21" y="20"/>
                  </a:cubicBezTo>
                  <a:cubicBezTo>
                    <a:pt x="22" y="20"/>
                    <a:pt x="22" y="21"/>
                    <a:pt x="23" y="21"/>
                  </a:cubicBezTo>
                  <a:lnTo>
                    <a:pt x="24" y="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" name="Freeform 113">
              <a:extLst>
                <a:ext uri="{FF2B5EF4-FFF2-40B4-BE49-F238E27FC236}">
                  <a16:creationId xmlns:a16="http://schemas.microsoft.com/office/drawing/2014/main" id="{91BE3145-BEA8-4930-B103-331838C587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2471" y="1821431"/>
              <a:ext cx="167777" cy="106188"/>
            </a:xfrm>
            <a:custGeom>
              <a:avLst/>
              <a:gdLst>
                <a:gd name="T0" fmla="*/ 0 w 38"/>
                <a:gd name="T1" fmla="*/ 15 h 24"/>
                <a:gd name="T2" fmla="*/ 0 w 38"/>
                <a:gd name="T3" fmla="*/ 14 h 24"/>
                <a:gd name="T4" fmla="*/ 24 w 38"/>
                <a:gd name="T5" fmla="*/ 0 h 24"/>
                <a:gd name="T6" fmla="*/ 26 w 38"/>
                <a:gd name="T7" fmla="*/ 0 h 24"/>
                <a:gd name="T8" fmla="*/ 33 w 38"/>
                <a:gd name="T9" fmla="*/ 4 h 24"/>
                <a:gd name="T10" fmla="*/ 33 w 38"/>
                <a:gd name="T11" fmla="*/ 14 h 24"/>
                <a:gd name="T12" fmla="*/ 20 w 38"/>
                <a:gd name="T13" fmla="*/ 15 h 24"/>
                <a:gd name="T14" fmla="*/ 18 w 38"/>
                <a:gd name="T15" fmla="*/ 23 h 24"/>
                <a:gd name="T16" fmla="*/ 16 w 38"/>
                <a:gd name="T17" fmla="*/ 24 h 24"/>
                <a:gd name="T18" fmla="*/ 15 w 38"/>
                <a:gd name="T19" fmla="*/ 23 h 24"/>
                <a:gd name="T20" fmla="*/ 14 w 38"/>
                <a:gd name="T21" fmla="*/ 22 h 24"/>
                <a:gd name="T22" fmla="*/ 16 w 38"/>
                <a:gd name="T23" fmla="*/ 13 h 24"/>
                <a:gd name="T24" fmla="*/ 12 w 38"/>
                <a:gd name="T25" fmla="*/ 10 h 24"/>
                <a:gd name="T26" fmla="*/ 3 w 38"/>
                <a:gd name="T27" fmla="*/ 15 h 24"/>
                <a:gd name="T28" fmla="*/ 1 w 38"/>
                <a:gd name="T29" fmla="*/ 15 h 24"/>
                <a:gd name="T30" fmla="*/ 0 w 38"/>
                <a:gd name="T31" fmla="*/ 15 h 24"/>
                <a:gd name="T32" fmla="*/ 20 w 38"/>
                <a:gd name="T33" fmla="*/ 12 h 24"/>
                <a:gd name="T34" fmla="*/ 31 w 38"/>
                <a:gd name="T35" fmla="*/ 12 h 24"/>
                <a:gd name="T36" fmla="*/ 31 w 38"/>
                <a:gd name="T37" fmla="*/ 6 h 24"/>
                <a:gd name="T38" fmla="*/ 25 w 38"/>
                <a:gd name="T39" fmla="*/ 3 h 24"/>
                <a:gd name="T40" fmla="*/ 14 w 38"/>
                <a:gd name="T41" fmla="*/ 9 h 24"/>
                <a:gd name="T42" fmla="*/ 20 w 38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" h="24">
                  <a:moveTo>
                    <a:pt x="0" y="15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6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8" y="7"/>
                    <a:pt x="38" y="11"/>
                    <a:pt x="33" y="14"/>
                  </a:cubicBezTo>
                  <a:cubicBezTo>
                    <a:pt x="29" y="16"/>
                    <a:pt x="24" y="16"/>
                    <a:pt x="20" y="15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4"/>
                    <a:pt x="17" y="24"/>
                    <a:pt x="16" y="24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4" y="23"/>
                    <a:pt x="14" y="23"/>
                    <a:pt x="14" y="22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6"/>
                    <a:pt x="2" y="16"/>
                    <a:pt x="1" y="15"/>
                  </a:cubicBezTo>
                  <a:lnTo>
                    <a:pt x="0" y="15"/>
                  </a:lnTo>
                  <a:close/>
                  <a:moveTo>
                    <a:pt x="20" y="12"/>
                  </a:moveTo>
                  <a:cubicBezTo>
                    <a:pt x="23" y="14"/>
                    <a:pt x="27" y="14"/>
                    <a:pt x="31" y="12"/>
                  </a:cubicBezTo>
                  <a:cubicBezTo>
                    <a:pt x="34" y="10"/>
                    <a:pt x="34" y="8"/>
                    <a:pt x="31" y="6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14" y="9"/>
                    <a:pt x="14" y="9"/>
                    <a:pt x="14" y="9"/>
                  </a:cubicBezTo>
                  <a:lnTo>
                    <a:pt x="20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" name="Freeform 114">
              <a:extLst>
                <a:ext uri="{FF2B5EF4-FFF2-40B4-BE49-F238E27FC236}">
                  <a16:creationId xmlns:a16="http://schemas.microsoft.com/office/drawing/2014/main" id="{40118BE6-C4E8-4119-BC41-C40FF66CA7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3792" y="1874525"/>
              <a:ext cx="178395" cy="101940"/>
            </a:xfrm>
            <a:custGeom>
              <a:avLst/>
              <a:gdLst>
                <a:gd name="T0" fmla="*/ 1 w 40"/>
                <a:gd name="T1" fmla="*/ 15 h 23"/>
                <a:gd name="T2" fmla="*/ 1 w 40"/>
                <a:gd name="T3" fmla="*/ 14 h 23"/>
                <a:gd name="T4" fmla="*/ 24 w 40"/>
                <a:gd name="T5" fmla="*/ 1 h 23"/>
                <a:gd name="T6" fmla="*/ 26 w 40"/>
                <a:gd name="T7" fmla="*/ 1 h 23"/>
                <a:gd name="T8" fmla="*/ 39 w 40"/>
                <a:gd name="T9" fmla="*/ 8 h 23"/>
                <a:gd name="T10" fmla="*/ 39 w 40"/>
                <a:gd name="T11" fmla="*/ 9 h 23"/>
                <a:gd name="T12" fmla="*/ 39 w 40"/>
                <a:gd name="T13" fmla="*/ 9 h 23"/>
                <a:gd name="T14" fmla="*/ 36 w 40"/>
                <a:gd name="T15" fmla="*/ 9 h 23"/>
                <a:gd name="T16" fmla="*/ 25 w 40"/>
                <a:gd name="T17" fmla="*/ 3 h 23"/>
                <a:gd name="T18" fmla="*/ 18 w 40"/>
                <a:gd name="T19" fmla="*/ 7 h 23"/>
                <a:gd name="T20" fmla="*/ 29 w 40"/>
                <a:gd name="T21" fmla="*/ 13 h 23"/>
                <a:gd name="T22" fmla="*/ 29 w 40"/>
                <a:gd name="T23" fmla="*/ 14 h 23"/>
                <a:gd name="T24" fmla="*/ 28 w 40"/>
                <a:gd name="T25" fmla="*/ 14 h 23"/>
                <a:gd name="T26" fmla="*/ 26 w 40"/>
                <a:gd name="T27" fmla="*/ 14 h 23"/>
                <a:gd name="T28" fmla="*/ 16 w 40"/>
                <a:gd name="T29" fmla="*/ 8 h 23"/>
                <a:gd name="T30" fmla="*/ 5 w 40"/>
                <a:gd name="T31" fmla="*/ 15 h 23"/>
                <a:gd name="T32" fmla="*/ 16 w 40"/>
                <a:gd name="T33" fmla="*/ 21 h 23"/>
                <a:gd name="T34" fmla="*/ 16 w 40"/>
                <a:gd name="T35" fmla="*/ 22 h 23"/>
                <a:gd name="T36" fmla="*/ 16 w 40"/>
                <a:gd name="T37" fmla="*/ 23 h 23"/>
                <a:gd name="T38" fmla="*/ 13 w 40"/>
                <a:gd name="T39" fmla="*/ 23 h 23"/>
                <a:gd name="T40" fmla="*/ 1 w 40"/>
                <a:gd name="T41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23">
                  <a:moveTo>
                    <a:pt x="1" y="15"/>
                  </a:moveTo>
                  <a:cubicBezTo>
                    <a:pt x="0" y="15"/>
                    <a:pt x="0" y="14"/>
                    <a:pt x="1" y="14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0"/>
                    <a:pt x="26" y="0"/>
                    <a:pt x="26" y="1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8"/>
                    <a:pt x="40" y="9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10"/>
                    <a:pt x="37" y="10"/>
                    <a:pt x="36" y="9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4"/>
                    <a:pt x="29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5"/>
                    <a:pt x="27" y="15"/>
                    <a:pt x="26" y="14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7" y="21"/>
                    <a:pt x="17" y="22"/>
                    <a:pt x="16" y="22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5" y="23"/>
                    <a:pt x="14" y="23"/>
                    <a:pt x="13" y="23"/>
                  </a:cubicBezTo>
                  <a:lnTo>
                    <a:pt x="1" y="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2" name="Freeform 115">
              <a:extLst>
                <a:ext uri="{FF2B5EF4-FFF2-40B4-BE49-F238E27FC236}">
                  <a16:creationId xmlns:a16="http://schemas.microsoft.com/office/drawing/2014/main" id="{7DBC1DB6-4310-4F0A-A537-DEA22FF3D9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52990" y="1927619"/>
              <a:ext cx="180519" cy="101940"/>
            </a:xfrm>
            <a:custGeom>
              <a:avLst/>
              <a:gdLst>
                <a:gd name="T0" fmla="*/ 1 w 41"/>
                <a:gd name="T1" fmla="*/ 15 h 23"/>
                <a:gd name="T2" fmla="*/ 1 w 41"/>
                <a:gd name="T3" fmla="*/ 14 h 23"/>
                <a:gd name="T4" fmla="*/ 24 w 41"/>
                <a:gd name="T5" fmla="*/ 0 h 23"/>
                <a:gd name="T6" fmla="*/ 26 w 41"/>
                <a:gd name="T7" fmla="*/ 0 h 23"/>
                <a:gd name="T8" fmla="*/ 32 w 41"/>
                <a:gd name="T9" fmla="*/ 3 h 23"/>
                <a:gd name="T10" fmla="*/ 32 w 41"/>
                <a:gd name="T11" fmla="*/ 18 h 23"/>
                <a:gd name="T12" fmla="*/ 7 w 41"/>
                <a:gd name="T13" fmla="*/ 18 h 23"/>
                <a:gd name="T14" fmla="*/ 1 w 41"/>
                <a:gd name="T15" fmla="*/ 15 h 23"/>
                <a:gd name="T16" fmla="*/ 9 w 41"/>
                <a:gd name="T17" fmla="*/ 17 h 23"/>
                <a:gd name="T18" fmla="*/ 30 w 41"/>
                <a:gd name="T19" fmla="*/ 17 h 23"/>
                <a:gd name="T20" fmla="*/ 30 w 41"/>
                <a:gd name="T21" fmla="*/ 5 h 23"/>
                <a:gd name="T22" fmla="*/ 25 w 41"/>
                <a:gd name="T23" fmla="*/ 3 h 23"/>
                <a:gd name="T24" fmla="*/ 5 w 41"/>
                <a:gd name="T25" fmla="*/ 14 h 23"/>
                <a:gd name="T26" fmla="*/ 9 w 41"/>
                <a:gd name="T2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1" h="23">
                  <a:moveTo>
                    <a:pt x="1" y="15"/>
                  </a:moveTo>
                  <a:cubicBezTo>
                    <a:pt x="0" y="14"/>
                    <a:pt x="0" y="14"/>
                    <a:pt x="1" y="1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41" y="9"/>
                    <a:pt x="41" y="13"/>
                    <a:pt x="32" y="18"/>
                  </a:cubicBezTo>
                  <a:cubicBezTo>
                    <a:pt x="23" y="23"/>
                    <a:pt x="16" y="23"/>
                    <a:pt x="7" y="18"/>
                  </a:cubicBezTo>
                  <a:lnTo>
                    <a:pt x="1" y="15"/>
                  </a:lnTo>
                  <a:close/>
                  <a:moveTo>
                    <a:pt x="9" y="17"/>
                  </a:moveTo>
                  <a:cubicBezTo>
                    <a:pt x="16" y="21"/>
                    <a:pt x="22" y="21"/>
                    <a:pt x="30" y="17"/>
                  </a:cubicBezTo>
                  <a:cubicBezTo>
                    <a:pt x="37" y="12"/>
                    <a:pt x="37" y="9"/>
                    <a:pt x="30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5" y="14"/>
                    <a:pt x="5" y="14"/>
                    <a:pt x="5" y="14"/>
                  </a:cubicBezTo>
                  <a:lnTo>
                    <a:pt x="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3" name="Freeform 116">
              <a:extLst>
                <a:ext uri="{FF2B5EF4-FFF2-40B4-BE49-F238E27FC236}">
                  <a16:creationId xmlns:a16="http://schemas.microsoft.com/office/drawing/2014/main" id="{4E83D8F2-A886-484F-B97C-BA44ED3895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59177" y="1989208"/>
              <a:ext cx="118930" cy="65836"/>
            </a:xfrm>
            <a:custGeom>
              <a:avLst/>
              <a:gdLst>
                <a:gd name="T0" fmla="*/ 1 w 27"/>
                <a:gd name="T1" fmla="*/ 15 h 15"/>
                <a:gd name="T2" fmla="*/ 1 w 27"/>
                <a:gd name="T3" fmla="*/ 13 h 15"/>
                <a:gd name="T4" fmla="*/ 24 w 27"/>
                <a:gd name="T5" fmla="*/ 0 h 15"/>
                <a:gd name="T6" fmla="*/ 26 w 27"/>
                <a:gd name="T7" fmla="*/ 0 h 15"/>
                <a:gd name="T8" fmla="*/ 27 w 27"/>
                <a:gd name="T9" fmla="*/ 0 h 15"/>
                <a:gd name="T10" fmla="*/ 27 w 27"/>
                <a:gd name="T11" fmla="*/ 2 h 15"/>
                <a:gd name="T12" fmla="*/ 4 w 27"/>
                <a:gd name="T13" fmla="*/ 15 h 15"/>
                <a:gd name="T14" fmla="*/ 1 w 27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5">
                  <a:moveTo>
                    <a:pt x="1" y="15"/>
                  </a:moveTo>
                  <a:cubicBezTo>
                    <a:pt x="0" y="14"/>
                    <a:pt x="0" y="14"/>
                    <a:pt x="1" y="1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"/>
                    <a:pt x="27" y="1"/>
                    <a:pt x="27" y="2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2" y="15"/>
                    <a:pt x="1" y="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4" name="Freeform 117">
              <a:extLst>
                <a:ext uri="{FF2B5EF4-FFF2-40B4-BE49-F238E27FC236}">
                  <a16:creationId xmlns:a16="http://schemas.microsoft.com/office/drawing/2014/main" id="{64C4E1B0-8083-4E94-A4AB-453FDBEA84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5014" y="2001950"/>
              <a:ext cx="155034" cy="93445"/>
            </a:xfrm>
            <a:custGeom>
              <a:avLst/>
              <a:gdLst>
                <a:gd name="T0" fmla="*/ 0 w 35"/>
                <a:gd name="T1" fmla="*/ 20 h 21"/>
                <a:gd name="T2" fmla="*/ 0 w 35"/>
                <a:gd name="T3" fmla="*/ 19 h 21"/>
                <a:gd name="T4" fmla="*/ 22 w 35"/>
                <a:gd name="T5" fmla="*/ 6 h 21"/>
                <a:gd name="T6" fmla="*/ 15 w 35"/>
                <a:gd name="T7" fmla="*/ 2 h 21"/>
                <a:gd name="T8" fmla="*/ 15 w 35"/>
                <a:gd name="T9" fmla="*/ 1 h 21"/>
                <a:gd name="T10" fmla="*/ 15 w 35"/>
                <a:gd name="T11" fmla="*/ 0 h 21"/>
                <a:gd name="T12" fmla="*/ 17 w 35"/>
                <a:gd name="T13" fmla="*/ 0 h 21"/>
                <a:gd name="T14" fmla="*/ 35 w 35"/>
                <a:gd name="T15" fmla="*/ 10 h 21"/>
                <a:gd name="T16" fmla="*/ 35 w 35"/>
                <a:gd name="T17" fmla="*/ 12 h 21"/>
                <a:gd name="T18" fmla="*/ 34 w 35"/>
                <a:gd name="T19" fmla="*/ 12 h 21"/>
                <a:gd name="T20" fmla="*/ 32 w 35"/>
                <a:gd name="T21" fmla="*/ 12 h 21"/>
                <a:gd name="T22" fmla="*/ 25 w 35"/>
                <a:gd name="T23" fmla="*/ 8 h 21"/>
                <a:gd name="T24" fmla="*/ 3 w 35"/>
                <a:gd name="T25" fmla="*/ 20 h 21"/>
                <a:gd name="T26" fmla="*/ 1 w 35"/>
                <a:gd name="T27" fmla="*/ 20 h 21"/>
                <a:gd name="T28" fmla="*/ 0 w 35"/>
                <a:gd name="T2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21">
                  <a:moveTo>
                    <a:pt x="0" y="20"/>
                  </a:moveTo>
                  <a:cubicBezTo>
                    <a:pt x="0" y="20"/>
                    <a:pt x="0" y="19"/>
                    <a:pt x="0" y="19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1"/>
                    <a:pt x="14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6" y="0"/>
                    <a:pt x="17" y="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1"/>
                    <a:pt x="35" y="11"/>
                    <a:pt x="35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3" y="12"/>
                    <a:pt x="32" y="12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2" y="21"/>
                    <a:pt x="1" y="21"/>
                    <a:pt x="1" y="2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5" name="Freeform 118">
              <a:extLst>
                <a:ext uri="{FF2B5EF4-FFF2-40B4-BE49-F238E27FC236}">
                  <a16:creationId xmlns:a16="http://schemas.microsoft.com/office/drawing/2014/main" id="{D9196083-172D-4F17-B861-A0D6912D51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5070774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6" name="Freeform 119">
              <a:extLst>
                <a:ext uri="{FF2B5EF4-FFF2-40B4-BE49-F238E27FC236}">
                  <a16:creationId xmlns:a16="http://schemas.microsoft.com/office/drawing/2014/main" id="{575CA173-09E1-4063-BEE6-621BB02B3C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5034670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7" name="Freeform 120">
              <a:extLst>
                <a:ext uri="{FF2B5EF4-FFF2-40B4-BE49-F238E27FC236}">
                  <a16:creationId xmlns:a16="http://schemas.microsoft.com/office/drawing/2014/main" id="{B1BD5BDD-DF4B-4A3B-B3DC-F9FABAB9D3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500493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8" name="Freeform 121">
              <a:extLst>
                <a:ext uri="{FF2B5EF4-FFF2-40B4-BE49-F238E27FC236}">
                  <a16:creationId xmlns:a16="http://schemas.microsoft.com/office/drawing/2014/main" id="{E571F682-3FE7-40F5-B4EE-D028F06352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96883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9" name="Freeform 122">
              <a:extLst>
                <a:ext uri="{FF2B5EF4-FFF2-40B4-BE49-F238E27FC236}">
                  <a16:creationId xmlns:a16="http://schemas.microsoft.com/office/drawing/2014/main" id="{0B12B430-8561-4954-93B2-70FC6B9BA6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474" y="493697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0" name="Freeform 123">
              <a:extLst>
                <a:ext uri="{FF2B5EF4-FFF2-40B4-BE49-F238E27FC236}">
                  <a16:creationId xmlns:a16="http://schemas.microsoft.com/office/drawing/2014/main" id="{1000AC0E-3973-473C-BB1A-69377BC2FF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1816" y="490299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1" name="Freeform 124">
              <a:extLst>
                <a:ext uri="{FF2B5EF4-FFF2-40B4-BE49-F238E27FC236}">
                  <a16:creationId xmlns:a16="http://schemas.microsoft.com/office/drawing/2014/main" id="{4C41E215-7462-424F-814F-A690DCA43E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9157" y="487114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2" name="Freeform 125">
              <a:extLst>
                <a:ext uri="{FF2B5EF4-FFF2-40B4-BE49-F238E27FC236}">
                  <a16:creationId xmlns:a16="http://schemas.microsoft.com/office/drawing/2014/main" id="{40CDAF0D-95D5-4CFF-86FC-D53A230756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3" name="Freeform 126">
              <a:extLst>
                <a:ext uri="{FF2B5EF4-FFF2-40B4-BE49-F238E27FC236}">
                  <a16:creationId xmlns:a16="http://schemas.microsoft.com/office/drawing/2014/main" id="{4E988BE1-6E01-4978-A155-8E719FA6D1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480530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4" name="Freeform 127">
              <a:extLst>
                <a:ext uri="{FF2B5EF4-FFF2-40B4-BE49-F238E27FC236}">
                  <a16:creationId xmlns:a16="http://schemas.microsoft.com/office/drawing/2014/main" id="{1766F846-91C7-490A-8FBC-B88A112FEE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3305" y="4769201"/>
              <a:ext cx="33980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5" name="Freeform 128">
              <a:extLst>
                <a:ext uri="{FF2B5EF4-FFF2-40B4-BE49-F238E27FC236}">
                  <a16:creationId xmlns:a16="http://schemas.microsoft.com/office/drawing/2014/main" id="{9FBC7AE6-0913-4AB9-9134-D59FE0D947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5034670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6" name="Freeform 129">
              <a:extLst>
                <a:ext uri="{FF2B5EF4-FFF2-40B4-BE49-F238E27FC236}">
                  <a16:creationId xmlns:a16="http://schemas.microsoft.com/office/drawing/2014/main" id="{F36BB177-4E0C-428E-A665-41ED9717A8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500493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7" name="Freeform 130">
              <a:extLst>
                <a:ext uri="{FF2B5EF4-FFF2-40B4-BE49-F238E27FC236}">
                  <a16:creationId xmlns:a16="http://schemas.microsoft.com/office/drawing/2014/main" id="{B4C15AA8-66BC-41AD-910B-4FECB8F644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96883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8" name="Freeform 131">
              <a:extLst>
                <a:ext uri="{FF2B5EF4-FFF2-40B4-BE49-F238E27FC236}">
                  <a16:creationId xmlns:a16="http://schemas.microsoft.com/office/drawing/2014/main" id="{A3EB5FD6-7B76-422C-9496-090131239D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493697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9" name="Freeform 132">
              <a:extLst>
                <a:ext uri="{FF2B5EF4-FFF2-40B4-BE49-F238E27FC236}">
                  <a16:creationId xmlns:a16="http://schemas.microsoft.com/office/drawing/2014/main" id="{63A57468-A45D-4628-BF1A-BACF888663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90299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0" name="Freeform 133">
              <a:extLst>
                <a:ext uri="{FF2B5EF4-FFF2-40B4-BE49-F238E27FC236}">
                  <a16:creationId xmlns:a16="http://schemas.microsoft.com/office/drawing/2014/main" id="{C09BBE67-D922-411A-893E-155EE8A4C9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474" y="487114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1" name="Freeform 134">
              <a:extLst>
                <a:ext uri="{FF2B5EF4-FFF2-40B4-BE49-F238E27FC236}">
                  <a16:creationId xmlns:a16="http://schemas.microsoft.com/office/drawing/2014/main" id="{0BF55BDC-16FA-4E6C-AC5E-6F7D514407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1816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2" name="Freeform 135">
              <a:extLst>
                <a:ext uri="{FF2B5EF4-FFF2-40B4-BE49-F238E27FC236}">
                  <a16:creationId xmlns:a16="http://schemas.microsoft.com/office/drawing/2014/main" id="{92E12CDD-1F2D-4B41-A20A-D9B299F10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9157" y="480530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3" name="Freeform 136">
              <a:extLst>
                <a:ext uri="{FF2B5EF4-FFF2-40B4-BE49-F238E27FC236}">
                  <a16:creationId xmlns:a16="http://schemas.microsoft.com/office/drawing/2014/main" id="{06E233EC-D092-4547-9360-09EA854480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6498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4" name="Freeform 137">
              <a:extLst>
                <a:ext uri="{FF2B5EF4-FFF2-40B4-BE49-F238E27FC236}">
                  <a16:creationId xmlns:a16="http://schemas.microsoft.com/office/drawing/2014/main" id="{CF97A6B9-E128-4ACE-8D27-1ECDCAE302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3840" y="473946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5" name="Freeform 138">
              <a:extLst>
                <a:ext uri="{FF2B5EF4-FFF2-40B4-BE49-F238E27FC236}">
                  <a16:creationId xmlns:a16="http://schemas.microsoft.com/office/drawing/2014/main" id="{42756B36-6E87-4F43-B029-44C9BE7B28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500493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6" name="Freeform 139">
              <a:extLst>
                <a:ext uri="{FF2B5EF4-FFF2-40B4-BE49-F238E27FC236}">
                  <a16:creationId xmlns:a16="http://schemas.microsoft.com/office/drawing/2014/main" id="{D49EAD91-E178-4E00-8B28-DE40BD397C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96883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7" name="Freeform 140">
              <a:extLst>
                <a:ext uri="{FF2B5EF4-FFF2-40B4-BE49-F238E27FC236}">
                  <a16:creationId xmlns:a16="http://schemas.microsoft.com/office/drawing/2014/main" id="{12DC0637-2F59-4581-B35B-921DBFA749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93697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8" name="Freeform 141">
              <a:extLst>
                <a:ext uri="{FF2B5EF4-FFF2-40B4-BE49-F238E27FC236}">
                  <a16:creationId xmlns:a16="http://schemas.microsoft.com/office/drawing/2014/main" id="{0D602AAE-4E41-4EDD-9A1B-F8CDB6F29E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90299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9" name="Freeform 142">
              <a:extLst>
                <a:ext uri="{FF2B5EF4-FFF2-40B4-BE49-F238E27FC236}">
                  <a16:creationId xmlns:a16="http://schemas.microsoft.com/office/drawing/2014/main" id="{B0DFB7C5-0FD1-401F-B1EB-107088ADA5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487114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0" name="Freeform 143">
              <a:extLst>
                <a:ext uri="{FF2B5EF4-FFF2-40B4-BE49-F238E27FC236}">
                  <a16:creationId xmlns:a16="http://schemas.microsoft.com/office/drawing/2014/main" id="{ECD8575D-8116-4159-9D29-6E2F4B5A13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1" name="Freeform 144">
              <a:extLst>
                <a:ext uri="{FF2B5EF4-FFF2-40B4-BE49-F238E27FC236}">
                  <a16:creationId xmlns:a16="http://schemas.microsoft.com/office/drawing/2014/main" id="{3DAB56B7-8CF6-4DF4-AD99-1E7D7A66D8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474" y="480530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2" name="Freeform 145">
              <a:extLst>
                <a:ext uri="{FF2B5EF4-FFF2-40B4-BE49-F238E27FC236}">
                  <a16:creationId xmlns:a16="http://schemas.microsoft.com/office/drawing/2014/main" id="{AA82EF99-8FE8-4241-ADEF-98B2DB321B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1816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3" name="Freeform 146">
              <a:extLst>
                <a:ext uri="{FF2B5EF4-FFF2-40B4-BE49-F238E27FC236}">
                  <a16:creationId xmlns:a16="http://schemas.microsoft.com/office/drawing/2014/main" id="{5AFDF4DF-BFE5-489B-B59D-446CF6955B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29157" y="473946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4" name="Freeform 147">
              <a:extLst>
                <a:ext uri="{FF2B5EF4-FFF2-40B4-BE49-F238E27FC236}">
                  <a16:creationId xmlns:a16="http://schemas.microsoft.com/office/drawing/2014/main" id="{56C4B5B3-128E-473F-BEAD-879A25BC46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96883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5" name="Freeform 148">
              <a:extLst>
                <a:ext uri="{FF2B5EF4-FFF2-40B4-BE49-F238E27FC236}">
                  <a16:creationId xmlns:a16="http://schemas.microsoft.com/office/drawing/2014/main" id="{B40974FC-D33D-42F9-A5BE-E8B0AF4687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93697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6" name="Freeform 149">
              <a:extLst>
                <a:ext uri="{FF2B5EF4-FFF2-40B4-BE49-F238E27FC236}">
                  <a16:creationId xmlns:a16="http://schemas.microsoft.com/office/drawing/2014/main" id="{E63B9C5D-40A0-4E93-AB12-8600483B48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90299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7" name="Freeform 150">
              <a:extLst>
                <a:ext uri="{FF2B5EF4-FFF2-40B4-BE49-F238E27FC236}">
                  <a16:creationId xmlns:a16="http://schemas.microsoft.com/office/drawing/2014/main" id="{08492583-DFC4-4EC9-876C-8B4B857482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87114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8" name="Freeform 151">
              <a:extLst>
                <a:ext uri="{FF2B5EF4-FFF2-40B4-BE49-F238E27FC236}">
                  <a16:creationId xmlns:a16="http://schemas.microsoft.com/office/drawing/2014/main" id="{BB84F0F6-C90D-4920-AD29-C568F84E1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9" name="Freeform 152">
              <a:extLst>
                <a:ext uri="{FF2B5EF4-FFF2-40B4-BE49-F238E27FC236}">
                  <a16:creationId xmlns:a16="http://schemas.microsoft.com/office/drawing/2014/main" id="{C78568D3-AC36-4F7D-9E07-9BD4539E14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480530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0" name="Freeform 153">
              <a:extLst>
                <a:ext uri="{FF2B5EF4-FFF2-40B4-BE49-F238E27FC236}">
                  <a16:creationId xmlns:a16="http://schemas.microsoft.com/office/drawing/2014/main" id="{E860BB84-1265-4D44-B42B-34D886B6FD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1" name="Freeform 154">
              <a:extLst>
                <a:ext uri="{FF2B5EF4-FFF2-40B4-BE49-F238E27FC236}">
                  <a16:creationId xmlns:a16="http://schemas.microsoft.com/office/drawing/2014/main" id="{202131A0-B7CF-4C21-A477-E5EB3D336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474" y="473946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2" name="Freeform 155">
              <a:extLst>
                <a:ext uri="{FF2B5EF4-FFF2-40B4-BE49-F238E27FC236}">
                  <a16:creationId xmlns:a16="http://schemas.microsoft.com/office/drawing/2014/main" id="{04A96AC9-009F-449B-B054-1C1F7F9D53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1816" y="470336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3" name="Freeform 156">
              <a:extLst>
                <a:ext uri="{FF2B5EF4-FFF2-40B4-BE49-F238E27FC236}">
                  <a16:creationId xmlns:a16="http://schemas.microsoft.com/office/drawing/2014/main" id="{CD64D2A3-B85B-4F10-B9E9-73FA8F47EB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936978"/>
              <a:ext cx="36104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4" name="Freeform 157">
              <a:extLst>
                <a:ext uri="{FF2B5EF4-FFF2-40B4-BE49-F238E27FC236}">
                  <a16:creationId xmlns:a16="http://schemas.microsoft.com/office/drawing/2014/main" id="{1F3A346C-4E05-451C-A2B5-FCA27DCBEE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902997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5" name="Freeform 158">
              <a:extLst>
                <a:ext uri="{FF2B5EF4-FFF2-40B4-BE49-F238E27FC236}">
                  <a16:creationId xmlns:a16="http://schemas.microsoft.com/office/drawing/2014/main" id="{71EFAEA1-90D1-4794-A296-C13086A2C1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871141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6" name="Freeform 159">
              <a:extLst>
                <a:ext uri="{FF2B5EF4-FFF2-40B4-BE49-F238E27FC236}">
                  <a16:creationId xmlns:a16="http://schemas.microsoft.com/office/drawing/2014/main" id="{4B2FF748-D916-44CA-B786-7A297699AC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7" name="Freeform 160">
              <a:extLst>
                <a:ext uri="{FF2B5EF4-FFF2-40B4-BE49-F238E27FC236}">
                  <a16:creationId xmlns:a16="http://schemas.microsoft.com/office/drawing/2014/main" id="{FAFC391F-48BD-4CF4-9094-597A3C988E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805305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8" name="Freeform 161">
              <a:extLst>
                <a:ext uri="{FF2B5EF4-FFF2-40B4-BE49-F238E27FC236}">
                  <a16:creationId xmlns:a16="http://schemas.microsoft.com/office/drawing/2014/main" id="{5FDABA77-C8C4-4DE0-9B36-6719FB0970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9" name="Freeform 162">
              <a:extLst>
                <a:ext uri="{FF2B5EF4-FFF2-40B4-BE49-F238E27FC236}">
                  <a16:creationId xmlns:a16="http://schemas.microsoft.com/office/drawing/2014/main" id="{251F2F49-1EC2-4B0A-AFC1-E20479D2E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4739468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0" name="Freeform 163">
              <a:extLst>
                <a:ext uri="{FF2B5EF4-FFF2-40B4-BE49-F238E27FC236}">
                  <a16:creationId xmlns:a16="http://schemas.microsoft.com/office/drawing/2014/main" id="{82620082-1ED3-4975-A09E-B545485384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70336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1" name="Freeform 164">
              <a:extLst>
                <a:ext uri="{FF2B5EF4-FFF2-40B4-BE49-F238E27FC236}">
                  <a16:creationId xmlns:a16="http://schemas.microsoft.com/office/drawing/2014/main" id="{2A2140DE-45DC-4624-B650-AB2E4E9D3C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474" y="4673632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  <a:gd name="T10" fmla="*/ 7 w 8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8" y="1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2" name="Freeform 165">
              <a:extLst>
                <a:ext uri="{FF2B5EF4-FFF2-40B4-BE49-F238E27FC236}">
                  <a16:creationId xmlns:a16="http://schemas.microsoft.com/office/drawing/2014/main" id="{18D5AA7C-E9BD-4689-9FA8-6179CADB1E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8402" y="4902997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3" name="Freeform 166">
              <a:extLst>
                <a:ext uri="{FF2B5EF4-FFF2-40B4-BE49-F238E27FC236}">
                  <a16:creationId xmlns:a16="http://schemas.microsoft.com/office/drawing/2014/main" id="{9D5F197F-6326-40D0-ACE8-218F420C2E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87114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4" name="Freeform 167">
              <a:extLst>
                <a:ext uri="{FF2B5EF4-FFF2-40B4-BE49-F238E27FC236}">
                  <a16:creationId xmlns:a16="http://schemas.microsoft.com/office/drawing/2014/main" id="{599016B7-46F6-4AB7-B045-9CB853623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83716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5" name="Freeform 168">
              <a:extLst>
                <a:ext uri="{FF2B5EF4-FFF2-40B4-BE49-F238E27FC236}">
                  <a16:creationId xmlns:a16="http://schemas.microsoft.com/office/drawing/2014/main" id="{8D983D83-5630-4234-BA34-59D4E0B6AC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805305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6" name="Freeform 169">
              <a:extLst>
                <a:ext uri="{FF2B5EF4-FFF2-40B4-BE49-F238E27FC236}">
                  <a16:creationId xmlns:a16="http://schemas.microsoft.com/office/drawing/2014/main" id="{4531FADB-0A0E-4C36-B8C8-49F9F5E85A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7" name="Freeform 170">
              <a:extLst>
                <a:ext uri="{FF2B5EF4-FFF2-40B4-BE49-F238E27FC236}">
                  <a16:creationId xmlns:a16="http://schemas.microsoft.com/office/drawing/2014/main" id="{5D19F5DF-7B16-4C5C-8668-42C559516B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739468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8" name="Freeform 171">
              <a:extLst>
                <a:ext uri="{FF2B5EF4-FFF2-40B4-BE49-F238E27FC236}">
                  <a16:creationId xmlns:a16="http://schemas.microsoft.com/office/drawing/2014/main" id="{9ED08BFF-0465-476F-AF4F-455B3B161E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70336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9" name="Freeform 172">
              <a:extLst>
                <a:ext uri="{FF2B5EF4-FFF2-40B4-BE49-F238E27FC236}">
                  <a16:creationId xmlns:a16="http://schemas.microsoft.com/office/drawing/2014/main" id="{53435DA9-1987-45EF-9A61-3A29334FBE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99792" y="467363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0" name="Freeform 173">
              <a:extLst>
                <a:ext uri="{FF2B5EF4-FFF2-40B4-BE49-F238E27FC236}">
                  <a16:creationId xmlns:a16="http://schemas.microsoft.com/office/drawing/2014/main" id="{E175DBFA-7231-45CE-BA9D-0D0DA0BAB1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7133" y="4637528"/>
              <a:ext cx="36104" cy="21238"/>
            </a:xfrm>
            <a:custGeom>
              <a:avLst/>
              <a:gdLst>
                <a:gd name="T0" fmla="*/ 7 w 8"/>
                <a:gd name="T1" fmla="*/ 4 h 5"/>
                <a:gd name="T2" fmla="*/ 2 w 8"/>
                <a:gd name="T3" fmla="*/ 4 h 5"/>
                <a:gd name="T4" fmla="*/ 2 w 8"/>
                <a:gd name="T5" fmla="*/ 1 h 5"/>
                <a:gd name="T6" fmla="*/ 7 w 8"/>
                <a:gd name="T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8" y="3"/>
                    <a:pt x="7" y="4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1" name="Freeform 174">
              <a:extLst>
                <a:ext uri="{FF2B5EF4-FFF2-40B4-BE49-F238E27FC236}">
                  <a16:creationId xmlns:a16="http://schemas.microsoft.com/office/drawing/2014/main" id="{5CF4DBBA-E873-4DD9-AAEE-C71982E519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1061" y="4871141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2" name="Freeform 175">
              <a:extLst>
                <a:ext uri="{FF2B5EF4-FFF2-40B4-BE49-F238E27FC236}">
                  <a16:creationId xmlns:a16="http://schemas.microsoft.com/office/drawing/2014/main" id="{A1F7FFCA-11B4-4204-9E54-AC626E8D35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8402" y="4837161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3" name="Freeform 176">
              <a:extLst>
                <a:ext uri="{FF2B5EF4-FFF2-40B4-BE49-F238E27FC236}">
                  <a16:creationId xmlns:a16="http://schemas.microsoft.com/office/drawing/2014/main" id="{B2126819-CD1A-4215-B30D-D28B9FEF10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805305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4" name="Freeform 177">
              <a:extLst>
                <a:ext uri="{FF2B5EF4-FFF2-40B4-BE49-F238E27FC236}">
                  <a16:creationId xmlns:a16="http://schemas.microsoft.com/office/drawing/2014/main" id="{09991E8D-C3CA-43D8-95E0-A0E7F285B7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769201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5" name="Freeform 178">
              <a:extLst>
                <a:ext uri="{FF2B5EF4-FFF2-40B4-BE49-F238E27FC236}">
                  <a16:creationId xmlns:a16="http://schemas.microsoft.com/office/drawing/2014/main" id="{2A3562C1-EC1B-4847-8D92-94E14F9F5B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739468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6" name="Freeform 179">
              <a:extLst>
                <a:ext uri="{FF2B5EF4-FFF2-40B4-BE49-F238E27FC236}">
                  <a16:creationId xmlns:a16="http://schemas.microsoft.com/office/drawing/2014/main" id="{28181C1E-2D88-466D-8BB1-2BD63240A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70336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7" name="Freeform 180">
              <a:extLst>
                <a:ext uri="{FF2B5EF4-FFF2-40B4-BE49-F238E27FC236}">
                  <a16:creationId xmlns:a16="http://schemas.microsoft.com/office/drawing/2014/main" id="{8C81AC1C-C44C-4541-AF4E-FBAEA462C5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67363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8" name="Freeform 181">
              <a:extLst>
                <a:ext uri="{FF2B5EF4-FFF2-40B4-BE49-F238E27FC236}">
                  <a16:creationId xmlns:a16="http://schemas.microsoft.com/office/drawing/2014/main" id="{2674CD88-0246-45A8-B721-5F15DBCA7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2450" y="4637528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9" name="Freeform 182">
              <a:extLst>
                <a:ext uri="{FF2B5EF4-FFF2-40B4-BE49-F238E27FC236}">
                  <a16:creationId xmlns:a16="http://schemas.microsoft.com/office/drawing/2014/main" id="{44DD7747-9C47-4412-BB4C-672AD5D00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3720" y="4837161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0" name="Freeform 183">
              <a:extLst>
                <a:ext uri="{FF2B5EF4-FFF2-40B4-BE49-F238E27FC236}">
                  <a16:creationId xmlns:a16="http://schemas.microsoft.com/office/drawing/2014/main" id="{47A18053-88DA-4032-9E13-0857DB39FC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1061" y="4805305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1" name="Freeform 184">
              <a:extLst>
                <a:ext uri="{FF2B5EF4-FFF2-40B4-BE49-F238E27FC236}">
                  <a16:creationId xmlns:a16="http://schemas.microsoft.com/office/drawing/2014/main" id="{93582C48-44C2-4845-A530-FABC462D30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8402" y="4769201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2" name="Freeform 185">
              <a:extLst>
                <a:ext uri="{FF2B5EF4-FFF2-40B4-BE49-F238E27FC236}">
                  <a16:creationId xmlns:a16="http://schemas.microsoft.com/office/drawing/2014/main" id="{DB049CE1-7CE3-4121-B58A-537385E37C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739468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3" name="Freeform 186">
              <a:extLst>
                <a:ext uri="{FF2B5EF4-FFF2-40B4-BE49-F238E27FC236}">
                  <a16:creationId xmlns:a16="http://schemas.microsoft.com/office/drawing/2014/main" id="{5D5693FE-7880-48C8-B2D4-7B76D8AC9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703365"/>
              <a:ext cx="36104" cy="23361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4" name="Freeform 187">
              <a:extLst>
                <a:ext uri="{FF2B5EF4-FFF2-40B4-BE49-F238E27FC236}">
                  <a16:creationId xmlns:a16="http://schemas.microsoft.com/office/drawing/2014/main" id="{DF174A19-256F-4C7A-A764-7D2BE4505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67363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5" name="Freeform 188">
              <a:extLst>
                <a:ext uri="{FF2B5EF4-FFF2-40B4-BE49-F238E27FC236}">
                  <a16:creationId xmlns:a16="http://schemas.microsoft.com/office/drawing/2014/main" id="{0E89C1A5-7FDC-48CF-8FFE-D4CB6D22DE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637528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6" name="Freeform 189">
              <a:extLst>
                <a:ext uri="{FF2B5EF4-FFF2-40B4-BE49-F238E27FC236}">
                  <a16:creationId xmlns:a16="http://schemas.microsoft.com/office/drawing/2014/main" id="{62E1C48B-F3D9-475D-B28F-F2282C3C80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85109" y="4605672"/>
              <a:ext cx="36104" cy="19114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7" name="Freeform 190">
              <a:extLst>
                <a:ext uri="{FF2B5EF4-FFF2-40B4-BE49-F238E27FC236}">
                  <a16:creationId xmlns:a16="http://schemas.microsoft.com/office/drawing/2014/main" id="{9AF2BDD3-6BE8-41C0-B6BC-34B14CB1F8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26378" y="4805305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8" name="Freeform 191">
              <a:extLst>
                <a:ext uri="{FF2B5EF4-FFF2-40B4-BE49-F238E27FC236}">
                  <a16:creationId xmlns:a16="http://schemas.microsoft.com/office/drawing/2014/main" id="{B3FC5BA3-249F-40FC-841C-F39366BA67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3720" y="4769201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9" name="Freeform 192">
              <a:extLst>
                <a:ext uri="{FF2B5EF4-FFF2-40B4-BE49-F238E27FC236}">
                  <a16:creationId xmlns:a16="http://schemas.microsoft.com/office/drawing/2014/main" id="{58C81F96-600B-4EE8-A6B2-4089FFC7FE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1061" y="4739468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0" name="Freeform 193">
              <a:extLst>
                <a:ext uri="{FF2B5EF4-FFF2-40B4-BE49-F238E27FC236}">
                  <a16:creationId xmlns:a16="http://schemas.microsoft.com/office/drawing/2014/main" id="{A9E652A9-D2A6-4FE5-8844-C5F7ABCF9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8402" y="4703365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1" name="Freeform 194">
              <a:extLst>
                <a:ext uri="{FF2B5EF4-FFF2-40B4-BE49-F238E27FC236}">
                  <a16:creationId xmlns:a16="http://schemas.microsoft.com/office/drawing/2014/main" id="{C7BB88AA-0E3D-4125-811C-14C1CC5C31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673632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2" name="Freeform 195">
              <a:extLst>
                <a:ext uri="{FF2B5EF4-FFF2-40B4-BE49-F238E27FC236}">
                  <a16:creationId xmlns:a16="http://schemas.microsoft.com/office/drawing/2014/main" id="{72FB1297-E9A3-4E1D-ADF1-912CFD063B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637528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3" name="Freeform 196">
              <a:extLst>
                <a:ext uri="{FF2B5EF4-FFF2-40B4-BE49-F238E27FC236}">
                  <a16:creationId xmlns:a16="http://schemas.microsoft.com/office/drawing/2014/main" id="{DC35F8CA-622F-4082-BE97-05A609A01E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70426" y="4605672"/>
              <a:ext cx="36104" cy="19114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4" name="Freeform 197">
              <a:extLst>
                <a:ext uri="{FF2B5EF4-FFF2-40B4-BE49-F238E27FC236}">
                  <a16:creationId xmlns:a16="http://schemas.microsoft.com/office/drawing/2014/main" id="{7417056E-FD7F-41C9-8F7A-304032C5D1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27768" y="4571692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5" name="Freeform 198">
              <a:extLst>
                <a:ext uri="{FF2B5EF4-FFF2-40B4-BE49-F238E27FC236}">
                  <a16:creationId xmlns:a16="http://schemas.microsoft.com/office/drawing/2014/main" id="{882EB4A6-FC0B-45B4-9AED-38AD109DC7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9037" y="4769201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6" name="Freeform 199">
              <a:extLst>
                <a:ext uri="{FF2B5EF4-FFF2-40B4-BE49-F238E27FC236}">
                  <a16:creationId xmlns:a16="http://schemas.microsoft.com/office/drawing/2014/main" id="{D0438342-05E3-4BEF-A589-1BA25203BF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26378" y="4739468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1 w 8"/>
                <a:gd name="T5" fmla="*/ 3 h 4"/>
                <a:gd name="T6" fmla="*/ 1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7" name="Freeform 200">
              <a:extLst>
                <a:ext uri="{FF2B5EF4-FFF2-40B4-BE49-F238E27FC236}">
                  <a16:creationId xmlns:a16="http://schemas.microsoft.com/office/drawing/2014/main" id="{6C8E25E1-78DD-46FF-A226-E5B8AF7C3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3720" y="4703365"/>
              <a:ext cx="36104" cy="23361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1 w 8"/>
                <a:gd name="T5" fmla="*/ 4 h 5"/>
                <a:gd name="T6" fmla="*/ 1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8" name="Freeform 201">
              <a:extLst>
                <a:ext uri="{FF2B5EF4-FFF2-40B4-BE49-F238E27FC236}">
                  <a16:creationId xmlns:a16="http://schemas.microsoft.com/office/drawing/2014/main" id="{025BC8D3-0671-4B67-8FDA-F4C1A9F5A8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41061" y="4673632"/>
              <a:ext cx="36104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" name="Freeform 202">
              <a:extLst>
                <a:ext uri="{FF2B5EF4-FFF2-40B4-BE49-F238E27FC236}">
                  <a16:creationId xmlns:a16="http://schemas.microsoft.com/office/drawing/2014/main" id="{DB83D64D-6627-4C73-BC3D-34747F9333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8402" y="4637528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" name="Freeform 203">
              <a:extLst>
                <a:ext uri="{FF2B5EF4-FFF2-40B4-BE49-F238E27FC236}">
                  <a16:creationId xmlns:a16="http://schemas.microsoft.com/office/drawing/2014/main" id="{DB92CF82-DF3C-438C-9064-F239B39E20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55744" y="4605672"/>
              <a:ext cx="36104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1" name="Freeform 204">
              <a:extLst>
                <a:ext uri="{FF2B5EF4-FFF2-40B4-BE49-F238E27FC236}">
                  <a16:creationId xmlns:a16="http://schemas.microsoft.com/office/drawing/2014/main" id="{B600F519-512D-4F1C-B25E-72BF298D57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13085" y="4571692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212" name="Group 406">
              <a:extLst>
                <a:ext uri="{FF2B5EF4-FFF2-40B4-BE49-F238E27FC236}">
                  <a16:creationId xmlns:a16="http://schemas.microsoft.com/office/drawing/2014/main" id="{38EBB5E6-889D-481A-A61D-3A69291E9D92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5939672" y="4372058"/>
              <a:ext cx="2565493" cy="1276376"/>
              <a:chOff x="3899" y="2181"/>
              <a:chExt cx="1208" cy="601"/>
            </a:xfrm>
          </p:grpSpPr>
          <p:sp>
            <p:nvSpPr>
              <p:cNvPr id="1412" name="Freeform 206">
                <a:extLst>
                  <a:ext uri="{FF2B5EF4-FFF2-40B4-BE49-F238E27FC236}">
                    <a16:creationId xmlns:a16="http://schemas.microsoft.com/office/drawing/2014/main" id="{C14FD41A-57D8-4A29-A4D9-8F206DC3A4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96" y="226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3" name="Freeform 207">
                <a:extLst>
                  <a:ext uri="{FF2B5EF4-FFF2-40B4-BE49-F238E27FC236}">
                    <a16:creationId xmlns:a16="http://schemas.microsoft.com/office/drawing/2014/main" id="{3A7D5E2A-C9B0-4021-AE1E-0A545FC9E5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35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4" name="Freeform 208">
                <a:extLst>
                  <a:ext uri="{FF2B5EF4-FFF2-40B4-BE49-F238E27FC236}">
                    <a16:creationId xmlns:a16="http://schemas.microsoft.com/office/drawing/2014/main" id="{60D0B390-DD52-4615-99FE-305B2B0969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33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5" name="Freeform 209">
                <a:extLst>
                  <a:ext uri="{FF2B5EF4-FFF2-40B4-BE49-F238E27FC236}">
                    <a16:creationId xmlns:a16="http://schemas.microsoft.com/office/drawing/2014/main" id="{F4CEEF77-180C-4D91-A775-2CB1DC9EB7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323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6" name="Freeform 210">
                <a:extLst>
                  <a:ext uri="{FF2B5EF4-FFF2-40B4-BE49-F238E27FC236}">
                    <a16:creationId xmlns:a16="http://schemas.microsoft.com/office/drawing/2014/main" id="{13D659E4-7C67-42C8-A100-65186EB22A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30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7" name="Freeform 211">
                <a:extLst>
                  <a:ext uri="{FF2B5EF4-FFF2-40B4-BE49-F238E27FC236}">
                    <a16:creationId xmlns:a16="http://schemas.microsoft.com/office/drawing/2014/main" id="{8C02212F-6383-4CEB-A07A-893B7C6B28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88" y="2291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8" name="Freeform 212">
                <a:extLst>
                  <a:ext uri="{FF2B5EF4-FFF2-40B4-BE49-F238E27FC236}">
                    <a16:creationId xmlns:a16="http://schemas.microsoft.com/office/drawing/2014/main" id="{879F31E0-AE9C-478D-93D5-19FA5E29C4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5" y="227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9" name="Freeform 213">
                <a:extLst>
                  <a:ext uri="{FF2B5EF4-FFF2-40B4-BE49-F238E27FC236}">
                    <a16:creationId xmlns:a16="http://schemas.microsoft.com/office/drawing/2014/main" id="{C272B59C-AA26-4E45-B201-CF39CFB438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42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0" name="Freeform 214">
                <a:extLst>
                  <a:ext uri="{FF2B5EF4-FFF2-40B4-BE49-F238E27FC236}">
                    <a16:creationId xmlns:a16="http://schemas.microsoft.com/office/drawing/2014/main" id="{C4EC95EB-41C5-4857-9070-AC271BF590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69" y="224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1" name="Freeform 215">
                <a:extLst>
                  <a:ext uri="{FF2B5EF4-FFF2-40B4-BE49-F238E27FC236}">
                    <a16:creationId xmlns:a16="http://schemas.microsoft.com/office/drawing/2014/main" id="{A2B29655-DB26-4011-A483-3814FD04BB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33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2" name="Freeform 216">
                <a:extLst>
                  <a:ext uri="{FF2B5EF4-FFF2-40B4-BE49-F238E27FC236}">
                    <a16:creationId xmlns:a16="http://schemas.microsoft.com/office/drawing/2014/main" id="{E0CE8EBE-2756-49BD-84A5-9A23A5581C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323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3" name="Freeform 217">
                <a:extLst>
                  <a:ext uri="{FF2B5EF4-FFF2-40B4-BE49-F238E27FC236}">
                    <a16:creationId xmlns:a16="http://schemas.microsoft.com/office/drawing/2014/main" id="{52972404-A175-4F61-97F6-B2E894918B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30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4" name="Freeform 218">
                <a:extLst>
                  <a:ext uri="{FF2B5EF4-FFF2-40B4-BE49-F238E27FC236}">
                    <a16:creationId xmlns:a16="http://schemas.microsoft.com/office/drawing/2014/main" id="{73CA192C-E793-4524-8A71-A60EB75284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291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5" name="Freeform 219">
                <a:extLst>
                  <a:ext uri="{FF2B5EF4-FFF2-40B4-BE49-F238E27FC236}">
                    <a16:creationId xmlns:a16="http://schemas.microsoft.com/office/drawing/2014/main" id="{79A478E2-DBBB-455F-ACAA-C63F69BFC7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27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6" name="Freeform 220">
                <a:extLst>
                  <a:ext uri="{FF2B5EF4-FFF2-40B4-BE49-F238E27FC236}">
                    <a16:creationId xmlns:a16="http://schemas.microsoft.com/office/drawing/2014/main" id="{9B946EBC-A77B-47E5-91E3-50931BD9F0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88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7" name="Freeform 221">
                <a:extLst>
                  <a:ext uri="{FF2B5EF4-FFF2-40B4-BE49-F238E27FC236}">
                    <a16:creationId xmlns:a16="http://schemas.microsoft.com/office/drawing/2014/main" id="{E473129D-DC71-4672-B659-39D815D156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5" y="224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8" name="Freeform 222">
                <a:extLst>
                  <a:ext uri="{FF2B5EF4-FFF2-40B4-BE49-F238E27FC236}">
                    <a16:creationId xmlns:a16="http://schemas.microsoft.com/office/drawing/2014/main" id="{A3685661-28B1-41A6-9B62-98686229CB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42" y="222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  <a:gd name="T10" fmla="*/ 6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9" name="Freeform 223">
                <a:extLst>
                  <a:ext uri="{FF2B5EF4-FFF2-40B4-BE49-F238E27FC236}">
                    <a16:creationId xmlns:a16="http://schemas.microsoft.com/office/drawing/2014/main" id="{170EF885-B676-4CE0-B5B8-F5E9889236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323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0" name="Freeform 224">
                <a:extLst>
                  <a:ext uri="{FF2B5EF4-FFF2-40B4-BE49-F238E27FC236}">
                    <a16:creationId xmlns:a16="http://schemas.microsoft.com/office/drawing/2014/main" id="{6C6C04A8-3339-48D3-9DAD-251B2D9CB7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30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1" name="Freeform 225">
                <a:extLst>
                  <a:ext uri="{FF2B5EF4-FFF2-40B4-BE49-F238E27FC236}">
                    <a16:creationId xmlns:a16="http://schemas.microsoft.com/office/drawing/2014/main" id="{836EDDD2-D66A-463A-BAD2-F561386A5A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291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2" name="Freeform 226">
                <a:extLst>
                  <a:ext uri="{FF2B5EF4-FFF2-40B4-BE49-F238E27FC236}">
                    <a16:creationId xmlns:a16="http://schemas.microsoft.com/office/drawing/2014/main" id="{2DD64FED-7F84-47A8-851E-A85C1E9628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27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3" name="Freeform 227">
                <a:extLst>
                  <a:ext uri="{FF2B5EF4-FFF2-40B4-BE49-F238E27FC236}">
                    <a16:creationId xmlns:a16="http://schemas.microsoft.com/office/drawing/2014/main" id="{E6441347-527C-43AA-A182-FD237E5179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4" name="Freeform 228">
                <a:extLst>
                  <a:ext uri="{FF2B5EF4-FFF2-40B4-BE49-F238E27FC236}">
                    <a16:creationId xmlns:a16="http://schemas.microsoft.com/office/drawing/2014/main" id="{E7B07961-2C54-4BCD-BD8A-2E0C2234B0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24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5" name="Freeform 229">
                <a:extLst>
                  <a:ext uri="{FF2B5EF4-FFF2-40B4-BE49-F238E27FC236}">
                    <a16:creationId xmlns:a16="http://schemas.microsoft.com/office/drawing/2014/main" id="{45C52373-80B1-436F-8DAB-228625E1CF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88" y="222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6" name="Freeform 230">
                <a:extLst>
                  <a:ext uri="{FF2B5EF4-FFF2-40B4-BE49-F238E27FC236}">
                    <a16:creationId xmlns:a16="http://schemas.microsoft.com/office/drawing/2014/main" id="{4F54763D-6CCF-4D5D-9E00-9F1A2E1A18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5" y="2212"/>
                <a:ext cx="17" cy="11"/>
              </a:xfrm>
              <a:custGeom>
                <a:avLst/>
                <a:gdLst>
                  <a:gd name="T0" fmla="*/ 6 w 8"/>
                  <a:gd name="T1" fmla="*/ 4 h 5"/>
                  <a:gd name="T2" fmla="*/ 2 w 8"/>
                  <a:gd name="T3" fmla="*/ 4 h 5"/>
                  <a:gd name="T4" fmla="*/ 2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7" name="Freeform 231">
                <a:extLst>
                  <a:ext uri="{FF2B5EF4-FFF2-40B4-BE49-F238E27FC236}">
                    <a16:creationId xmlns:a16="http://schemas.microsoft.com/office/drawing/2014/main" id="{10DDFC1A-6B0A-4AFB-944C-4BF5F5E9D9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99" y="230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8" name="Freeform 232">
                <a:extLst>
                  <a:ext uri="{FF2B5EF4-FFF2-40B4-BE49-F238E27FC236}">
                    <a16:creationId xmlns:a16="http://schemas.microsoft.com/office/drawing/2014/main" id="{B4E1C801-9733-42B9-BA02-71F113F19D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291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9" name="Freeform 233">
                <a:extLst>
                  <a:ext uri="{FF2B5EF4-FFF2-40B4-BE49-F238E27FC236}">
                    <a16:creationId xmlns:a16="http://schemas.microsoft.com/office/drawing/2014/main" id="{2AE890A2-EFC6-4872-BB70-6E4897F20A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27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0" name="Freeform 234">
                <a:extLst>
                  <a:ext uri="{FF2B5EF4-FFF2-40B4-BE49-F238E27FC236}">
                    <a16:creationId xmlns:a16="http://schemas.microsoft.com/office/drawing/2014/main" id="{E7C4ACAC-5A25-48DD-8AC5-ADD6A6079D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260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1" name="Freeform 235">
                <a:extLst>
                  <a:ext uri="{FF2B5EF4-FFF2-40B4-BE49-F238E27FC236}">
                    <a16:creationId xmlns:a16="http://schemas.microsoft.com/office/drawing/2014/main" id="{F274CAE1-C0D1-407A-BB04-ED92CA43CF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24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2" name="Freeform 236">
                <a:extLst>
                  <a:ext uri="{FF2B5EF4-FFF2-40B4-BE49-F238E27FC236}">
                    <a16:creationId xmlns:a16="http://schemas.microsoft.com/office/drawing/2014/main" id="{F29BBB86-E4B2-41D2-9931-E62CCFF220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227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3" name="Freeform 237">
                <a:extLst>
                  <a:ext uri="{FF2B5EF4-FFF2-40B4-BE49-F238E27FC236}">
                    <a16:creationId xmlns:a16="http://schemas.microsoft.com/office/drawing/2014/main" id="{AB5CEF80-4278-4A09-8FE6-248E285FA0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1" y="2212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4" name="Freeform 238">
                <a:extLst>
                  <a:ext uri="{FF2B5EF4-FFF2-40B4-BE49-F238E27FC236}">
                    <a16:creationId xmlns:a16="http://schemas.microsoft.com/office/drawing/2014/main" id="{78237462-25F2-4655-AA42-E481852F3E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99" y="227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5" name="Freeform 239">
                <a:extLst>
                  <a:ext uri="{FF2B5EF4-FFF2-40B4-BE49-F238E27FC236}">
                    <a16:creationId xmlns:a16="http://schemas.microsoft.com/office/drawing/2014/main" id="{20AC7BAE-5ED2-4CBF-8D94-7A6F905913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260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6" name="Freeform 240">
                <a:extLst>
                  <a:ext uri="{FF2B5EF4-FFF2-40B4-BE49-F238E27FC236}">
                    <a16:creationId xmlns:a16="http://schemas.microsoft.com/office/drawing/2014/main" id="{AF020FB0-D359-414F-B17C-50D575977D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24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7" name="Freeform 241">
                <a:extLst>
                  <a:ext uri="{FF2B5EF4-FFF2-40B4-BE49-F238E27FC236}">
                    <a16:creationId xmlns:a16="http://schemas.microsoft.com/office/drawing/2014/main" id="{2AC170BD-4E95-49ED-A245-DF596A1922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227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8" name="Freeform 242">
                <a:extLst>
                  <a:ext uri="{FF2B5EF4-FFF2-40B4-BE49-F238E27FC236}">
                    <a16:creationId xmlns:a16="http://schemas.microsoft.com/office/drawing/2014/main" id="{93674920-41AE-4963-8CC2-072C31EAF5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212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9" name="Freeform 243">
                <a:extLst>
                  <a:ext uri="{FF2B5EF4-FFF2-40B4-BE49-F238E27FC236}">
                    <a16:creationId xmlns:a16="http://schemas.microsoft.com/office/drawing/2014/main" id="{183AE1C0-6FEF-4F72-B907-EEF4EF761D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4" y="219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0" name="Freeform 244">
                <a:extLst>
                  <a:ext uri="{FF2B5EF4-FFF2-40B4-BE49-F238E27FC236}">
                    <a16:creationId xmlns:a16="http://schemas.microsoft.com/office/drawing/2014/main" id="{57FD837B-3AEB-473D-96E3-EABEDE3EF9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99" y="224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1" name="Freeform 245">
                <a:extLst>
                  <a:ext uri="{FF2B5EF4-FFF2-40B4-BE49-F238E27FC236}">
                    <a16:creationId xmlns:a16="http://schemas.microsoft.com/office/drawing/2014/main" id="{8321BC80-A9A2-4117-8529-315EFFEFDB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26" y="222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2" name="Freeform 246">
                <a:extLst>
                  <a:ext uri="{FF2B5EF4-FFF2-40B4-BE49-F238E27FC236}">
                    <a16:creationId xmlns:a16="http://schemas.microsoft.com/office/drawing/2014/main" id="{5AE43304-B189-44A1-B4F5-EC355BACCA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53" y="2212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3" name="Freeform 247">
                <a:extLst>
                  <a:ext uri="{FF2B5EF4-FFF2-40B4-BE49-F238E27FC236}">
                    <a16:creationId xmlns:a16="http://schemas.microsoft.com/office/drawing/2014/main" id="{73F204B7-C5A9-4D35-82BF-12242C21AE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80" y="219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4" name="Freeform 248">
                <a:extLst>
                  <a:ext uri="{FF2B5EF4-FFF2-40B4-BE49-F238E27FC236}">
                    <a16:creationId xmlns:a16="http://schemas.microsoft.com/office/drawing/2014/main" id="{339E71F3-E826-44D3-BA53-8468AFD66E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7" y="2181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5" name="Freeform 249">
                <a:extLst>
                  <a:ext uri="{FF2B5EF4-FFF2-40B4-BE49-F238E27FC236}">
                    <a16:creationId xmlns:a16="http://schemas.microsoft.com/office/drawing/2014/main" id="{9142A22D-6CB0-4306-A2C3-12CC9C6780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772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6" name="Freeform 250">
                <a:extLst>
                  <a:ext uri="{FF2B5EF4-FFF2-40B4-BE49-F238E27FC236}">
                    <a16:creationId xmlns:a16="http://schemas.microsoft.com/office/drawing/2014/main" id="{03A0F989-509B-41D0-915A-734EB57A8B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757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7" name="Freeform 251">
                <a:extLst>
                  <a:ext uri="{FF2B5EF4-FFF2-40B4-BE49-F238E27FC236}">
                    <a16:creationId xmlns:a16="http://schemas.microsoft.com/office/drawing/2014/main" id="{CBE9F8BB-8C4E-4179-8D30-5ACF6E7BB9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8" name="Freeform 252">
                <a:extLst>
                  <a:ext uri="{FF2B5EF4-FFF2-40B4-BE49-F238E27FC236}">
                    <a16:creationId xmlns:a16="http://schemas.microsoft.com/office/drawing/2014/main" id="{5302CC1C-CF9D-4F76-AFEF-95984485FD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72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9" name="Freeform 253">
                <a:extLst>
                  <a:ext uri="{FF2B5EF4-FFF2-40B4-BE49-F238E27FC236}">
                    <a16:creationId xmlns:a16="http://schemas.microsoft.com/office/drawing/2014/main" id="{5FA84424-86C5-47CB-8107-DC1C3131A1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0" name="Freeform 254">
                <a:extLst>
                  <a:ext uri="{FF2B5EF4-FFF2-40B4-BE49-F238E27FC236}">
                    <a16:creationId xmlns:a16="http://schemas.microsoft.com/office/drawing/2014/main" id="{8106B6B9-8CE0-42F1-8874-9695FAFC96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9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1" name="Freeform 255">
                <a:extLst>
                  <a:ext uri="{FF2B5EF4-FFF2-40B4-BE49-F238E27FC236}">
                    <a16:creationId xmlns:a16="http://schemas.microsoft.com/office/drawing/2014/main" id="{A4F1E867-CE72-4A32-8F3C-80C3C519B4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2" name="Freeform 256">
                <a:extLst>
                  <a:ext uri="{FF2B5EF4-FFF2-40B4-BE49-F238E27FC236}">
                    <a16:creationId xmlns:a16="http://schemas.microsoft.com/office/drawing/2014/main" id="{043CAC02-C37B-4A73-905C-06C1D13D1E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3" name="Freeform 257">
                <a:extLst>
                  <a:ext uri="{FF2B5EF4-FFF2-40B4-BE49-F238E27FC236}">
                    <a16:creationId xmlns:a16="http://schemas.microsoft.com/office/drawing/2014/main" id="{939EAF67-BC0F-4E04-A332-2EF3ED553F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4" name="Freeform 258">
                <a:extLst>
                  <a:ext uri="{FF2B5EF4-FFF2-40B4-BE49-F238E27FC236}">
                    <a16:creationId xmlns:a16="http://schemas.microsoft.com/office/drawing/2014/main" id="{9C774B31-ADEC-400E-95DD-062DB10C48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5" name="Freeform 259">
                <a:extLst>
                  <a:ext uri="{FF2B5EF4-FFF2-40B4-BE49-F238E27FC236}">
                    <a16:creationId xmlns:a16="http://schemas.microsoft.com/office/drawing/2014/main" id="{79F24F38-5E9D-49FF-9AFB-3E0133F156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6" name="Freeform 260">
                <a:extLst>
                  <a:ext uri="{FF2B5EF4-FFF2-40B4-BE49-F238E27FC236}">
                    <a16:creationId xmlns:a16="http://schemas.microsoft.com/office/drawing/2014/main" id="{8AA45262-FC2B-4C76-A11A-1256513CE5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7" name="Freeform 261">
                <a:extLst>
                  <a:ext uri="{FF2B5EF4-FFF2-40B4-BE49-F238E27FC236}">
                    <a16:creationId xmlns:a16="http://schemas.microsoft.com/office/drawing/2014/main" id="{3DB86320-B284-4B2A-9174-39B4904DB0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8" name="Freeform 262">
                <a:extLst>
                  <a:ext uri="{FF2B5EF4-FFF2-40B4-BE49-F238E27FC236}">
                    <a16:creationId xmlns:a16="http://schemas.microsoft.com/office/drawing/2014/main" id="{2E566085-7C38-4CD8-B2CC-9C172184E3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9" name="Freeform 263">
                <a:extLst>
                  <a:ext uri="{FF2B5EF4-FFF2-40B4-BE49-F238E27FC236}">
                    <a16:creationId xmlns:a16="http://schemas.microsoft.com/office/drawing/2014/main" id="{70795B44-EF90-423C-ABB9-3A9E24F83D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0" name="Freeform 264">
                <a:extLst>
                  <a:ext uri="{FF2B5EF4-FFF2-40B4-BE49-F238E27FC236}">
                    <a16:creationId xmlns:a16="http://schemas.microsoft.com/office/drawing/2014/main" id="{3CDDDB57-94BC-447C-91A4-D6C7B023E4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757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1" name="Freeform 265">
                <a:extLst>
                  <a:ext uri="{FF2B5EF4-FFF2-40B4-BE49-F238E27FC236}">
                    <a16:creationId xmlns:a16="http://schemas.microsoft.com/office/drawing/2014/main" id="{781F2606-C08F-46FB-8CFE-4166CDD8C4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74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2" name="Freeform 266">
                <a:extLst>
                  <a:ext uri="{FF2B5EF4-FFF2-40B4-BE49-F238E27FC236}">
                    <a16:creationId xmlns:a16="http://schemas.microsoft.com/office/drawing/2014/main" id="{F8E2BED9-5F82-49F2-972C-EB5CF1FF67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72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3" name="Freeform 267">
                <a:extLst>
                  <a:ext uri="{FF2B5EF4-FFF2-40B4-BE49-F238E27FC236}">
                    <a16:creationId xmlns:a16="http://schemas.microsoft.com/office/drawing/2014/main" id="{A4281FB8-320E-4F99-9DA1-2AE3FD30B2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4" name="Freeform 268">
                <a:extLst>
                  <a:ext uri="{FF2B5EF4-FFF2-40B4-BE49-F238E27FC236}">
                    <a16:creationId xmlns:a16="http://schemas.microsoft.com/office/drawing/2014/main" id="{13764693-AA60-4E89-BFFF-C34D0BD064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9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5" name="Freeform 269">
                <a:extLst>
                  <a:ext uri="{FF2B5EF4-FFF2-40B4-BE49-F238E27FC236}">
                    <a16:creationId xmlns:a16="http://schemas.microsoft.com/office/drawing/2014/main" id="{921CC182-4072-4D79-B12B-C1BC27DBEC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6" name="Freeform 270">
                <a:extLst>
                  <a:ext uri="{FF2B5EF4-FFF2-40B4-BE49-F238E27FC236}">
                    <a16:creationId xmlns:a16="http://schemas.microsoft.com/office/drawing/2014/main" id="{7ADD3A2E-ADD4-4254-82D9-960D2D1B58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7" name="Freeform 271">
                <a:extLst>
                  <a:ext uri="{FF2B5EF4-FFF2-40B4-BE49-F238E27FC236}">
                    <a16:creationId xmlns:a16="http://schemas.microsoft.com/office/drawing/2014/main" id="{B95C58FC-E774-4D7D-832E-9232C402F7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8" name="Freeform 272">
                <a:extLst>
                  <a:ext uri="{FF2B5EF4-FFF2-40B4-BE49-F238E27FC236}">
                    <a16:creationId xmlns:a16="http://schemas.microsoft.com/office/drawing/2014/main" id="{63EAFCA8-2324-4917-909F-25BF2ABED6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9" name="Freeform 273">
                <a:extLst>
                  <a:ext uri="{FF2B5EF4-FFF2-40B4-BE49-F238E27FC236}">
                    <a16:creationId xmlns:a16="http://schemas.microsoft.com/office/drawing/2014/main" id="{1AC61531-6FA3-4AEB-BC60-261777C99C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0" name="Freeform 274">
                <a:extLst>
                  <a:ext uri="{FF2B5EF4-FFF2-40B4-BE49-F238E27FC236}">
                    <a16:creationId xmlns:a16="http://schemas.microsoft.com/office/drawing/2014/main" id="{CBEE933C-7901-4BFB-A2DB-3261D7AA17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1" name="Freeform 275">
                <a:extLst>
                  <a:ext uri="{FF2B5EF4-FFF2-40B4-BE49-F238E27FC236}">
                    <a16:creationId xmlns:a16="http://schemas.microsoft.com/office/drawing/2014/main" id="{0E5AFF4A-B53C-4228-9D04-83B6CC5F8E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2" name="Freeform 276">
                <a:extLst>
                  <a:ext uri="{FF2B5EF4-FFF2-40B4-BE49-F238E27FC236}">
                    <a16:creationId xmlns:a16="http://schemas.microsoft.com/office/drawing/2014/main" id="{D1C203DE-0499-448C-ABEE-2405F20620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3" name="Freeform 277">
                <a:extLst>
                  <a:ext uri="{FF2B5EF4-FFF2-40B4-BE49-F238E27FC236}">
                    <a16:creationId xmlns:a16="http://schemas.microsoft.com/office/drawing/2014/main" id="{5CAFB4F1-325C-44D9-A921-4AF1870CBC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4" name="Freeform 278">
                <a:extLst>
                  <a:ext uri="{FF2B5EF4-FFF2-40B4-BE49-F238E27FC236}">
                    <a16:creationId xmlns:a16="http://schemas.microsoft.com/office/drawing/2014/main" id="{545ACAB6-848B-4EDE-A839-B09FCA90E8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5" name="Freeform 279">
                <a:extLst>
                  <a:ext uri="{FF2B5EF4-FFF2-40B4-BE49-F238E27FC236}">
                    <a16:creationId xmlns:a16="http://schemas.microsoft.com/office/drawing/2014/main" id="{AF60F7BE-EB16-4346-9C9C-4AADA71477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74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6" name="Freeform 280">
                <a:extLst>
                  <a:ext uri="{FF2B5EF4-FFF2-40B4-BE49-F238E27FC236}">
                    <a16:creationId xmlns:a16="http://schemas.microsoft.com/office/drawing/2014/main" id="{1FE2B9B9-670A-4B2B-B890-030900C987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726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7" name="Freeform 281">
                <a:extLst>
                  <a:ext uri="{FF2B5EF4-FFF2-40B4-BE49-F238E27FC236}">
                    <a16:creationId xmlns:a16="http://schemas.microsoft.com/office/drawing/2014/main" id="{705BC8BC-A46F-477F-A585-85CA926C8F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709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8" name="Freeform 282">
                <a:extLst>
                  <a:ext uri="{FF2B5EF4-FFF2-40B4-BE49-F238E27FC236}">
                    <a16:creationId xmlns:a16="http://schemas.microsoft.com/office/drawing/2014/main" id="{44D8B2E3-25CB-4FD6-8609-13B9894B8E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9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9" name="Freeform 283">
                <a:extLst>
                  <a:ext uri="{FF2B5EF4-FFF2-40B4-BE49-F238E27FC236}">
                    <a16:creationId xmlns:a16="http://schemas.microsoft.com/office/drawing/2014/main" id="{0DA1070D-846D-437A-A390-7DEAA31C7B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0" name="Freeform 284">
                <a:extLst>
                  <a:ext uri="{FF2B5EF4-FFF2-40B4-BE49-F238E27FC236}">
                    <a16:creationId xmlns:a16="http://schemas.microsoft.com/office/drawing/2014/main" id="{E3947754-7AB4-4DF7-8001-138EFC81B1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1" name="Freeform 285">
                <a:extLst>
                  <a:ext uri="{FF2B5EF4-FFF2-40B4-BE49-F238E27FC236}">
                    <a16:creationId xmlns:a16="http://schemas.microsoft.com/office/drawing/2014/main" id="{9B0B2C54-054C-4D28-9D3B-F669AA840D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2" name="Freeform 286">
                <a:extLst>
                  <a:ext uri="{FF2B5EF4-FFF2-40B4-BE49-F238E27FC236}">
                    <a16:creationId xmlns:a16="http://schemas.microsoft.com/office/drawing/2014/main" id="{E0FEC09B-BE25-4F17-9DF1-52506EEBC3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3" name="Freeform 287">
                <a:extLst>
                  <a:ext uri="{FF2B5EF4-FFF2-40B4-BE49-F238E27FC236}">
                    <a16:creationId xmlns:a16="http://schemas.microsoft.com/office/drawing/2014/main" id="{4D3CCE22-E529-461F-BFB8-F2C0310304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4" name="Freeform 288">
                <a:extLst>
                  <a:ext uri="{FF2B5EF4-FFF2-40B4-BE49-F238E27FC236}">
                    <a16:creationId xmlns:a16="http://schemas.microsoft.com/office/drawing/2014/main" id="{10E26FAF-7CDE-4919-8B62-49E250F33E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5" name="Freeform 289">
                <a:extLst>
                  <a:ext uri="{FF2B5EF4-FFF2-40B4-BE49-F238E27FC236}">
                    <a16:creationId xmlns:a16="http://schemas.microsoft.com/office/drawing/2014/main" id="{2D6D77FA-759E-44CC-8777-3CB32623F7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6" name="Freeform 290">
                <a:extLst>
                  <a:ext uri="{FF2B5EF4-FFF2-40B4-BE49-F238E27FC236}">
                    <a16:creationId xmlns:a16="http://schemas.microsoft.com/office/drawing/2014/main" id="{7D73042F-4E3C-4EC6-A4E6-4480799361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7" name="Freeform 291">
                <a:extLst>
                  <a:ext uri="{FF2B5EF4-FFF2-40B4-BE49-F238E27FC236}">
                    <a16:creationId xmlns:a16="http://schemas.microsoft.com/office/drawing/2014/main" id="{4DA10F11-050C-490A-8E86-5E2D09C079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8" name="Freeform 292">
                <a:extLst>
                  <a:ext uri="{FF2B5EF4-FFF2-40B4-BE49-F238E27FC236}">
                    <a16:creationId xmlns:a16="http://schemas.microsoft.com/office/drawing/2014/main" id="{D3166BB3-CD55-4D54-B995-C6F15906DB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9" name="Freeform 293">
                <a:extLst>
                  <a:ext uri="{FF2B5EF4-FFF2-40B4-BE49-F238E27FC236}">
                    <a16:creationId xmlns:a16="http://schemas.microsoft.com/office/drawing/2014/main" id="{28DCD513-6742-4A2B-9F21-0BC12B4F5C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0" name="Freeform 294">
                <a:extLst>
                  <a:ext uri="{FF2B5EF4-FFF2-40B4-BE49-F238E27FC236}">
                    <a16:creationId xmlns:a16="http://schemas.microsoft.com/office/drawing/2014/main" id="{DD6867C0-56CF-4257-806A-19F5E637DB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726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1" name="Freeform 295">
                <a:extLst>
                  <a:ext uri="{FF2B5EF4-FFF2-40B4-BE49-F238E27FC236}">
                    <a16:creationId xmlns:a16="http://schemas.microsoft.com/office/drawing/2014/main" id="{2D9A1146-1FD3-4D6F-ACD1-E06B56B5B5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709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2" name="Freeform 296">
                <a:extLst>
                  <a:ext uri="{FF2B5EF4-FFF2-40B4-BE49-F238E27FC236}">
                    <a16:creationId xmlns:a16="http://schemas.microsoft.com/office/drawing/2014/main" id="{BC988D16-D526-45B4-91E9-E0FD8DC4C9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95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3" name="Freeform 297">
                <a:extLst>
                  <a:ext uri="{FF2B5EF4-FFF2-40B4-BE49-F238E27FC236}">
                    <a16:creationId xmlns:a16="http://schemas.microsoft.com/office/drawing/2014/main" id="{7111E181-5FA7-4F3F-85EF-AA6684DB22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678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4" name="Freeform 298">
                <a:extLst>
                  <a:ext uri="{FF2B5EF4-FFF2-40B4-BE49-F238E27FC236}">
                    <a16:creationId xmlns:a16="http://schemas.microsoft.com/office/drawing/2014/main" id="{F719A861-F1BB-41DC-9AED-481BEA741A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6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5" name="Freeform 299">
                <a:extLst>
                  <a:ext uri="{FF2B5EF4-FFF2-40B4-BE49-F238E27FC236}">
                    <a16:creationId xmlns:a16="http://schemas.microsoft.com/office/drawing/2014/main" id="{69BCB469-BF13-4516-8F47-9FF12EEDD4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6" name="Freeform 300">
                <a:extLst>
                  <a:ext uri="{FF2B5EF4-FFF2-40B4-BE49-F238E27FC236}">
                    <a16:creationId xmlns:a16="http://schemas.microsoft.com/office/drawing/2014/main" id="{42F9713A-78A5-4A24-9FE7-4D276B8060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7" name="Freeform 301">
                <a:extLst>
                  <a:ext uri="{FF2B5EF4-FFF2-40B4-BE49-F238E27FC236}">
                    <a16:creationId xmlns:a16="http://schemas.microsoft.com/office/drawing/2014/main" id="{81F59B6E-6BB4-4924-9AB9-B156289607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8" name="Freeform 302">
                <a:extLst>
                  <a:ext uri="{FF2B5EF4-FFF2-40B4-BE49-F238E27FC236}">
                    <a16:creationId xmlns:a16="http://schemas.microsoft.com/office/drawing/2014/main" id="{066FF913-F9BD-4EC9-B39E-958DF0527C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9" name="Freeform 303">
                <a:extLst>
                  <a:ext uri="{FF2B5EF4-FFF2-40B4-BE49-F238E27FC236}">
                    <a16:creationId xmlns:a16="http://schemas.microsoft.com/office/drawing/2014/main" id="{954687B1-CC6C-4868-9D91-0CD8A54455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0" name="Freeform 304">
                <a:extLst>
                  <a:ext uri="{FF2B5EF4-FFF2-40B4-BE49-F238E27FC236}">
                    <a16:creationId xmlns:a16="http://schemas.microsoft.com/office/drawing/2014/main" id="{307077F0-90DA-4C40-9F8F-CC612715E0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1" name="Freeform 305">
                <a:extLst>
                  <a:ext uri="{FF2B5EF4-FFF2-40B4-BE49-F238E27FC236}">
                    <a16:creationId xmlns:a16="http://schemas.microsoft.com/office/drawing/2014/main" id="{5331EC2A-9C8A-4454-AC14-4A3BE87886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2" name="Freeform 306">
                <a:extLst>
                  <a:ext uri="{FF2B5EF4-FFF2-40B4-BE49-F238E27FC236}">
                    <a16:creationId xmlns:a16="http://schemas.microsoft.com/office/drawing/2014/main" id="{1F897343-E1E1-462F-8832-221EA284F5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3" name="Freeform 307">
                <a:extLst>
                  <a:ext uri="{FF2B5EF4-FFF2-40B4-BE49-F238E27FC236}">
                    <a16:creationId xmlns:a16="http://schemas.microsoft.com/office/drawing/2014/main" id="{D50C43E4-13B0-4028-9764-BC83E2527B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4" name="Freeform 308">
                <a:extLst>
                  <a:ext uri="{FF2B5EF4-FFF2-40B4-BE49-F238E27FC236}">
                    <a16:creationId xmlns:a16="http://schemas.microsoft.com/office/drawing/2014/main" id="{75B66AE1-CEEF-42E0-B367-49EE9FB9AA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709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5" name="Freeform 309">
                <a:extLst>
                  <a:ext uri="{FF2B5EF4-FFF2-40B4-BE49-F238E27FC236}">
                    <a16:creationId xmlns:a16="http://schemas.microsoft.com/office/drawing/2014/main" id="{94487CF3-905B-4192-ABAE-C9B30A3998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95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6" name="Freeform 310">
                <a:extLst>
                  <a:ext uri="{FF2B5EF4-FFF2-40B4-BE49-F238E27FC236}">
                    <a16:creationId xmlns:a16="http://schemas.microsoft.com/office/drawing/2014/main" id="{A3B82B4E-536C-44E7-9053-84D56F9104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678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7" name="Freeform 311">
                <a:extLst>
                  <a:ext uri="{FF2B5EF4-FFF2-40B4-BE49-F238E27FC236}">
                    <a16:creationId xmlns:a16="http://schemas.microsoft.com/office/drawing/2014/main" id="{E304B0F7-5063-47F1-A34E-B6627FC6DF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64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8" name="Freeform 312">
                <a:extLst>
                  <a:ext uri="{FF2B5EF4-FFF2-40B4-BE49-F238E27FC236}">
                    <a16:creationId xmlns:a16="http://schemas.microsoft.com/office/drawing/2014/main" id="{C1372E7B-FD7E-4231-B458-532CDD9D18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647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9" name="Freeform 313">
                <a:extLst>
                  <a:ext uri="{FF2B5EF4-FFF2-40B4-BE49-F238E27FC236}">
                    <a16:creationId xmlns:a16="http://schemas.microsoft.com/office/drawing/2014/main" id="{E83088EB-7C16-40B8-9CA1-A6ACCAF838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32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0" name="Freeform 314">
                <a:extLst>
                  <a:ext uri="{FF2B5EF4-FFF2-40B4-BE49-F238E27FC236}">
                    <a16:creationId xmlns:a16="http://schemas.microsoft.com/office/drawing/2014/main" id="{B5009B56-1ECF-430C-BFF8-7E820A40C3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61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1" name="Freeform 315">
                <a:extLst>
                  <a:ext uri="{FF2B5EF4-FFF2-40B4-BE49-F238E27FC236}">
                    <a16:creationId xmlns:a16="http://schemas.microsoft.com/office/drawing/2014/main" id="{B3D31C7C-0829-402A-A6D3-65D179C481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57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2" name="Freeform 316">
                <a:extLst>
                  <a:ext uri="{FF2B5EF4-FFF2-40B4-BE49-F238E27FC236}">
                    <a16:creationId xmlns:a16="http://schemas.microsoft.com/office/drawing/2014/main" id="{AA321E53-8444-480D-8290-03700CC7DF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55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3" name="Freeform 317">
                <a:extLst>
                  <a:ext uri="{FF2B5EF4-FFF2-40B4-BE49-F238E27FC236}">
                    <a16:creationId xmlns:a16="http://schemas.microsoft.com/office/drawing/2014/main" id="{7CB47421-09ED-439F-8B05-695B75D24C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4" name="Freeform 318">
                <a:extLst>
                  <a:ext uri="{FF2B5EF4-FFF2-40B4-BE49-F238E27FC236}">
                    <a16:creationId xmlns:a16="http://schemas.microsoft.com/office/drawing/2014/main" id="{EB7F8E4F-4088-4B60-A491-FE84F9CF31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5" name="Freeform 319">
                <a:extLst>
                  <a:ext uri="{FF2B5EF4-FFF2-40B4-BE49-F238E27FC236}">
                    <a16:creationId xmlns:a16="http://schemas.microsoft.com/office/drawing/2014/main" id="{9AB5AF46-6CA7-48F9-9F57-0A7B3E2BB5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60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6" name="Freeform 320">
                <a:extLst>
                  <a:ext uri="{FF2B5EF4-FFF2-40B4-BE49-F238E27FC236}">
                    <a16:creationId xmlns:a16="http://schemas.microsoft.com/office/drawing/2014/main" id="{82CD3EEF-4196-4C86-B5A7-14EDD54829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58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7" name="Freeform 321">
                <a:extLst>
                  <a:ext uri="{FF2B5EF4-FFF2-40B4-BE49-F238E27FC236}">
                    <a16:creationId xmlns:a16="http://schemas.microsoft.com/office/drawing/2014/main" id="{345D6453-009E-4A5A-BD2A-45A106F5BE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9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8" name="Freeform 322">
                <a:extLst>
                  <a:ext uri="{FF2B5EF4-FFF2-40B4-BE49-F238E27FC236}">
                    <a16:creationId xmlns:a16="http://schemas.microsoft.com/office/drawing/2014/main" id="{5ADF0E61-F933-4492-A297-B7D9700F4E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67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9" name="Freeform 323">
                <a:extLst>
                  <a:ext uri="{FF2B5EF4-FFF2-40B4-BE49-F238E27FC236}">
                    <a16:creationId xmlns:a16="http://schemas.microsoft.com/office/drawing/2014/main" id="{0228E0A4-3C4C-4A5E-A807-71BA547427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6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0" name="Freeform 324">
                <a:extLst>
                  <a:ext uri="{FF2B5EF4-FFF2-40B4-BE49-F238E27FC236}">
                    <a16:creationId xmlns:a16="http://schemas.microsoft.com/office/drawing/2014/main" id="{8F82C079-B0D4-47F7-A088-AD9D7D8570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1" name="Freeform 325">
                <a:extLst>
                  <a:ext uri="{FF2B5EF4-FFF2-40B4-BE49-F238E27FC236}">
                    <a16:creationId xmlns:a16="http://schemas.microsoft.com/office/drawing/2014/main" id="{E17860FE-CFB2-4381-9853-3F5FA13F8B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2" name="Freeform 326">
                <a:extLst>
                  <a:ext uri="{FF2B5EF4-FFF2-40B4-BE49-F238E27FC236}">
                    <a16:creationId xmlns:a16="http://schemas.microsoft.com/office/drawing/2014/main" id="{8BD56FD5-BC2C-48C2-BFC2-C816C83032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3" name="Freeform 327">
                <a:extLst>
                  <a:ext uri="{FF2B5EF4-FFF2-40B4-BE49-F238E27FC236}">
                    <a16:creationId xmlns:a16="http://schemas.microsoft.com/office/drawing/2014/main" id="{EA430B87-9CA8-40A9-B7D4-5EA5FD05AB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601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4" name="Freeform 328">
                <a:extLst>
                  <a:ext uri="{FF2B5EF4-FFF2-40B4-BE49-F238E27FC236}">
                    <a16:creationId xmlns:a16="http://schemas.microsoft.com/office/drawing/2014/main" id="{C29F4574-AA5E-4CBB-8EC5-14705B3B3F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5" name="Freeform 329">
                <a:extLst>
                  <a:ext uri="{FF2B5EF4-FFF2-40B4-BE49-F238E27FC236}">
                    <a16:creationId xmlns:a16="http://schemas.microsoft.com/office/drawing/2014/main" id="{979BCBB4-EB05-4B0A-B966-DCEEF11316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53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6" name="Freeform 330">
                <a:extLst>
                  <a:ext uri="{FF2B5EF4-FFF2-40B4-BE49-F238E27FC236}">
                    <a16:creationId xmlns:a16="http://schemas.microsoft.com/office/drawing/2014/main" id="{113B80FF-4257-45F4-82D4-837EBEB66E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7" name="Freeform 331">
                <a:extLst>
                  <a:ext uri="{FF2B5EF4-FFF2-40B4-BE49-F238E27FC236}">
                    <a16:creationId xmlns:a16="http://schemas.microsoft.com/office/drawing/2014/main" id="{DFC92E3E-2D8D-4265-B7CD-87588A0969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58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8" name="Freeform 332">
                <a:extLst>
                  <a:ext uri="{FF2B5EF4-FFF2-40B4-BE49-F238E27FC236}">
                    <a16:creationId xmlns:a16="http://schemas.microsoft.com/office/drawing/2014/main" id="{3B1A8B93-320C-4234-B7D6-D93E343560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570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9" name="Freeform 333">
                <a:extLst>
                  <a:ext uri="{FF2B5EF4-FFF2-40B4-BE49-F238E27FC236}">
                    <a16:creationId xmlns:a16="http://schemas.microsoft.com/office/drawing/2014/main" id="{F0AF71DE-8544-4EB1-ADEE-3DF586920D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67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0" name="Freeform 334">
                <a:extLst>
                  <a:ext uri="{FF2B5EF4-FFF2-40B4-BE49-F238E27FC236}">
                    <a16:creationId xmlns:a16="http://schemas.microsoft.com/office/drawing/2014/main" id="{01214A0C-8D8C-42E4-A604-B34067B8E2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6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1" name="Freeform 335">
                <a:extLst>
                  <a:ext uri="{FF2B5EF4-FFF2-40B4-BE49-F238E27FC236}">
                    <a16:creationId xmlns:a16="http://schemas.microsoft.com/office/drawing/2014/main" id="{02E99107-249C-40D1-96CD-D24FC69285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2" name="Freeform 336">
                <a:extLst>
                  <a:ext uri="{FF2B5EF4-FFF2-40B4-BE49-F238E27FC236}">
                    <a16:creationId xmlns:a16="http://schemas.microsoft.com/office/drawing/2014/main" id="{179B5408-F09A-4B6F-8D2E-0E92803CCC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3" name="Freeform 337">
                <a:extLst>
                  <a:ext uri="{FF2B5EF4-FFF2-40B4-BE49-F238E27FC236}">
                    <a16:creationId xmlns:a16="http://schemas.microsoft.com/office/drawing/2014/main" id="{A374FA1B-CD60-425A-8558-578FFC34E4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4" name="Freeform 338">
                <a:extLst>
                  <a:ext uri="{FF2B5EF4-FFF2-40B4-BE49-F238E27FC236}">
                    <a16:creationId xmlns:a16="http://schemas.microsoft.com/office/drawing/2014/main" id="{E61BC910-64C3-40C3-8F8B-D7A4EAA617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5" name="Freeform 339">
                <a:extLst>
                  <a:ext uri="{FF2B5EF4-FFF2-40B4-BE49-F238E27FC236}">
                    <a16:creationId xmlns:a16="http://schemas.microsoft.com/office/drawing/2014/main" id="{7301ADB9-83ED-4AF6-A908-FA726C64CD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6" name="Freeform 340">
                <a:extLst>
                  <a:ext uri="{FF2B5EF4-FFF2-40B4-BE49-F238E27FC236}">
                    <a16:creationId xmlns:a16="http://schemas.microsoft.com/office/drawing/2014/main" id="{8E53EF6C-647E-4318-B8E9-E4831FCC4D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53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7" name="Freeform 341">
                <a:extLst>
                  <a:ext uri="{FF2B5EF4-FFF2-40B4-BE49-F238E27FC236}">
                    <a16:creationId xmlns:a16="http://schemas.microsoft.com/office/drawing/2014/main" id="{6F89E256-CBF3-490A-AB01-E0DDEB67AE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8" name="Freeform 342">
                <a:extLst>
                  <a:ext uri="{FF2B5EF4-FFF2-40B4-BE49-F238E27FC236}">
                    <a16:creationId xmlns:a16="http://schemas.microsoft.com/office/drawing/2014/main" id="{600ADA5F-18ED-415D-9DA6-1BDEBFC6E4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50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9" name="Freeform 343">
                <a:extLst>
                  <a:ext uri="{FF2B5EF4-FFF2-40B4-BE49-F238E27FC236}">
                    <a16:creationId xmlns:a16="http://schemas.microsoft.com/office/drawing/2014/main" id="{9E9D10DD-F8CB-4341-955E-4C236E8909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0" name="Freeform 344">
                <a:extLst>
                  <a:ext uri="{FF2B5EF4-FFF2-40B4-BE49-F238E27FC236}">
                    <a16:creationId xmlns:a16="http://schemas.microsoft.com/office/drawing/2014/main" id="{CA5ADAC9-6C53-45BD-A2E5-A2510E05E1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570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1" name="Freeform 345">
                <a:extLst>
                  <a:ext uri="{FF2B5EF4-FFF2-40B4-BE49-F238E27FC236}">
                    <a16:creationId xmlns:a16="http://schemas.microsoft.com/office/drawing/2014/main" id="{5CA82D2A-195C-47B5-8F91-3AD7ADEC6E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66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2" name="Freeform 346">
                <a:extLst>
                  <a:ext uri="{FF2B5EF4-FFF2-40B4-BE49-F238E27FC236}">
                    <a16:creationId xmlns:a16="http://schemas.microsoft.com/office/drawing/2014/main" id="{EB2C656B-AE86-4206-978B-E1E55DAB55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3" name="Freeform 347">
                <a:extLst>
                  <a:ext uri="{FF2B5EF4-FFF2-40B4-BE49-F238E27FC236}">
                    <a16:creationId xmlns:a16="http://schemas.microsoft.com/office/drawing/2014/main" id="{5765443F-658B-415B-B124-D4CE3A4B6C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4" name="Freeform 348">
                <a:extLst>
                  <a:ext uri="{FF2B5EF4-FFF2-40B4-BE49-F238E27FC236}">
                    <a16:creationId xmlns:a16="http://schemas.microsoft.com/office/drawing/2014/main" id="{D10B0F9B-E33D-42FE-A31D-8FF9BDF493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5" name="Freeform 349">
                <a:extLst>
                  <a:ext uri="{FF2B5EF4-FFF2-40B4-BE49-F238E27FC236}">
                    <a16:creationId xmlns:a16="http://schemas.microsoft.com/office/drawing/2014/main" id="{C18C1648-9A3C-4A9C-9B6C-B9448F2610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6" name="Freeform 350">
                <a:extLst>
                  <a:ext uri="{FF2B5EF4-FFF2-40B4-BE49-F238E27FC236}">
                    <a16:creationId xmlns:a16="http://schemas.microsoft.com/office/drawing/2014/main" id="{2ADA748A-54BC-4612-8578-31BE287D20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7" name="Freeform 351">
                <a:extLst>
                  <a:ext uri="{FF2B5EF4-FFF2-40B4-BE49-F238E27FC236}">
                    <a16:creationId xmlns:a16="http://schemas.microsoft.com/office/drawing/2014/main" id="{EF458DC2-A9F8-4469-B3AF-47238D8017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53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8" name="Freeform 352">
                <a:extLst>
                  <a:ext uri="{FF2B5EF4-FFF2-40B4-BE49-F238E27FC236}">
                    <a16:creationId xmlns:a16="http://schemas.microsoft.com/office/drawing/2014/main" id="{3AC87DD6-2C03-4BEB-9467-72693FA070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9" name="Freeform 353">
                <a:extLst>
                  <a:ext uri="{FF2B5EF4-FFF2-40B4-BE49-F238E27FC236}">
                    <a16:creationId xmlns:a16="http://schemas.microsoft.com/office/drawing/2014/main" id="{A7EF45D3-529A-4BE9-9A81-9E9C4DF02E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50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0" name="Freeform 354">
                <a:extLst>
                  <a:ext uri="{FF2B5EF4-FFF2-40B4-BE49-F238E27FC236}">
                    <a16:creationId xmlns:a16="http://schemas.microsoft.com/office/drawing/2014/main" id="{E104488A-DB81-4404-A5F0-71AA283E48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1" name="Freeform 355">
                <a:extLst>
                  <a:ext uri="{FF2B5EF4-FFF2-40B4-BE49-F238E27FC236}">
                    <a16:creationId xmlns:a16="http://schemas.microsoft.com/office/drawing/2014/main" id="{5A20756F-7AFC-450D-A607-9E73123618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2" name="Freeform 356">
                <a:extLst>
                  <a:ext uri="{FF2B5EF4-FFF2-40B4-BE49-F238E27FC236}">
                    <a16:creationId xmlns:a16="http://schemas.microsoft.com/office/drawing/2014/main" id="{81E5EF7E-DBF1-4F59-B41A-CEBDF05127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3" name="Freeform 357">
                <a:extLst>
                  <a:ext uri="{FF2B5EF4-FFF2-40B4-BE49-F238E27FC236}">
                    <a16:creationId xmlns:a16="http://schemas.microsoft.com/office/drawing/2014/main" id="{C5C890D1-F150-4E7D-A38D-700353CC70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64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4" name="Freeform 358">
                <a:extLst>
                  <a:ext uri="{FF2B5EF4-FFF2-40B4-BE49-F238E27FC236}">
                    <a16:creationId xmlns:a16="http://schemas.microsoft.com/office/drawing/2014/main" id="{5125FB18-57DE-4BC6-80AE-252E07BE20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5" name="Freeform 359">
                <a:extLst>
                  <a:ext uri="{FF2B5EF4-FFF2-40B4-BE49-F238E27FC236}">
                    <a16:creationId xmlns:a16="http://schemas.microsoft.com/office/drawing/2014/main" id="{8F551B63-3E46-43F0-91D6-F7051A8CF1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6" name="Freeform 360">
                <a:extLst>
                  <a:ext uri="{FF2B5EF4-FFF2-40B4-BE49-F238E27FC236}">
                    <a16:creationId xmlns:a16="http://schemas.microsoft.com/office/drawing/2014/main" id="{15368408-56B0-4B94-BB11-787CDE2D8F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7" name="Freeform 361">
                <a:extLst>
                  <a:ext uri="{FF2B5EF4-FFF2-40B4-BE49-F238E27FC236}">
                    <a16:creationId xmlns:a16="http://schemas.microsoft.com/office/drawing/2014/main" id="{EB69C69B-C06D-4827-B057-1B631B78AF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8" name="Freeform 362">
                <a:extLst>
                  <a:ext uri="{FF2B5EF4-FFF2-40B4-BE49-F238E27FC236}">
                    <a16:creationId xmlns:a16="http://schemas.microsoft.com/office/drawing/2014/main" id="{229C14D6-DB8B-4CE5-BB57-1271CA4026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9" name="Freeform 363">
                <a:extLst>
                  <a:ext uri="{FF2B5EF4-FFF2-40B4-BE49-F238E27FC236}">
                    <a16:creationId xmlns:a16="http://schemas.microsoft.com/office/drawing/2014/main" id="{79CD02D3-1603-4C79-A5B6-77575D5695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0" name="Freeform 364">
                <a:extLst>
                  <a:ext uri="{FF2B5EF4-FFF2-40B4-BE49-F238E27FC236}">
                    <a16:creationId xmlns:a16="http://schemas.microsoft.com/office/drawing/2014/main" id="{D1210527-E78E-4A56-BF0A-AEECD22589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50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1" name="Freeform 365">
                <a:extLst>
                  <a:ext uri="{FF2B5EF4-FFF2-40B4-BE49-F238E27FC236}">
                    <a16:creationId xmlns:a16="http://schemas.microsoft.com/office/drawing/2014/main" id="{2AA82E35-FE4E-44EB-955B-7ED56B8C67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2" name="Freeform 366">
                <a:extLst>
                  <a:ext uri="{FF2B5EF4-FFF2-40B4-BE49-F238E27FC236}">
                    <a16:creationId xmlns:a16="http://schemas.microsoft.com/office/drawing/2014/main" id="{07F7CD94-C686-43CA-987F-564C89C3B4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  <a:gd name="T10" fmla="*/ 6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3" name="Freeform 367">
                <a:extLst>
                  <a:ext uri="{FF2B5EF4-FFF2-40B4-BE49-F238E27FC236}">
                    <a16:creationId xmlns:a16="http://schemas.microsoft.com/office/drawing/2014/main" id="{A6E54862-3D61-4EA3-9B4E-AB8FC40E93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4" name="Freeform 368">
                <a:extLst>
                  <a:ext uri="{FF2B5EF4-FFF2-40B4-BE49-F238E27FC236}">
                    <a16:creationId xmlns:a16="http://schemas.microsoft.com/office/drawing/2014/main" id="{E579F794-4A4E-4F49-9EE1-71DF5C6932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5" name="Freeform 369">
                <a:extLst>
                  <a:ext uri="{FF2B5EF4-FFF2-40B4-BE49-F238E27FC236}">
                    <a16:creationId xmlns:a16="http://schemas.microsoft.com/office/drawing/2014/main" id="{B278793A-8B89-48F5-A363-395607C688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632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6" name="Freeform 370">
                <a:extLst>
                  <a:ext uri="{FF2B5EF4-FFF2-40B4-BE49-F238E27FC236}">
                    <a16:creationId xmlns:a16="http://schemas.microsoft.com/office/drawing/2014/main" id="{13FCB658-E202-438F-BF89-0960729929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7" name="Freeform 371">
                <a:extLst>
                  <a:ext uri="{FF2B5EF4-FFF2-40B4-BE49-F238E27FC236}">
                    <a16:creationId xmlns:a16="http://schemas.microsoft.com/office/drawing/2014/main" id="{40F0CF51-F191-42A7-A3AF-17FD430E2B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8" name="Freeform 372">
                <a:extLst>
                  <a:ext uri="{FF2B5EF4-FFF2-40B4-BE49-F238E27FC236}">
                    <a16:creationId xmlns:a16="http://schemas.microsoft.com/office/drawing/2014/main" id="{A908428D-EB10-4319-87FF-5C6544BE45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9" name="Freeform 373">
                <a:extLst>
                  <a:ext uri="{FF2B5EF4-FFF2-40B4-BE49-F238E27FC236}">
                    <a16:creationId xmlns:a16="http://schemas.microsoft.com/office/drawing/2014/main" id="{B90EBDED-5D8F-4F5B-B414-5098BE674C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0" name="Freeform 374">
                <a:extLst>
                  <a:ext uri="{FF2B5EF4-FFF2-40B4-BE49-F238E27FC236}">
                    <a16:creationId xmlns:a16="http://schemas.microsoft.com/office/drawing/2014/main" id="{A81CCF31-F7AA-4152-BDA6-CFFFACE74A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1" name="Freeform 375">
                <a:extLst>
                  <a:ext uri="{FF2B5EF4-FFF2-40B4-BE49-F238E27FC236}">
                    <a16:creationId xmlns:a16="http://schemas.microsoft.com/office/drawing/2014/main" id="{D0D2DB56-65FA-454D-8236-D7AAB08427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2" name="Freeform 376">
                <a:extLst>
                  <a:ext uri="{FF2B5EF4-FFF2-40B4-BE49-F238E27FC236}">
                    <a16:creationId xmlns:a16="http://schemas.microsoft.com/office/drawing/2014/main" id="{D7029A49-FB74-4BD1-8813-82B17C3691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3" name="Freeform 377">
                <a:extLst>
                  <a:ext uri="{FF2B5EF4-FFF2-40B4-BE49-F238E27FC236}">
                    <a16:creationId xmlns:a16="http://schemas.microsoft.com/office/drawing/2014/main" id="{EA44CD6C-6292-46E8-8354-A34E82D8CD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4" name="Freeform 378">
                <a:extLst>
                  <a:ext uri="{FF2B5EF4-FFF2-40B4-BE49-F238E27FC236}">
                    <a16:creationId xmlns:a16="http://schemas.microsoft.com/office/drawing/2014/main" id="{F610E19C-57A7-438B-8B84-4DCA3B5490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  <a:gd name="T10" fmla="*/ 6 w 8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5" name="Freeform 379">
                <a:extLst>
                  <a:ext uri="{FF2B5EF4-FFF2-40B4-BE49-F238E27FC236}">
                    <a16:creationId xmlns:a16="http://schemas.microsoft.com/office/drawing/2014/main" id="{E0D8CD23-07A4-4486-8F92-057A29A667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6" name="Freeform 380">
                <a:extLst>
                  <a:ext uri="{FF2B5EF4-FFF2-40B4-BE49-F238E27FC236}">
                    <a16:creationId xmlns:a16="http://schemas.microsoft.com/office/drawing/2014/main" id="{EDE1DB7C-BEB2-465F-A9F6-A990E665F7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7" name="Freeform 381">
                <a:extLst>
                  <a:ext uri="{FF2B5EF4-FFF2-40B4-BE49-F238E27FC236}">
                    <a16:creationId xmlns:a16="http://schemas.microsoft.com/office/drawing/2014/main" id="{D8CF4968-1B90-4C30-9285-4BDA24F364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61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8" name="Freeform 382">
                <a:extLst>
                  <a:ext uri="{FF2B5EF4-FFF2-40B4-BE49-F238E27FC236}">
                    <a16:creationId xmlns:a16="http://schemas.microsoft.com/office/drawing/2014/main" id="{137DC259-5ED8-4FE2-AB86-D35B7159B9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601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9" name="Freeform 383">
                <a:extLst>
                  <a:ext uri="{FF2B5EF4-FFF2-40B4-BE49-F238E27FC236}">
                    <a16:creationId xmlns:a16="http://schemas.microsoft.com/office/drawing/2014/main" id="{2FBFB5A0-00D2-4883-919C-322EE95F7C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0" name="Freeform 384">
                <a:extLst>
                  <a:ext uri="{FF2B5EF4-FFF2-40B4-BE49-F238E27FC236}">
                    <a16:creationId xmlns:a16="http://schemas.microsoft.com/office/drawing/2014/main" id="{34697265-6449-404D-AB5C-F934CE950D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1" name="Freeform 385">
                <a:extLst>
                  <a:ext uri="{FF2B5EF4-FFF2-40B4-BE49-F238E27FC236}">
                    <a16:creationId xmlns:a16="http://schemas.microsoft.com/office/drawing/2014/main" id="{C8EE2E9A-072A-448F-9D5A-957087CE5C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2" name="Freeform 386">
                <a:extLst>
                  <a:ext uri="{FF2B5EF4-FFF2-40B4-BE49-F238E27FC236}">
                    <a16:creationId xmlns:a16="http://schemas.microsoft.com/office/drawing/2014/main" id="{3422A0CC-B460-4FF6-88C2-8ADFB071FF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3" name="Freeform 387">
                <a:extLst>
                  <a:ext uri="{FF2B5EF4-FFF2-40B4-BE49-F238E27FC236}">
                    <a16:creationId xmlns:a16="http://schemas.microsoft.com/office/drawing/2014/main" id="{D793A873-F5D2-4D24-8631-7BB7403183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4" name="Freeform 388">
                <a:extLst>
                  <a:ext uri="{FF2B5EF4-FFF2-40B4-BE49-F238E27FC236}">
                    <a16:creationId xmlns:a16="http://schemas.microsoft.com/office/drawing/2014/main" id="{82F4F31C-0F35-4F47-A22D-EAA369F96D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5" name="Freeform 389">
                <a:extLst>
                  <a:ext uri="{FF2B5EF4-FFF2-40B4-BE49-F238E27FC236}">
                    <a16:creationId xmlns:a16="http://schemas.microsoft.com/office/drawing/2014/main" id="{7592EEB3-ABDC-408A-8C5E-0B4BF001EB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6" name="Freeform 390">
                <a:extLst>
                  <a:ext uri="{FF2B5EF4-FFF2-40B4-BE49-F238E27FC236}">
                    <a16:creationId xmlns:a16="http://schemas.microsoft.com/office/drawing/2014/main" id="{87640D3F-6F2F-48D8-B69A-BF264DC162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445"/>
                <a:ext cx="17" cy="9"/>
              </a:xfrm>
              <a:custGeom>
                <a:avLst/>
                <a:gdLst>
                  <a:gd name="T0" fmla="*/ 6 w 8"/>
                  <a:gd name="T1" fmla="*/ 3 h 4"/>
                  <a:gd name="T2" fmla="*/ 1 w 8"/>
                  <a:gd name="T3" fmla="*/ 3 h 4"/>
                  <a:gd name="T4" fmla="*/ 1 w 8"/>
                  <a:gd name="T5" fmla="*/ 0 h 4"/>
                  <a:gd name="T6" fmla="*/ 6 w 8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6" y="3"/>
                    </a:move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8" y="3"/>
                      <a:pt x="6" y="3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7" name="Freeform 391">
                <a:extLst>
                  <a:ext uri="{FF2B5EF4-FFF2-40B4-BE49-F238E27FC236}">
                    <a16:creationId xmlns:a16="http://schemas.microsoft.com/office/drawing/2014/main" id="{088D4F6B-7820-43B9-9F98-5FFAEEA347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8" name="Freeform 392">
                <a:extLst>
                  <a:ext uri="{FF2B5EF4-FFF2-40B4-BE49-F238E27FC236}">
                    <a16:creationId xmlns:a16="http://schemas.microsoft.com/office/drawing/2014/main" id="{581D47A2-88C8-431F-AA34-29BFD25BE9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9" name="Freeform 393">
                <a:extLst>
                  <a:ext uri="{FF2B5EF4-FFF2-40B4-BE49-F238E27FC236}">
                    <a16:creationId xmlns:a16="http://schemas.microsoft.com/office/drawing/2014/main" id="{9728060A-F56C-4A0F-BF87-023D777E5C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601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0" name="Freeform 394">
                <a:extLst>
                  <a:ext uri="{FF2B5EF4-FFF2-40B4-BE49-F238E27FC236}">
                    <a16:creationId xmlns:a16="http://schemas.microsoft.com/office/drawing/2014/main" id="{B98646BE-D4A0-492D-8213-991C5F10B0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58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1" name="Freeform 395">
                <a:extLst>
                  <a:ext uri="{FF2B5EF4-FFF2-40B4-BE49-F238E27FC236}">
                    <a16:creationId xmlns:a16="http://schemas.microsoft.com/office/drawing/2014/main" id="{F0017BA1-6723-4299-94EC-34449D8FE6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57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2" name="Freeform 396">
                <a:extLst>
                  <a:ext uri="{FF2B5EF4-FFF2-40B4-BE49-F238E27FC236}">
                    <a16:creationId xmlns:a16="http://schemas.microsoft.com/office/drawing/2014/main" id="{780F57CD-C198-4F61-93BF-E17796D65D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3" name="Freeform 397">
                <a:extLst>
                  <a:ext uri="{FF2B5EF4-FFF2-40B4-BE49-F238E27FC236}">
                    <a16:creationId xmlns:a16="http://schemas.microsoft.com/office/drawing/2014/main" id="{D5316D6D-F642-4C13-B290-B526512413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4" name="Freeform 398">
                <a:extLst>
                  <a:ext uri="{FF2B5EF4-FFF2-40B4-BE49-F238E27FC236}">
                    <a16:creationId xmlns:a16="http://schemas.microsoft.com/office/drawing/2014/main" id="{44291E16-1134-4314-9C24-EA5297772A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5" name="Freeform 399">
                <a:extLst>
                  <a:ext uri="{FF2B5EF4-FFF2-40B4-BE49-F238E27FC236}">
                    <a16:creationId xmlns:a16="http://schemas.microsoft.com/office/drawing/2014/main" id="{5EE8D819-FC4E-4FFA-A051-68E4FA74CB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6" name="Freeform 400">
                <a:extLst>
                  <a:ext uri="{FF2B5EF4-FFF2-40B4-BE49-F238E27FC236}">
                    <a16:creationId xmlns:a16="http://schemas.microsoft.com/office/drawing/2014/main" id="{16E9BA0C-717F-413E-8A8D-DDAAF3B9DD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7" name="Freeform 401">
                <a:extLst>
                  <a:ext uri="{FF2B5EF4-FFF2-40B4-BE49-F238E27FC236}">
                    <a16:creationId xmlns:a16="http://schemas.microsoft.com/office/drawing/2014/main" id="{EEF5B06F-6582-4C06-A650-6512FD273E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8" name="Freeform 402">
                <a:extLst>
                  <a:ext uri="{FF2B5EF4-FFF2-40B4-BE49-F238E27FC236}">
                    <a16:creationId xmlns:a16="http://schemas.microsoft.com/office/drawing/2014/main" id="{E2A918F6-1AF5-4C8D-9231-8143F84083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2" y="2429"/>
                <a:ext cx="16" cy="10"/>
              </a:xfrm>
              <a:custGeom>
                <a:avLst/>
                <a:gdLst>
                  <a:gd name="T0" fmla="*/ 6 w 8"/>
                  <a:gd name="T1" fmla="*/ 4 h 5"/>
                  <a:gd name="T2" fmla="*/ 1 w 8"/>
                  <a:gd name="T3" fmla="*/ 4 h 5"/>
                  <a:gd name="T4" fmla="*/ 1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9" name="Freeform 403">
                <a:extLst>
                  <a:ext uri="{FF2B5EF4-FFF2-40B4-BE49-F238E27FC236}">
                    <a16:creationId xmlns:a16="http://schemas.microsoft.com/office/drawing/2014/main" id="{50571630-6482-4564-9D9B-C0C2D8FE07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10" name="Freeform 404">
                <a:extLst>
                  <a:ext uri="{FF2B5EF4-FFF2-40B4-BE49-F238E27FC236}">
                    <a16:creationId xmlns:a16="http://schemas.microsoft.com/office/drawing/2014/main" id="{89ACE62A-E73A-4A33-9739-AEC729699D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5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11" name="Freeform 405">
                <a:extLst>
                  <a:ext uri="{FF2B5EF4-FFF2-40B4-BE49-F238E27FC236}">
                    <a16:creationId xmlns:a16="http://schemas.microsoft.com/office/drawing/2014/main" id="{15760F6F-162F-4333-887A-6AFE38CAD5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58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13" name="Group 607">
              <a:extLst>
                <a:ext uri="{FF2B5EF4-FFF2-40B4-BE49-F238E27FC236}">
                  <a16:creationId xmlns:a16="http://schemas.microsoft.com/office/drawing/2014/main" id="{4543F027-5538-4CB5-A7DF-876539ABBF7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746698" y="4036505"/>
              <a:ext cx="3538172" cy="1178683"/>
              <a:chOff x="4279" y="2023"/>
              <a:chExt cx="1666" cy="555"/>
            </a:xfrm>
          </p:grpSpPr>
          <p:sp>
            <p:nvSpPr>
              <p:cNvPr id="1212" name="Freeform 407">
                <a:extLst>
                  <a:ext uri="{FF2B5EF4-FFF2-40B4-BE49-F238E27FC236}">
                    <a16:creationId xmlns:a16="http://schemas.microsoft.com/office/drawing/2014/main" id="{1EB57843-2777-4D32-AEE1-BA054CB69E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570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3" name="Freeform 408">
                <a:extLst>
                  <a:ext uri="{FF2B5EF4-FFF2-40B4-BE49-F238E27FC236}">
                    <a16:creationId xmlns:a16="http://schemas.microsoft.com/office/drawing/2014/main" id="{37AF9099-119B-426C-92D8-B6B0325983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4" name="Freeform 409">
                <a:extLst>
                  <a:ext uri="{FF2B5EF4-FFF2-40B4-BE49-F238E27FC236}">
                    <a16:creationId xmlns:a16="http://schemas.microsoft.com/office/drawing/2014/main" id="{5B4FE7AE-1546-40F8-A994-304153AAF2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53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5" name="Freeform 410">
                <a:extLst>
                  <a:ext uri="{FF2B5EF4-FFF2-40B4-BE49-F238E27FC236}">
                    <a16:creationId xmlns:a16="http://schemas.microsoft.com/office/drawing/2014/main" id="{53E1E957-2EB6-4EA4-88F8-328AA38238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6" name="Freeform 411">
                <a:extLst>
                  <a:ext uri="{FF2B5EF4-FFF2-40B4-BE49-F238E27FC236}">
                    <a16:creationId xmlns:a16="http://schemas.microsoft.com/office/drawing/2014/main" id="{9A436634-B70B-4FF9-AA80-B8384189FD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50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7" name="Freeform 412">
                <a:extLst>
                  <a:ext uri="{FF2B5EF4-FFF2-40B4-BE49-F238E27FC236}">
                    <a16:creationId xmlns:a16="http://schemas.microsoft.com/office/drawing/2014/main" id="{EBB55DB5-5A03-4B38-99EB-8F96EE8D17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8" name="Freeform 413">
                <a:extLst>
                  <a:ext uri="{FF2B5EF4-FFF2-40B4-BE49-F238E27FC236}">
                    <a16:creationId xmlns:a16="http://schemas.microsoft.com/office/drawing/2014/main" id="{A242578D-6567-4683-A6FC-8713A7A138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9" name="Freeform 414">
                <a:extLst>
                  <a:ext uri="{FF2B5EF4-FFF2-40B4-BE49-F238E27FC236}">
                    <a16:creationId xmlns:a16="http://schemas.microsoft.com/office/drawing/2014/main" id="{74434D66-0456-4DF0-ACBC-2BBE84881D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0" name="Freeform 415">
                <a:extLst>
                  <a:ext uri="{FF2B5EF4-FFF2-40B4-BE49-F238E27FC236}">
                    <a16:creationId xmlns:a16="http://schemas.microsoft.com/office/drawing/2014/main" id="{B921F218-5320-48F3-BA67-96115AF52E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1" name="Freeform 416">
                <a:extLst>
                  <a:ext uri="{FF2B5EF4-FFF2-40B4-BE49-F238E27FC236}">
                    <a16:creationId xmlns:a16="http://schemas.microsoft.com/office/drawing/2014/main" id="{663DA5E9-0322-44A7-81F2-EAD587F39E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8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2" name="Freeform 417">
                <a:extLst>
                  <a:ext uri="{FF2B5EF4-FFF2-40B4-BE49-F238E27FC236}">
                    <a16:creationId xmlns:a16="http://schemas.microsoft.com/office/drawing/2014/main" id="{9A8FDA45-59B8-4ADE-92D8-CBA4D6E0E2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570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3" name="Freeform 418">
                <a:extLst>
                  <a:ext uri="{FF2B5EF4-FFF2-40B4-BE49-F238E27FC236}">
                    <a16:creationId xmlns:a16="http://schemas.microsoft.com/office/drawing/2014/main" id="{04649999-06BA-4296-A8BE-A5FFD62D7E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4" name="Freeform 419">
                <a:extLst>
                  <a:ext uri="{FF2B5EF4-FFF2-40B4-BE49-F238E27FC236}">
                    <a16:creationId xmlns:a16="http://schemas.microsoft.com/office/drawing/2014/main" id="{C23FC12A-376B-4638-B3A0-24A086CBB1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53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5" name="Freeform 420">
                <a:extLst>
                  <a:ext uri="{FF2B5EF4-FFF2-40B4-BE49-F238E27FC236}">
                    <a16:creationId xmlns:a16="http://schemas.microsoft.com/office/drawing/2014/main" id="{13192C88-ED72-4165-80A2-BD7A8CC38E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6" name="Freeform 421">
                <a:extLst>
                  <a:ext uri="{FF2B5EF4-FFF2-40B4-BE49-F238E27FC236}">
                    <a16:creationId xmlns:a16="http://schemas.microsoft.com/office/drawing/2014/main" id="{BF3F78FB-6F04-4847-96F7-0C0DB648C3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50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7" name="Freeform 422">
                <a:extLst>
                  <a:ext uri="{FF2B5EF4-FFF2-40B4-BE49-F238E27FC236}">
                    <a16:creationId xmlns:a16="http://schemas.microsoft.com/office/drawing/2014/main" id="{AB0848EE-B43D-43AE-A5F2-AA000BF065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8" name="Freeform 423">
                <a:extLst>
                  <a:ext uri="{FF2B5EF4-FFF2-40B4-BE49-F238E27FC236}">
                    <a16:creationId xmlns:a16="http://schemas.microsoft.com/office/drawing/2014/main" id="{F901FC14-1B14-4D21-B5BF-FD1DA61F08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9" name="Freeform 424">
                <a:extLst>
                  <a:ext uri="{FF2B5EF4-FFF2-40B4-BE49-F238E27FC236}">
                    <a16:creationId xmlns:a16="http://schemas.microsoft.com/office/drawing/2014/main" id="{494124EF-F6C6-4AD9-AF4C-BAB7E9A1AD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0" name="Freeform 425">
                <a:extLst>
                  <a:ext uri="{FF2B5EF4-FFF2-40B4-BE49-F238E27FC236}">
                    <a16:creationId xmlns:a16="http://schemas.microsoft.com/office/drawing/2014/main" id="{88DA8FCA-BEE9-48B6-9CBF-CE19AE006B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1" name="Freeform 426">
                <a:extLst>
                  <a:ext uri="{FF2B5EF4-FFF2-40B4-BE49-F238E27FC236}">
                    <a16:creationId xmlns:a16="http://schemas.microsoft.com/office/drawing/2014/main" id="{7572F6B6-A2A7-48EF-B5DE-D62FE58A53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2" name="Freeform 427">
                <a:extLst>
                  <a:ext uri="{FF2B5EF4-FFF2-40B4-BE49-F238E27FC236}">
                    <a16:creationId xmlns:a16="http://schemas.microsoft.com/office/drawing/2014/main" id="{86678FF3-5B90-4504-A8F0-8BC715ED10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31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3" name="Freeform 428">
                <a:extLst>
                  <a:ext uri="{FF2B5EF4-FFF2-40B4-BE49-F238E27FC236}">
                    <a16:creationId xmlns:a16="http://schemas.microsoft.com/office/drawing/2014/main" id="{9BE8DD7B-76A3-4C26-90D9-90B1267DD4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33" y="255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4" name="Freeform 429">
                <a:extLst>
                  <a:ext uri="{FF2B5EF4-FFF2-40B4-BE49-F238E27FC236}">
                    <a16:creationId xmlns:a16="http://schemas.microsoft.com/office/drawing/2014/main" id="{F42F23F6-1DB8-4C43-A43B-1934C3B7CE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53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5" name="Freeform 430">
                <a:extLst>
                  <a:ext uri="{FF2B5EF4-FFF2-40B4-BE49-F238E27FC236}">
                    <a16:creationId xmlns:a16="http://schemas.microsoft.com/office/drawing/2014/main" id="{D4BD560D-19CC-4FEE-BEB6-9CBEC8ABD1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6" name="Freeform 431">
                <a:extLst>
                  <a:ext uri="{FF2B5EF4-FFF2-40B4-BE49-F238E27FC236}">
                    <a16:creationId xmlns:a16="http://schemas.microsoft.com/office/drawing/2014/main" id="{231150F3-CF53-4E04-93CF-C3476BE93D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7" name="Freeform 432">
                <a:extLst>
                  <a:ext uri="{FF2B5EF4-FFF2-40B4-BE49-F238E27FC236}">
                    <a16:creationId xmlns:a16="http://schemas.microsoft.com/office/drawing/2014/main" id="{4AADD189-5217-406D-AA8B-6861336A8E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8" name="Freeform 433">
                <a:extLst>
                  <a:ext uri="{FF2B5EF4-FFF2-40B4-BE49-F238E27FC236}">
                    <a16:creationId xmlns:a16="http://schemas.microsoft.com/office/drawing/2014/main" id="{CAC549BB-96DE-492B-9288-C7B6D84F6C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9" name="Freeform 434">
                <a:extLst>
                  <a:ext uri="{FF2B5EF4-FFF2-40B4-BE49-F238E27FC236}">
                    <a16:creationId xmlns:a16="http://schemas.microsoft.com/office/drawing/2014/main" id="{C4494D4D-45F6-4F0C-AF3A-FDCFA804C6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0" name="Freeform 435">
                <a:extLst>
                  <a:ext uri="{FF2B5EF4-FFF2-40B4-BE49-F238E27FC236}">
                    <a16:creationId xmlns:a16="http://schemas.microsoft.com/office/drawing/2014/main" id="{254AA0EE-023E-4D39-A96D-19940F0D86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1" name="Freeform 436">
                <a:extLst>
                  <a:ext uri="{FF2B5EF4-FFF2-40B4-BE49-F238E27FC236}">
                    <a16:creationId xmlns:a16="http://schemas.microsoft.com/office/drawing/2014/main" id="{F9867962-CACC-4E93-87A5-E40DE03C31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2" name="Freeform 437">
                <a:extLst>
                  <a:ext uri="{FF2B5EF4-FFF2-40B4-BE49-F238E27FC236}">
                    <a16:creationId xmlns:a16="http://schemas.microsoft.com/office/drawing/2014/main" id="{10147296-01E2-4A42-8DD0-B7CCDFC6E0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3" name="Freeform 438">
                <a:extLst>
                  <a:ext uri="{FF2B5EF4-FFF2-40B4-BE49-F238E27FC236}">
                    <a16:creationId xmlns:a16="http://schemas.microsoft.com/office/drawing/2014/main" id="{70EC3568-ECD1-4C91-B919-F61C7A20EA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04" y="239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4" name="Freeform 439">
                <a:extLst>
                  <a:ext uri="{FF2B5EF4-FFF2-40B4-BE49-F238E27FC236}">
                    <a16:creationId xmlns:a16="http://schemas.microsoft.com/office/drawing/2014/main" id="{DA9E0C90-B874-49EF-85D2-35EA1D99CC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06" y="253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5" name="Freeform 440">
                <a:extLst>
                  <a:ext uri="{FF2B5EF4-FFF2-40B4-BE49-F238E27FC236}">
                    <a16:creationId xmlns:a16="http://schemas.microsoft.com/office/drawing/2014/main" id="{49BAD814-CEE0-437A-8D84-A16CAED382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33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6" name="Freeform 441">
                <a:extLst>
                  <a:ext uri="{FF2B5EF4-FFF2-40B4-BE49-F238E27FC236}">
                    <a16:creationId xmlns:a16="http://schemas.microsoft.com/office/drawing/2014/main" id="{77B96882-F96B-4C4E-977F-AEF045650B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7" name="Freeform 442">
                <a:extLst>
                  <a:ext uri="{FF2B5EF4-FFF2-40B4-BE49-F238E27FC236}">
                    <a16:creationId xmlns:a16="http://schemas.microsoft.com/office/drawing/2014/main" id="{F5E771F8-543C-49C2-ACED-02BE20834B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8" name="Freeform 443">
                <a:extLst>
                  <a:ext uri="{FF2B5EF4-FFF2-40B4-BE49-F238E27FC236}">
                    <a16:creationId xmlns:a16="http://schemas.microsoft.com/office/drawing/2014/main" id="{DB9D53B7-4A7E-452F-B7B4-8AF25D3E22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9" name="Freeform 444">
                <a:extLst>
                  <a:ext uri="{FF2B5EF4-FFF2-40B4-BE49-F238E27FC236}">
                    <a16:creationId xmlns:a16="http://schemas.microsoft.com/office/drawing/2014/main" id="{AD5B453F-6481-4FE4-8B98-3F6DFD8194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46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0" name="Freeform 445">
                <a:extLst>
                  <a:ext uri="{FF2B5EF4-FFF2-40B4-BE49-F238E27FC236}">
                    <a16:creationId xmlns:a16="http://schemas.microsoft.com/office/drawing/2014/main" id="{0191FEC4-422F-46A5-94C2-57636E6642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44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1" name="Freeform 446">
                <a:extLst>
                  <a:ext uri="{FF2B5EF4-FFF2-40B4-BE49-F238E27FC236}">
                    <a16:creationId xmlns:a16="http://schemas.microsoft.com/office/drawing/2014/main" id="{6D0A6627-A826-4B5D-9F22-3C38FB16CD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2" name="Freeform 447">
                <a:extLst>
                  <a:ext uri="{FF2B5EF4-FFF2-40B4-BE49-F238E27FC236}">
                    <a16:creationId xmlns:a16="http://schemas.microsoft.com/office/drawing/2014/main" id="{783F08DD-AECD-4AD9-82BF-174E33D275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3" name="Freeform 448">
                <a:extLst>
                  <a:ext uri="{FF2B5EF4-FFF2-40B4-BE49-F238E27FC236}">
                    <a16:creationId xmlns:a16="http://schemas.microsoft.com/office/drawing/2014/main" id="{F07D8D18-E2F6-4A0B-A96E-209E7AA5C4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50" y="239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4" name="Freeform 449">
                <a:extLst>
                  <a:ext uri="{FF2B5EF4-FFF2-40B4-BE49-F238E27FC236}">
                    <a16:creationId xmlns:a16="http://schemas.microsoft.com/office/drawing/2014/main" id="{5DE495F2-76C9-4B2E-89DC-7774C08CB3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77" y="2383"/>
                <a:ext cx="16" cy="8"/>
              </a:xfrm>
              <a:custGeom>
                <a:avLst/>
                <a:gdLst>
                  <a:gd name="T0" fmla="*/ 6 w 8"/>
                  <a:gd name="T1" fmla="*/ 3 h 4"/>
                  <a:gd name="T2" fmla="*/ 1 w 8"/>
                  <a:gd name="T3" fmla="*/ 3 h 4"/>
                  <a:gd name="T4" fmla="*/ 1 w 8"/>
                  <a:gd name="T5" fmla="*/ 0 h 4"/>
                  <a:gd name="T6" fmla="*/ 6 w 8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6" y="3"/>
                    </a:move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8" y="2"/>
                      <a:pt x="6" y="3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5" name="Freeform 450">
                <a:extLst>
                  <a:ext uri="{FF2B5EF4-FFF2-40B4-BE49-F238E27FC236}">
                    <a16:creationId xmlns:a16="http://schemas.microsoft.com/office/drawing/2014/main" id="{4FA58A13-A990-46CF-ACC4-B4BAC96C76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79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6" name="Freeform 451">
                <a:extLst>
                  <a:ext uri="{FF2B5EF4-FFF2-40B4-BE49-F238E27FC236}">
                    <a16:creationId xmlns:a16="http://schemas.microsoft.com/office/drawing/2014/main" id="{FA8584D5-254C-49CD-A1D1-B88F97B4D2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06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7" name="Freeform 452">
                <a:extLst>
                  <a:ext uri="{FF2B5EF4-FFF2-40B4-BE49-F238E27FC236}">
                    <a16:creationId xmlns:a16="http://schemas.microsoft.com/office/drawing/2014/main" id="{CABFBAA5-AA70-478A-B92F-5EF907C5C1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33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8" name="Freeform 453">
                <a:extLst>
                  <a:ext uri="{FF2B5EF4-FFF2-40B4-BE49-F238E27FC236}">
                    <a16:creationId xmlns:a16="http://schemas.microsoft.com/office/drawing/2014/main" id="{F56AC457-5821-4D28-8C5C-DC4B9299A4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60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9" name="Freeform 454">
                <a:extLst>
                  <a:ext uri="{FF2B5EF4-FFF2-40B4-BE49-F238E27FC236}">
                    <a16:creationId xmlns:a16="http://schemas.microsoft.com/office/drawing/2014/main" id="{8AD4BAA8-9F62-4823-8874-E2EDD1C835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0" name="Freeform 455">
                <a:extLst>
                  <a:ext uri="{FF2B5EF4-FFF2-40B4-BE49-F238E27FC236}">
                    <a16:creationId xmlns:a16="http://schemas.microsoft.com/office/drawing/2014/main" id="{39A69D91-E5BA-4D60-85BE-28301F30A3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4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1" name="Freeform 456">
                <a:extLst>
                  <a:ext uri="{FF2B5EF4-FFF2-40B4-BE49-F238E27FC236}">
                    <a16:creationId xmlns:a16="http://schemas.microsoft.com/office/drawing/2014/main" id="{A2D5FCDD-FD3E-40F5-92F8-65982DA5E5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42" y="242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2" name="Freeform 457">
                <a:extLst>
                  <a:ext uri="{FF2B5EF4-FFF2-40B4-BE49-F238E27FC236}">
                    <a16:creationId xmlns:a16="http://schemas.microsoft.com/office/drawing/2014/main" id="{842C6FB1-41C8-4FBD-A3E6-AF2031CD1F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9" y="2414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3" name="Freeform 458">
                <a:extLst>
                  <a:ext uri="{FF2B5EF4-FFF2-40B4-BE49-F238E27FC236}">
                    <a16:creationId xmlns:a16="http://schemas.microsoft.com/office/drawing/2014/main" id="{5E89FC87-DA22-47D7-BF7B-A52AA0BE2D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96" y="239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4" name="Freeform 459">
                <a:extLst>
                  <a:ext uri="{FF2B5EF4-FFF2-40B4-BE49-F238E27FC236}">
                    <a16:creationId xmlns:a16="http://schemas.microsoft.com/office/drawing/2014/main" id="{FEC97E72-38A5-4A15-91F1-1FD6AAD84E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23" y="2383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5" name="Freeform 460">
                <a:extLst>
                  <a:ext uri="{FF2B5EF4-FFF2-40B4-BE49-F238E27FC236}">
                    <a16:creationId xmlns:a16="http://schemas.microsoft.com/office/drawing/2014/main" id="{BB3DDDB6-8179-4FFD-AD85-3627297C0A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53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6" name="Freeform 461">
                <a:extLst>
                  <a:ext uri="{FF2B5EF4-FFF2-40B4-BE49-F238E27FC236}">
                    <a16:creationId xmlns:a16="http://schemas.microsoft.com/office/drawing/2014/main" id="{0DC6893C-C48F-4CFD-BF03-17E2971BA0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522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7" name="Freeform 462">
                <a:extLst>
                  <a:ext uri="{FF2B5EF4-FFF2-40B4-BE49-F238E27FC236}">
                    <a16:creationId xmlns:a16="http://schemas.microsoft.com/office/drawing/2014/main" id="{CDC66457-DCE2-4CD2-9D60-D56A9CB6DE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508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8" name="Freeform 463">
                <a:extLst>
                  <a:ext uri="{FF2B5EF4-FFF2-40B4-BE49-F238E27FC236}">
                    <a16:creationId xmlns:a16="http://schemas.microsoft.com/office/drawing/2014/main" id="{C8E351CC-3E6A-41BC-B114-7CF5309F5B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49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9" name="Freeform 464">
                <a:extLst>
                  <a:ext uri="{FF2B5EF4-FFF2-40B4-BE49-F238E27FC236}">
                    <a16:creationId xmlns:a16="http://schemas.microsoft.com/office/drawing/2014/main" id="{194715D4-8726-4291-88E6-9D2E5072E8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47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0" name="Freeform 465">
                <a:extLst>
                  <a:ext uri="{FF2B5EF4-FFF2-40B4-BE49-F238E27FC236}">
                    <a16:creationId xmlns:a16="http://schemas.microsoft.com/office/drawing/2014/main" id="{B8DD8A35-8408-4248-ABFF-C96B80FB9C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46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1" name="Freeform 466">
                <a:extLst>
                  <a:ext uri="{FF2B5EF4-FFF2-40B4-BE49-F238E27FC236}">
                    <a16:creationId xmlns:a16="http://schemas.microsoft.com/office/drawing/2014/main" id="{EE5A984E-82B0-4747-AD54-B3A6D5F25D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445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2" name="Freeform 467">
                <a:extLst>
                  <a:ext uri="{FF2B5EF4-FFF2-40B4-BE49-F238E27FC236}">
                    <a16:creationId xmlns:a16="http://schemas.microsoft.com/office/drawing/2014/main" id="{47E68E02-0CD2-4AB4-A9AC-6D6FF178E9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429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3" name="Freeform 468">
                <a:extLst>
                  <a:ext uri="{FF2B5EF4-FFF2-40B4-BE49-F238E27FC236}">
                    <a16:creationId xmlns:a16="http://schemas.microsoft.com/office/drawing/2014/main" id="{A4092456-5563-4FF5-AAB3-5FEEC0107A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414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4" name="Freeform 469">
                <a:extLst>
                  <a:ext uri="{FF2B5EF4-FFF2-40B4-BE49-F238E27FC236}">
                    <a16:creationId xmlns:a16="http://schemas.microsoft.com/office/drawing/2014/main" id="{571DCE57-DF30-48A3-BA14-644D35A564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9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5" name="Freeform 470">
                <a:extLst>
                  <a:ext uri="{FF2B5EF4-FFF2-40B4-BE49-F238E27FC236}">
                    <a16:creationId xmlns:a16="http://schemas.microsoft.com/office/drawing/2014/main" id="{8872102C-3FF3-4F22-9F62-60C149E471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38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6" name="Freeform 471">
                <a:extLst>
                  <a:ext uri="{FF2B5EF4-FFF2-40B4-BE49-F238E27FC236}">
                    <a16:creationId xmlns:a16="http://schemas.microsoft.com/office/drawing/2014/main" id="{C0582A3B-5C6A-41CA-9582-F69A91006D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66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7" name="Freeform 472">
                <a:extLst>
                  <a:ext uri="{FF2B5EF4-FFF2-40B4-BE49-F238E27FC236}">
                    <a16:creationId xmlns:a16="http://schemas.microsoft.com/office/drawing/2014/main" id="{7A3E3E14-B4B6-46B7-9B1C-8DBE7C76DB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35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8" name="Freeform 473">
                <a:extLst>
                  <a:ext uri="{FF2B5EF4-FFF2-40B4-BE49-F238E27FC236}">
                    <a16:creationId xmlns:a16="http://schemas.microsoft.com/office/drawing/2014/main" id="{84FA9AEC-A42D-4901-A5B5-6A12434D57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3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9" name="Freeform 474">
                <a:extLst>
                  <a:ext uri="{FF2B5EF4-FFF2-40B4-BE49-F238E27FC236}">
                    <a16:creationId xmlns:a16="http://schemas.microsoft.com/office/drawing/2014/main" id="{E0F8C546-453D-4FB7-9343-FC3758383D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32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0" name="Freeform 475">
                <a:extLst>
                  <a:ext uri="{FF2B5EF4-FFF2-40B4-BE49-F238E27FC236}">
                    <a16:creationId xmlns:a16="http://schemas.microsoft.com/office/drawing/2014/main" id="{2D7CA809-FF82-4CB5-9231-5AF78D5E11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1" name="Freeform 476">
                <a:extLst>
                  <a:ext uri="{FF2B5EF4-FFF2-40B4-BE49-F238E27FC236}">
                    <a16:creationId xmlns:a16="http://schemas.microsoft.com/office/drawing/2014/main" id="{3DDFAD58-7996-41C2-A91E-5DE90DA9AA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522"/>
                <a:ext cx="17" cy="11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2" name="Freeform 477">
                <a:extLst>
                  <a:ext uri="{FF2B5EF4-FFF2-40B4-BE49-F238E27FC236}">
                    <a16:creationId xmlns:a16="http://schemas.microsoft.com/office/drawing/2014/main" id="{CDFAEE86-A988-474B-8ED7-A3E8B97F6C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508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3" name="Freeform 478">
                <a:extLst>
                  <a:ext uri="{FF2B5EF4-FFF2-40B4-BE49-F238E27FC236}">
                    <a16:creationId xmlns:a16="http://schemas.microsoft.com/office/drawing/2014/main" id="{28E974FF-0C58-41C4-8F5A-D9217986CF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49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4" name="Freeform 479">
                <a:extLst>
                  <a:ext uri="{FF2B5EF4-FFF2-40B4-BE49-F238E27FC236}">
                    <a16:creationId xmlns:a16="http://schemas.microsoft.com/office/drawing/2014/main" id="{E139D995-040C-46A1-A4BE-801E3C70C3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47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5" name="Freeform 480">
                <a:extLst>
                  <a:ext uri="{FF2B5EF4-FFF2-40B4-BE49-F238E27FC236}">
                    <a16:creationId xmlns:a16="http://schemas.microsoft.com/office/drawing/2014/main" id="{EE47B311-F9B1-4FD3-872F-290BED8EFF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46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6" name="Freeform 481">
                <a:extLst>
                  <a:ext uri="{FF2B5EF4-FFF2-40B4-BE49-F238E27FC236}">
                    <a16:creationId xmlns:a16="http://schemas.microsoft.com/office/drawing/2014/main" id="{DCF25BF1-EE2D-4E45-94FE-25B118B757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445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7" name="Freeform 482">
                <a:extLst>
                  <a:ext uri="{FF2B5EF4-FFF2-40B4-BE49-F238E27FC236}">
                    <a16:creationId xmlns:a16="http://schemas.microsoft.com/office/drawing/2014/main" id="{7B4002D0-ECE0-47B0-B5F6-BD9DA19DDB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42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8" name="Freeform 483">
                <a:extLst>
                  <a:ext uri="{FF2B5EF4-FFF2-40B4-BE49-F238E27FC236}">
                    <a16:creationId xmlns:a16="http://schemas.microsoft.com/office/drawing/2014/main" id="{16BED187-5131-4AA2-AE1C-E63A4F0386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414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9" name="Freeform 484">
                <a:extLst>
                  <a:ext uri="{FF2B5EF4-FFF2-40B4-BE49-F238E27FC236}">
                    <a16:creationId xmlns:a16="http://schemas.microsoft.com/office/drawing/2014/main" id="{63426B60-F02B-4E12-9913-C1860928CA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97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0" name="Freeform 485">
                <a:extLst>
                  <a:ext uri="{FF2B5EF4-FFF2-40B4-BE49-F238E27FC236}">
                    <a16:creationId xmlns:a16="http://schemas.microsoft.com/office/drawing/2014/main" id="{D0490610-D306-44B6-BC5F-ABB00BCE11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383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1" name="Freeform 486">
                <a:extLst>
                  <a:ext uri="{FF2B5EF4-FFF2-40B4-BE49-F238E27FC236}">
                    <a16:creationId xmlns:a16="http://schemas.microsoft.com/office/drawing/2014/main" id="{CD4293BE-5522-43BD-94FA-38F4A9B16A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66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2" name="Freeform 487">
                <a:extLst>
                  <a:ext uri="{FF2B5EF4-FFF2-40B4-BE49-F238E27FC236}">
                    <a16:creationId xmlns:a16="http://schemas.microsoft.com/office/drawing/2014/main" id="{705E5A11-4A99-44DF-91E7-D85659F2E6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35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3" name="Freeform 488">
                <a:extLst>
                  <a:ext uri="{FF2B5EF4-FFF2-40B4-BE49-F238E27FC236}">
                    <a16:creationId xmlns:a16="http://schemas.microsoft.com/office/drawing/2014/main" id="{A57B556A-6C6B-4948-A120-45AD522D45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3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4" name="Freeform 489">
                <a:extLst>
                  <a:ext uri="{FF2B5EF4-FFF2-40B4-BE49-F238E27FC236}">
                    <a16:creationId xmlns:a16="http://schemas.microsoft.com/office/drawing/2014/main" id="{1A7A8A95-DF2A-4801-80B9-95C4BF04F5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32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5" name="Freeform 490">
                <a:extLst>
                  <a:ext uri="{FF2B5EF4-FFF2-40B4-BE49-F238E27FC236}">
                    <a16:creationId xmlns:a16="http://schemas.microsoft.com/office/drawing/2014/main" id="{E8DF0E6F-E324-4609-8173-A48DEB87BE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6" name="Freeform 491">
                <a:extLst>
                  <a:ext uri="{FF2B5EF4-FFF2-40B4-BE49-F238E27FC236}">
                    <a16:creationId xmlns:a16="http://schemas.microsoft.com/office/drawing/2014/main" id="{99476591-5A28-43B3-9937-122A4A15BF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289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7" name="Freeform 492">
                <a:extLst>
                  <a:ext uri="{FF2B5EF4-FFF2-40B4-BE49-F238E27FC236}">
                    <a16:creationId xmlns:a16="http://schemas.microsoft.com/office/drawing/2014/main" id="{F70CD22C-5040-4B0F-9200-AF8F9E142E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508"/>
                <a:ext cx="17" cy="8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4 h 4"/>
                  <a:gd name="T6" fmla="*/ 2 w 8"/>
                  <a:gd name="T7" fmla="*/ 4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8" name="Freeform 493">
                <a:extLst>
                  <a:ext uri="{FF2B5EF4-FFF2-40B4-BE49-F238E27FC236}">
                    <a16:creationId xmlns:a16="http://schemas.microsoft.com/office/drawing/2014/main" id="{FF76C274-10E7-49AD-BF4B-13744B0D40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49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9" name="Freeform 494">
                <a:extLst>
                  <a:ext uri="{FF2B5EF4-FFF2-40B4-BE49-F238E27FC236}">
                    <a16:creationId xmlns:a16="http://schemas.microsoft.com/office/drawing/2014/main" id="{C85F4A3C-94BD-44C9-B303-CF029B4478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47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0" name="Freeform 495">
                <a:extLst>
                  <a:ext uri="{FF2B5EF4-FFF2-40B4-BE49-F238E27FC236}">
                    <a16:creationId xmlns:a16="http://schemas.microsoft.com/office/drawing/2014/main" id="{FC8F86AA-5B69-48E0-AC2E-22317B3858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46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1" name="Freeform 496">
                <a:extLst>
                  <a:ext uri="{FF2B5EF4-FFF2-40B4-BE49-F238E27FC236}">
                    <a16:creationId xmlns:a16="http://schemas.microsoft.com/office/drawing/2014/main" id="{AA4CF127-23AD-4533-884D-3585CFCBCF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445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2" name="Freeform 497">
                <a:extLst>
                  <a:ext uri="{FF2B5EF4-FFF2-40B4-BE49-F238E27FC236}">
                    <a16:creationId xmlns:a16="http://schemas.microsoft.com/office/drawing/2014/main" id="{278D7088-31CD-4FC4-B9CA-C99991F469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42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3" name="Freeform 498">
                <a:extLst>
                  <a:ext uri="{FF2B5EF4-FFF2-40B4-BE49-F238E27FC236}">
                    <a16:creationId xmlns:a16="http://schemas.microsoft.com/office/drawing/2014/main" id="{1F39C500-E12B-4B5D-B950-A22A798FCA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41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4" name="Freeform 499">
                <a:extLst>
                  <a:ext uri="{FF2B5EF4-FFF2-40B4-BE49-F238E27FC236}">
                    <a16:creationId xmlns:a16="http://schemas.microsoft.com/office/drawing/2014/main" id="{71FF2B85-42BE-4951-95A9-76BD430E0A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9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5" name="Freeform 500">
                <a:extLst>
                  <a:ext uri="{FF2B5EF4-FFF2-40B4-BE49-F238E27FC236}">
                    <a16:creationId xmlns:a16="http://schemas.microsoft.com/office/drawing/2014/main" id="{8B64E1E9-7336-4123-B7ED-D10751278C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383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6" name="Freeform 501">
                <a:extLst>
                  <a:ext uri="{FF2B5EF4-FFF2-40B4-BE49-F238E27FC236}">
                    <a16:creationId xmlns:a16="http://schemas.microsoft.com/office/drawing/2014/main" id="{F3D7EAA7-6DF5-47D2-AE06-7DF7F38212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66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7" name="Freeform 502">
                <a:extLst>
                  <a:ext uri="{FF2B5EF4-FFF2-40B4-BE49-F238E27FC236}">
                    <a16:creationId xmlns:a16="http://schemas.microsoft.com/office/drawing/2014/main" id="{1BF505BE-2E9F-43E6-997A-1EC7853B6B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352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8" name="Freeform 503">
                <a:extLst>
                  <a:ext uri="{FF2B5EF4-FFF2-40B4-BE49-F238E27FC236}">
                    <a16:creationId xmlns:a16="http://schemas.microsoft.com/office/drawing/2014/main" id="{BFE42AF5-1FCE-4114-AC2A-56940D8660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3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9" name="Freeform 504">
                <a:extLst>
                  <a:ext uri="{FF2B5EF4-FFF2-40B4-BE49-F238E27FC236}">
                    <a16:creationId xmlns:a16="http://schemas.microsoft.com/office/drawing/2014/main" id="{370427CD-88E1-4FE3-AB8F-5B9DE6F0F5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32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0" name="Freeform 505">
                <a:extLst>
                  <a:ext uri="{FF2B5EF4-FFF2-40B4-BE49-F238E27FC236}">
                    <a16:creationId xmlns:a16="http://schemas.microsoft.com/office/drawing/2014/main" id="{B060FBB3-3997-4F09-A0EF-19EAC0C791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1" name="Freeform 506">
                <a:extLst>
                  <a:ext uri="{FF2B5EF4-FFF2-40B4-BE49-F238E27FC236}">
                    <a16:creationId xmlns:a16="http://schemas.microsoft.com/office/drawing/2014/main" id="{4D3AE6EF-7D0A-446D-B419-5AE3AE1011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289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2" name="Freeform 507">
                <a:extLst>
                  <a:ext uri="{FF2B5EF4-FFF2-40B4-BE49-F238E27FC236}">
                    <a16:creationId xmlns:a16="http://schemas.microsoft.com/office/drawing/2014/main" id="{4243CCEA-8185-4899-A923-BA9EED5277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3" name="Freeform 508">
                <a:extLst>
                  <a:ext uri="{FF2B5EF4-FFF2-40B4-BE49-F238E27FC236}">
                    <a16:creationId xmlns:a16="http://schemas.microsoft.com/office/drawing/2014/main" id="{51014C48-892C-4463-AB8B-7E05D3701C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460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  <a:gd name="T10" fmla="*/ 2 w 8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4" name="Freeform 509">
                <a:extLst>
                  <a:ext uri="{FF2B5EF4-FFF2-40B4-BE49-F238E27FC236}">
                    <a16:creationId xmlns:a16="http://schemas.microsoft.com/office/drawing/2014/main" id="{ED488BB6-0A0C-40A3-B4D8-FB81D3F2B4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445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5" name="Freeform 510">
                <a:extLst>
                  <a:ext uri="{FF2B5EF4-FFF2-40B4-BE49-F238E27FC236}">
                    <a16:creationId xmlns:a16="http://schemas.microsoft.com/office/drawing/2014/main" id="{D8B0D57F-09C3-4AE9-9A1D-A545B85D7F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42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6" name="Freeform 511">
                <a:extLst>
                  <a:ext uri="{FF2B5EF4-FFF2-40B4-BE49-F238E27FC236}">
                    <a16:creationId xmlns:a16="http://schemas.microsoft.com/office/drawing/2014/main" id="{6A3A2E58-94F6-4105-9072-5CA190FA84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414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7" name="Freeform 512">
                <a:extLst>
                  <a:ext uri="{FF2B5EF4-FFF2-40B4-BE49-F238E27FC236}">
                    <a16:creationId xmlns:a16="http://schemas.microsoft.com/office/drawing/2014/main" id="{22121C05-24E7-40CF-9C55-0F85E04C4D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39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8" name="Freeform 513">
                <a:extLst>
                  <a:ext uri="{FF2B5EF4-FFF2-40B4-BE49-F238E27FC236}">
                    <a16:creationId xmlns:a16="http://schemas.microsoft.com/office/drawing/2014/main" id="{AE70486F-35F5-46C4-8984-B8D2035BE2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383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9" name="Freeform 514">
                <a:extLst>
                  <a:ext uri="{FF2B5EF4-FFF2-40B4-BE49-F238E27FC236}">
                    <a16:creationId xmlns:a16="http://schemas.microsoft.com/office/drawing/2014/main" id="{F55EEB3B-4CCC-4023-95BB-5DCFDE7EE8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66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0" name="Freeform 515">
                <a:extLst>
                  <a:ext uri="{FF2B5EF4-FFF2-40B4-BE49-F238E27FC236}">
                    <a16:creationId xmlns:a16="http://schemas.microsoft.com/office/drawing/2014/main" id="{99499F36-EA37-4BCD-86AA-E629AA1330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352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1" name="Freeform 516">
                <a:extLst>
                  <a:ext uri="{FF2B5EF4-FFF2-40B4-BE49-F238E27FC236}">
                    <a16:creationId xmlns:a16="http://schemas.microsoft.com/office/drawing/2014/main" id="{52B7ECA8-AB3D-402B-B499-8C96520D08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35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2" name="Freeform 517">
                <a:extLst>
                  <a:ext uri="{FF2B5EF4-FFF2-40B4-BE49-F238E27FC236}">
                    <a16:creationId xmlns:a16="http://schemas.microsoft.com/office/drawing/2014/main" id="{F393EA17-36EA-4B18-85C5-5A41ADC1FD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321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3" name="Freeform 518">
                <a:extLst>
                  <a:ext uri="{FF2B5EF4-FFF2-40B4-BE49-F238E27FC236}">
                    <a16:creationId xmlns:a16="http://schemas.microsoft.com/office/drawing/2014/main" id="{2A0FE030-78BE-4A12-80E5-4A0BA201D3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304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4" name="Freeform 519">
                <a:extLst>
                  <a:ext uri="{FF2B5EF4-FFF2-40B4-BE49-F238E27FC236}">
                    <a16:creationId xmlns:a16="http://schemas.microsoft.com/office/drawing/2014/main" id="{6CBB609A-EAFC-4818-B4F9-8AB1E0CBB7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289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5" name="Freeform 520">
                <a:extLst>
                  <a:ext uri="{FF2B5EF4-FFF2-40B4-BE49-F238E27FC236}">
                    <a16:creationId xmlns:a16="http://schemas.microsoft.com/office/drawing/2014/main" id="{C4EFB17D-C9D1-43A1-9B56-A04BDD7CE4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6" name="Freeform 521">
                <a:extLst>
                  <a:ext uri="{FF2B5EF4-FFF2-40B4-BE49-F238E27FC236}">
                    <a16:creationId xmlns:a16="http://schemas.microsoft.com/office/drawing/2014/main" id="{F6B022DB-4499-49C9-996B-6AF893F513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7" name="Freeform 522">
                <a:extLst>
                  <a:ext uri="{FF2B5EF4-FFF2-40B4-BE49-F238E27FC236}">
                    <a16:creationId xmlns:a16="http://schemas.microsoft.com/office/drawing/2014/main" id="{1371ED97-7559-4BFA-B395-7E7FC6FAFF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397"/>
                <a:ext cx="17" cy="11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8" name="Freeform 523">
                <a:extLst>
                  <a:ext uri="{FF2B5EF4-FFF2-40B4-BE49-F238E27FC236}">
                    <a16:creationId xmlns:a16="http://schemas.microsoft.com/office/drawing/2014/main" id="{2ADDC550-CA49-47C4-B377-ABDDF2D159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383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9" name="Freeform 524">
                <a:extLst>
                  <a:ext uri="{FF2B5EF4-FFF2-40B4-BE49-F238E27FC236}">
                    <a16:creationId xmlns:a16="http://schemas.microsoft.com/office/drawing/2014/main" id="{2D937552-1F53-4278-A74D-0631DADCF3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366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0" name="Freeform 525">
                <a:extLst>
                  <a:ext uri="{FF2B5EF4-FFF2-40B4-BE49-F238E27FC236}">
                    <a16:creationId xmlns:a16="http://schemas.microsoft.com/office/drawing/2014/main" id="{EED719C2-4B02-4682-9446-4BEDFEC2E6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352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1" name="Freeform 526">
                <a:extLst>
                  <a:ext uri="{FF2B5EF4-FFF2-40B4-BE49-F238E27FC236}">
                    <a16:creationId xmlns:a16="http://schemas.microsoft.com/office/drawing/2014/main" id="{1752FC41-2BF3-44ED-9B77-FC4B0AE4EE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3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2" name="Freeform 527">
                <a:extLst>
                  <a:ext uri="{FF2B5EF4-FFF2-40B4-BE49-F238E27FC236}">
                    <a16:creationId xmlns:a16="http://schemas.microsoft.com/office/drawing/2014/main" id="{1DAC47E5-FCEC-473F-8D94-6C636F691B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321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3" name="Freeform 528">
                <a:extLst>
                  <a:ext uri="{FF2B5EF4-FFF2-40B4-BE49-F238E27FC236}">
                    <a16:creationId xmlns:a16="http://schemas.microsoft.com/office/drawing/2014/main" id="{854AE8FC-E9D8-4E61-A547-BBB696C5DB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304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4" name="Freeform 529">
                <a:extLst>
                  <a:ext uri="{FF2B5EF4-FFF2-40B4-BE49-F238E27FC236}">
                    <a16:creationId xmlns:a16="http://schemas.microsoft.com/office/drawing/2014/main" id="{10FAC0C8-60B0-4EB0-A309-947BE1BE8F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289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5" name="Freeform 530">
                <a:extLst>
                  <a:ext uri="{FF2B5EF4-FFF2-40B4-BE49-F238E27FC236}">
                    <a16:creationId xmlns:a16="http://schemas.microsoft.com/office/drawing/2014/main" id="{2D5194EE-214F-461E-AF9C-3F7EB40F67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6" name="Freeform 531">
                <a:extLst>
                  <a:ext uri="{FF2B5EF4-FFF2-40B4-BE49-F238E27FC236}">
                    <a16:creationId xmlns:a16="http://schemas.microsoft.com/office/drawing/2014/main" id="{C34BA553-8CD3-411A-B064-A87F66F952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4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7" name="Freeform 532">
                <a:extLst>
                  <a:ext uri="{FF2B5EF4-FFF2-40B4-BE49-F238E27FC236}">
                    <a16:creationId xmlns:a16="http://schemas.microsoft.com/office/drawing/2014/main" id="{ECC36562-C7F3-43D5-A138-9BEF487B2E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8" name="Freeform 533">
                <a:extLst>
                  <a:ext uri="{FF2B5EF4-FFF2-40B4-BE49-F238E27FC236}">
                    <a16:creationId xmlns:a16="http://schemas.microsoft.com/office/drawing/2014/main" id="{1F456B56-0844-4F74-A1FF-FB748A340F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5" y="232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7 w 8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9" name="Freeform 534">
                <a:extLst>
                  <a:ext uri="{FF2B5EF4-FFF2-40B4-BE49-F238E27FC236}">
                    <a16:creationId xmlns:a16="http://schemas.microsoft.com/office/drawing/2014/main" id="{7A76AC00-46B1-4F59-9E07-FFC7F4B7C7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2" y="230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7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0" name="Freeform 535">
                <a:extLst>
                  <a:ext uri="{FF2B5EF4-FFF2-40B4-BE49-F238E27FC236}">
                    <a16:creationId xmlns:a16="http://schemas.microsoft.com/office/drawing/2014/main" id="{AE343F42-693A-4C8F-8E30-9744F72752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0" y="2289"/>
                <a:ext cx="16" cy="9"/>
              </a:xfrm>
              <a:custGeom>
                <a:avLst/>
                <a:gdLst>
                  <a:gd name="T0" fmla="*/ 2 w 8"/>
                  <a:gd name="T1" fmla="*/ 0 h 4"/>
                  <a:gd name="T2" fmla="*/ 7 w 8"/>
                  <a:gd name="T3" fmla="*/ 0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0 h 4"/>
                  <a:gd name="T10" fmla="*/ 2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cubicBezTo>
                      <a:pt x="3" y="0"/>
                      <a:pt x="5" y="0"/>
                      <a:pt x="7" y="0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0" y="1"/>
                      <a:pt x="2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1" name="Freeform 536">
                <a:extLst>
                  <a:ext uri="{FF2B5EF4-FFF2-40B4-BE49-F238E27FC236}">
                    <a16:creationId xmlns:a16="http://schemas.microsoft.com/office/drawing/2014/main" id="{77459DAE-FAC4-4F2D-A494-80A1E8A7EB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7" y="2273"/>
                <a:ext cx="16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  <a:gd name="T10" fmla="*/ 2 w 8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2" name="Freeform 537">
                <a:extLst>
                  <a:ext uri="{FF2B5EF4-FFF2-40B4-BE49-F238E27FC236}">
                    <a16:creationId xmlns:a16="http://schemas.microsoft.com/office/drawing/2014/main" id="{5FD55218-AE6F-40B6-8224-5012EA0EDF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4" y="2258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3" name="Freeform 538">
                <a:extLst>
                  <a:ext uri="{FF2B5EF4-FFF2-40B4-BE49-F238E27FC236}">
                    <a16:creationId xmlns:a16="http://schemas.microsoft.com/office/drawing/2014/main" id="{6E5C25A4-9E15-45A8-BE26-9B3DA002FA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1" y="2242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4" name="Freeform 539">
                <a:extLst>
                  <a:ext uri="{FF2B5EF4-FFF2-40B4-BE49-F238E27FC236}">
                    <a16:creationId xmlns:a16="http://schemas.microsoft.com/office/drawing/2014/main" id="{8A50BF27-569E-4D1E-82F1-A430B8DED5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8" y="2227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5" name="Freeform 540">
                <a:extLst>
                  <a:ext uri="{FF2B5EF4-FFF2-40B4-BE49-F238E27FC236}">
                    <a16:creationId xmlns:a16="http://schemas.microsoft.com/office/drawing/2014/main" id="{947B68D2-536C-46AA-883C-E82A4E2B5C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289"/>
                <a:ext cx="14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6" name="Freeform 541">
                <a:extLst>
                  <a:ext uri="{FF2B5EF4-FFF2-40B4-BE49-F238E27FC236}">
                    <a16:creationId xmlns:a16="http://schemas.microsoft.com/office/drawing/2014/main" id="{E4F89124-4963-44DB-9000-CBDFA46E4A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7" name="Freeform 542">
                <a:extLst>
                  <a:ext uri="{FF2B5EF4-FFF2-40B4-BE49-F238E27FC236}">
                    <a16:creationId xmlns:a16="http://schemas.microsoft.com/office/drawing/2014/main" id="{86F3E365-F78F-40DE-8D1D-83A395F863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25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8" name="Freeform 543">
                <a:extLst>
                  <a:ext uri="{FF2B5EF4-FFF2-40B4-BE49-F238E27FC236}">
                    <a16:creationId xmlns:a16="http://schemas.microsoft.com/office/drawing/2014/main" id="{949C888A-2E16-4D37-A24F-7CB3B5F3E1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24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9" name="Freeform 544">
                <a:extLst>
                  <a:ext uri="{FF2B5EF4-FFF2-40B4-BE49-F238E27FC236}">
                    <a16:creationId xmlns:a16="http://schemas.microsoft.com/office/drawing/2014/main" id="{17FD83EA-B9D1-441B-B5DE-42C4749FB5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22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0" name="Freeform 545">
                <a:extLst>
                  <a:ext uri="{FF2B5EF4-FFF2-40B4-BE49-F238E27FC236}">
                    <a16:creationId xmlns:a16="http://schemas.microsoft.com/office/drawing/2014/main" id="{64EA1C2E-BFC3-435C-AB09-A79E4FB32A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21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1" name="Freeform 546">
                <a:extLst>
                  <a:ext uri="{FF2B5EF4-FFF2-40B4-BE49-F238E27FC236}">
                    <a16:creationId xmlns:a16="http://schemas.microsoft.com/office/drawing/2014/main" id="{C0D6BC9D-3C0C-40CB-B00D-A903B43AD1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9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2" name="Freeform 547">
                <a:extLst>
                  <a:ext uri="{FF2B5EF4-FFF2-40B4-BE49-F238E27FC236}">
                    <a16:creationId xmlns:a16="http://schemas.microsoft.com/office/drawing/2014/main" id="{163AC74F-6B13-4BB8-8123-0C1226D839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17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3" name="Freeform 548">
                <a:extLst>
                  <a:ext uri="{FF2B5EF4-FFF2-40B4-BE49-F238E27FC236}">
                    <a16:creationId xmlns:a16="http://schemas.microsoft.com/office/drawing/2014/main" id="{70E50F32-3F95-4317-855E-92872B420E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4" name="Freeform 549">
                <a:extLst>
                  <a:ext uri="{FF2B5EF4-FFF2-40B4-BE49-F238E27FC236}">
                    <a16:creationId xmlns:a16="http://schemas.microsoft.com/office/drawing/2014/main" id="{D8E3FA33-FD43-4BF0-9C44-D21F5BDA09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5" name="Freeform 550">
                <a:extLst>
                  <a:ext uri="{FF2B5EF4-FFF2-40B4-BE49-F238E27FC236}">
                    <a16:creationId xmlns:a16="http://schemas.microsoft.com/office/drawing/2014/main" id="{97545E85-044E-46C2-93B5-9B8F6B0927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6" name="Freeform 551">
                <a:extLst>
                  <a:ext uri="{FF2B5EF4-FFF2-40B4-BE49-F238E27FC236}">
                    <a16:creationId xmlns:a16="http://schemas.microsoft.com/office/drawing/2014/main" id="{A13655AF-23C6-442A-8CBF-9775775AE4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7" name="Freeform 552">
                <a:extLst>
                  <a:ext uri="{FF2B5EF4-FFF2-40B4-BE49-F238E27FC236}">
                    <a16:creationId xmlns:a16="http://schemas.microsoft.com/office/drawing/2014/main" id="{B70593B8-2524-41DC-B666-58B92B58B1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8" name="Freeform 553">
                <a:extLst>
                  <a:ext uri="{FF2B5EF4-FFF2-40B4-BE49-F238E27FC236}">
                    <a16:creationId xmlns:a16="http://schemas.microsoft.com/office/drawing/2014/main" id="{B6B428A0-49CB-4FC2-9B57-3542471E22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273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9" name="Freeform 554">
                <a:extLst>
                  <a:ext uri="{FF2B5EF4-FFF2-40B4-BE49-F238E27FC236}">
                    <a16:creationId xmlns:a16="http://schemas.microsoft.com/office/drawing/2014/main" id="{61650F64-DA9E-43EB-97E9-25E5CA02DD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0" name="Freeform 555">
                <a:extLst>
                  <a:ext uri="{FF2B5EF4-FFF2-40B4-BE49-F238E27FC236}">
                    <a16:creationId xmlns:a16="http://schemas.microsoft.com/office/drawing/2014/main" id="{041FE84E-A784-4D86-AFF3-89CFE8144D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1" name="Freeform 556">
                <a:extLst>
                  <a:ext uri="{FF2B5EF4-FFF2-40B4-BE49-F238E27FC236}">
                    <a16:creationId xmlns:a16="http://schemas.microsoft.com/office/drawing/2014/main" id="{02FB1989-0677-45BD-A55F-2396783AA3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22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2" name="Freeform 557">
                <a:extLst>
                  <a:ext uri="{FF2B5EF4-FFF2-40B4-BE49-F238E27FC236}">
                    <a16:creationId xmlns:a16="http://schemas.microsoft.com/office/drawing/2014/main" id="{1FCE506E-CEF2-4C43-9C56-1DC74D28EB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3" name="Freeform 558">
                <a:extLst>
                  <a:ext uri="{FF2B5EF4-FFF2-40B4-BE49-F238E27FC236}">
                    <a16:creationId xmlns:a16="http://schemas.microsoft.com/office/drawing/2014/main" id="{57ADC7DE-B2C6-46D6-83A4-A179B55024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4" name="Freeform 559">
                <a:extLst>
                  <a:ext uri="{FF2B5EF4-FFF2-40B4-BE49-F238E27FC236}">
                    <a16:creationId xmlns:a16="http://schemas.microsoft.com/office/drawing/2014/main" id="{B288ADE0-D3E6-4CD3-8AF9-BBD9D29A6A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21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5" name="Freeform 560">
                <a:extLst>
                  <a:ext uri="{FF2B5EF4-FFF2-40B4-BE49-F238E27FC236}">
                    <a16:creationId xmlns:a16="http://schemas.microsoft.com/office/drawing/2014/main" id="{573AD796-1290-4F98-B847-F70AF7A7FE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9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6" name="Freeform 561">
                <a:extLst>
                  <a:ext uri="{FF2B5EF4-FFF2-40B4-BE49-F238E27FC236}">
                    <a16:creationId xmlns:a16="http://schemas.microsoft.com/office/drawing/2014/main" id="{9021651D-A7EA-4ACD-8402-EEB5F07C88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17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7" name="Freeform 562">
                <a:extLst>
                  <a:ext uri="{FF2B5EF4-FFF2-40B4-BE49-F238E27FC236}">
                    <a16:creationId xmlns:a16="http://schemas.microsoft.com/office/drawing/2014/main" id="{2DD64787-CA2E-4B0B-A77E-31BDF2E8EA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8" name="Freeform 563">
                <a:extLst>
                  <a:ext uri="{FF2B5EF4-FFF2-40B4-BE49-F238E27FC236}">
                    <a16:creationId xmlns:a16="http://schemas.microsoft.com/office/drawing/2014/main" id="{07499945-9CC2-43E9-8237-E41A4BC67E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9" name="Freeform 564">
                <a:extLst>
                  <a:ext uri="{FF2B5EF4-FFF2-40B4-BE49-F238E27FC236}">
                    <a16:creationId xmlns:a16="http://schemas.microsoft.com/office/drawing/2014/main" id="{35022591-74E6-443E-A664-9E28978FA1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0" name="Freeform 565">
                <a:extLst>
                  <a:ext uri="{FF2B5EF4-FFF2-40B4-BE49-F238E27FC236}">
                    <a16:creationId xmlns:a16="http://schemas.microsoft.com/office/drawing/2014/main" id="{FBF2066E-B8DF-45A1-8976-7628692306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1" name="Freeform 566">
                <a:extLst>
                  <a:ext uri="{FF2B5EF4-FFF2-40B4-BE49-F238E27FC236}">
                    <a16:creationId xmlns:a16="http://schemas.microsoft.com/office/drawing/2014/main" id="{638EC939-AC25-4481-AFF7-ECC065A54C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2" name="Freeform 567">
                <a:extLst>
                  <a:ext uri="{FF2B5EF4-FFF2-40B4-BE49-F238E27FC236}">
                    <a16:creationId xmlns:a16="http://schemas.microsoft.com/office/drawing/2014/main" id="{E143D58A-AEA0-43EF-819F-62D655CF01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3" name="Freeform 568">
                <a:extLst>
                  <a:ext uri="{FF2B5EF4-FFF2-40B4-BE49-F238E27FC236}">
                    <a16:creationId xmlns:a16="http://schemas.microsoft.com/office/drawing/2014/main" id="{4E3C1B6A-5AD2-4BDD-8DAA-7C13D6899B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25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4" name="Freeform 569">
                <a:extLst>
                  <a:ext uri="{FF2B5EF4-FFF2-40B4-BE49-F238E27FC236}">
                    <a16:creationId xmlns:a16="http://schemas.microsoft.com/office/drawing/2014/main" id="{B41F94BE-087E-41C1-8D7A-80BA7E5842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5" name="Freeform 570">
                <a:extLst>
                  <a:ext uri="{FF2B5EF4-FFF2-40B4-BE49-F238E27FC236}">
                    <a16:creationId xmlns:a16="http://schemas.microsoft.com/office/drawing/2014/main" id="{08FD8D74-43FD-4128-A560-E90B8E2CE7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227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6" name="Freeform 571">
                <a:extLst>
                  <a:ext uri="{FF2B5EF4-FFF2-40B4-BE49-F238E27FC236}">
                    <a16:creationId xmlns:a16="http://schemas.microsoft.com/office/drawing/2014/main" id="{583B6957-896D-46EC-92A6-1C1250DBDF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210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7" name="Freeform 572">
                <a:extLst>
                  <a:ext uri="{FF2B5EF4-FFF2-40B4-BE49-F238E27FC236}">
                    <a16:creationId xmlns:a16="http://schemas.microsoft.com/office/drawing/2014/main" id="{66BF9A38-8FE5-44A1-AA6E-772AB4C339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19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8" name="Freeform 573">
                <a:extLst>
                  <a:ext uri="{FF2B5EF4-FFF2-40B4-BE49-F238E27FC236}">
                    <a16:creationId xmlns:a16="http://schemas.microsoft.com/office/drawing/2014/main" id="{0083CF40-885B-4EDD-8CEE-62CB7C6CC8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9" name="Freeform 574">
                <a:extLst>
                  <a:ext uri="{FF2B5EF4-FFF2-40B4-BE49-F238E27FC236}">
                    <a16:creationId xmlns:a16="http://schemas.microsoft.com/office/drawing/2014/main" id="{11CD9423-B72A-4028-B880-23037AE505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0" name="Freeform 575">
                <a:extLst>
                  <a:ext uri="{FF2B5EF4-FFF2-40B4-BE49-F238E27FC236}">
                    <a16:creationId xmlns:a16="http://schemas.microsoft.com/office/drawing/2014/main" id="{F3F9A658-EFE7-4A86-9C2D-B16F98A091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17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1" name="Freeform 576">
                <a:extLst>
                  <a:ext uri="{FF2B5EF4-FFF2-40B4-BE49-F238E27FC236}">
                    <a16:creationId xmlns:a16="http://schemas.microsoft.com/office/drawing/2014/main" id="{77C0A536-B3CD-4B51-8750-A45D9F5C72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2" name="Freeform 577">
                <a:extLst>
                  <a:ext uri="{FF2B5EF4-FFF2-40B4-BE49-F238E27FC236}">
                    <a16:creationId xmlns:a16="http://schemas.microsoft.com/office/drawing/2014/main" id="{89FA47DE-D2FA-4A08-9F33-601A9084A7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3" name="Freeform 578">
                <a:extLst>
                  <a:ext uri="{FF2B5EF4-FFF2-40B4-BE49-F238E27FC236}">
                    <a16:creationId xmlns:a16="http://schemas.microsoft.com/office/drawing/2014/main" id="{9BE10DBA-B925-47A6-8C6D-D1AB59003E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4" name="Freeform 579">
                <a:extLst>
                  <a:ext uri="{FF2B5EF4-FFF2-40B4-BE49-F238E27FC236}">
                    <a16:creationId xmlns:a16="http://schemas.microsoft.com/office/drawing/2014/main" id="{4301EB08-7A22-49A0-8F60-B00315CF67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5" name="Freeform 580">
                <a:extLst>
                  <a:ext uri="{FF2B5EF4-FFF2-40B4-BE49-F238E27FC236}">
                    <a16:creationId xmlns:a16="http://schemas.microsoft.com/office/drawing/2014/main" id="{A06A7341-A10A-491C-8A05-2E43A8FD9F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6" name="Freeform 581">
                <a:extLst>
                  <a:ext uri="{FF2B5EF4-FFF2-40B4-BE49-F238E27FC236}">
                    <a16:creationId xmlns:a16="http://schemas.microsoft.com/office/drawing/2014/main" id="{7627128F-902F-43E0-8050-40D6E6BBB9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7" name="Freeform 582">
                <a:extLst>
                  <a:ext uri="{FF2B5EF4-FFF2-40B4-BE49-F238E27FC236}">
                    <a16:creationId xmlns:a16="http://schemas.microsoft.com/office/drawing/2014/main" id="{6D6B5E16-2FD9-419F-B507-F315BABD22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8" name="Freeform 583">
                <a:extLst>
                  <a:ext uri="{FF2B5EF4-FFF2-40B4-BE49-F238E27FC236}">
                    <a16:creationId xmlns:a16="http://schemas.microsoft.com/office/drawing/2014/main" id="{EB02CF0F-77F7-4A73-B2CB-32638E88AD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24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9" name="Freeform 584">
                <a:extLst>
                  <a:ext uri="{FF2B5EF4-FFF2-40B4-BE49-F238E27FC236}">
                    <a16:creationId xmlns:a16="http://schemas.microsoft.com/office/drawing/2014/main" id="{AA3234A2-EDBE-47D7-AD61-73865813AD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227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0" name="Freeform 585">
                <a:extLst>
                  <a:ext uri="{FF2B5EF4-FFF2-40B4-BE49-F238E27FC236}">
                    <a16:creationId xmlns:a16="http://schemas.microsoft.com/office/drawing/2014/main" id="{32231CCA-15D3-4F9A-A3CA-CE1F517334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210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1" name="Freeform 586">
                <a:extLst>
                  <a:ext uri="{FF2B5EF4-FFF2-40B4-BE49-F238E27FC236}">
                    <a16:creationId xmlns:a16="http://schemas.microsoft.com/office/drawing/2014/main" id="{6534E6F1-519A-4482-B357-8BFA712BDB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196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2" name="Freeform 587">
                <a:extLst>
                  <a:ext uri="{FF2B5EF4-FFF2-40B4-BE49-F238E27FC236}">
                    <a16:creationId xmlns:a16="http://schemas.microsoft.com/office/drawing/2014/main" id="{8258E5E4-C4F4-4D86-ADCA-06518E2F9F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179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3" name="Freeform 588">
                <a:extLst>
                  <a:ext uri="{FF2B5EF4-FFF2-40B4-BE49-F238E27FC236}">
                    <a16:creationId xmlns:a16="http://schemas.microsoft.com/office/drawing/2014/main" id="{896E5964-9728-4494-AEE9-D37E7D43D7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16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4" name="Freeform 589">
                <a:extLst>
                  <a:ext uri="{FF2B5EF4-FFF2-40B4-BE49-F238E27FC236}">
                    <a16:creationId xmlns:a16="http://schemas.microsoft.com/office/drawing/2014/main" id="{9A0549FC-52AC-4784-B59A-BBCE6598B0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5" name="Freeform 590">
                <a:extLst>
                  <a:ext uri="{FF2B5EF4-FFF2-40B4-BE49-F238E27FC236}">
                    <a16:creationId xmlns:a16="http://schemas.microsoft.com/office/drawing/2014/main" id="{E2BFC86E-BE49-42CC-81DE-864477CCBD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6" name="Freeform 591">
                <a:extLst>
                  <a:ext uri="{FF2B5EF4-FFF2-40B4-BE49-F238E27FC236}">
                    <a16:creationId xmlns:a16="http://schemas.microsoft.com/office/drawing/2014/main" id="{338E0D45-2AE7-4917-8D64-8C6C42F4D6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14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7" name="Freeform 592">
                <a:extLst>
                  <a:ext uri="{FF2B5EF4-FFF2-40B4-BE49-F238E27FC236}">
                    <a16:creationId xmlns:a16="http://schemas.microsoft.com/office/drawing/2014/main" id="{F597FB10-7D09-48D3-AE97-C9A044B4F6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8" name="Freeform 593">
                <a:extLst>
                  <a:ext uri="{FF2B5EF4-FFF2-40B4-BE49-F238E27FC236}">
                    <a16:creationId xmlns:a16="http://schemas.microsoft.com/office/drawing/2014/main" id="{73C3EFB4-4883-46CA-B1D5-3EE2C98C8E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9" name="Freeform 594">
                <a:extLst>
                  <a:ext uri="{FF2B5EF4-FFF2-40B4-BE49-F238E27FC236}">
                    <a16:creationId xmlns:a16="http://schemas.microsoft.com/office/drawing/2014/main" id="{6ABA70EE-EA7C-461E-8F70-65296BE308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0" name="Freeform 595">
                <a:extLst>
                  <a:ext uri="{FF2B5EF4-FFF2-40B4-BE49-F238E27FC236}">
                    <a16:creationId xmlns:a16="http://schemas.microsoft.com/office/drawing/2014/main" id="{5683BAE9-3D5E-4F9F-8CA0-0F035F39D5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1" name="Freeform 596">
                <a:extLst>
                  <a:ext uri="{FF2B5EF4-FFF2-40B4-BE49-F238E27FC236}">
                    <a16:creationId xmlns:a16="http://schemas.microsoft.com/office/drawing/2014/main" id="{2D2A395C-B8EE-4491-8F09-6D2C51E99B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2" name="Freeform 597">
                <a:extLst>
                  <a:ext uri="{FF2B5EF4-FFF2-40B4-BE49-F238E27FC236}">
                    <a16:creationId xmlns:a16="http://schemas.microsoft.com/office/drawing/2014/main" id="{5FA51555-48A1-4CF8-A7D5-3860C88C24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3" name="Freeform 598">
                <a:extLst>
                  <a:ext uri="{FF2B5EF4-FFF2-40B4-BE49-F238E27FC236}">
                    <a16:creationId xmlns:a16="http://schemas.microsoft.com/office/drawing/2014/main" id="{58075A88-3496-4796-AD24-3C2EA53C89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227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4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4" name="Freeform 599">
                <a:extLst>
                  <a:ext uri="{FF2B5EF4-FFF2-40B4-BE49-F238E27FC236}">
                    <a16:creationId xmlns:a16="http://schemas.microsoft.com/office/drawing/2014/main" id="{A1D95382-7843-40A6-840B-6F6994CDD7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210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5" name="Freeform 600">
                <a:extLst>
                  <a:ext uri="{FF2B5EF4-FFF2-40B4-BE49-F238E27FC236}">
                    <a16:creationId xmlns:a16="http://schemas.microsoft.com/office/drawing/2014/main" id="{7050DE69-E64D-4330-A3C9-BF3A32901E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196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6" name="Freeform 601">
                <a:extLst>
                  <a:ext uri="{FF2B5EF4-FFF2-40B4-BE49-F238E27FC236}">
                    <a16:creationId xmlns:a16="http://schemas.microsoft.com/office/drawing/2014/main" id="{5A76152B-A57A-4E44-9F16-EA11AC5EF0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179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7" name="Freeform 602">
                <a:extLst>
                  <a:ext uri="{FF2B5EF4-FFF2-40B4-BE49-F238E27FC236}">
                    <a16:creationId xmlns:a16="http://schemas.microsoft.com/office/drawing/2014/main" id="{AA8F1538-D57C-4124-9391-301E4AFA79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165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8" name="Freeform 603">
                <a:extLst>
                  <a:ext uri="{FF2B5EF4-FFF2-40B4-BE49-F238E27FC236}">
                    <a16:creationId xmlns:a16="http://schemas.microsoft.com/office/drawing/2014/main" id="{52C4CE62-4ABA-4ED1-9E3D-EC18A72969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148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9" name="Freeform 604">
                <a:extLst>
                  <a:ext uri="{FF2B5EF4-FFF2-40B4-BE49-F238E27FC236}">
                    <a16:creationId xmlns:a16="http://schemas.microsoft.com/office/drawing/2014/main" id="{DFCE56CF-E73F-4669-B515-B8882338AC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133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0" name="Freeform 605">
                <a:extLst>
                  <a:ext uri="{FF2B5EF4-FFF2-40B4-BE49-F238E27FC236}">
                    <a16:creationId xmlns:a16="http://schemas.microsoft.com/office/drawing/2014/main" id="{4963E096-7AC8-499D-917A-CAF01E8694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1" name="Freeform 606">
                <a:extLst>
                  <a:ext uri="{FF2B5EF4-FFF2-40B4-BE49-F238E27FC236}">
                    <a16:creationId xmlns:a16="http://schemas.microsoft.com/office/drawing/2014/main" id="{6CADCDAA-0E90-46CE-957C-5203E1DFB1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023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14" name="Group 808">
              <a:extLst>
                <a:ext uri="{FF2B5EF4-FFF2-40B4-BE49-F238E27FC236}">
                  <a16:creationId xmlns:a16="http://schemas.microsoft.com/office/drawing/2014/main" id="{D01C66B1-FD84-4753-B893-0ED31DC6660D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9101940" y="3339914"/>
              <a:ext cx="2164105" cy="1117094"/>
              <a:chOff x="5388" y="1695"/>
              <a:chExt cx="1019" cy="526"/>
            </a:xfrm>
          </p:grpSpPr>
          <p:sp>
            <p:nvSpPr>
              <p:cNvPr id="1012" name="Freeform 608">
                <a:extLst>
                  <a:ext uri="{FF2B5EF4-FFF2-40B4-BE49-F238E27FC236}">
                    <a16:creationId xmlns:a16="http://schemas.microsoft.com/office/drawing/2014/main" id="{555BE97B-35BA-4110-A03B-6AF4471F48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11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" name="Freeform 609">
                <a:extLst>
                  <a:ext uri="{FF2B5EF4-FFF2-40B4-BE49-F238E27FC236}">
                    <a16:creationId xmlns:a16="http://schemas.microsoft.com/office/drawing/2014/main" id="{69F096B4-2609-43D1-818F-18FDF513A1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102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" name="Freeform 610">
                <a:extLst>
                  <a:ext uri="{FF2B5EF4-FFF2-40B4-BE49-F238E27FC236}">
                    <a16:creationId xmlns:a16="http://schemas.microsoft.com/office/drawing/2014/main" id="{F7D19B14-F463-494D-B0C6-51D53B11C1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086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" name="Freeform 611">
                <a:extLst>
                  <a:ext uri="{FF2B5EF4-FFF2-40B4-BE49-F238E27FC236}">
                    <a16:creationId xmlns:a16="http://schemas.microsoft.com/office/drawing/2014/main" id="{997D294C-5E35-46CD-88D0-7AB35F3672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071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" name="Freeform 612">
                <a:extLst>
                  <a:ext uri="{FF2B5EF4-FFF2-40B4-BE49-F238E27FC236}">
                    <a16:creationId xmlns:a16="http://schemas.microsoft.com/office/drawing/2014/main" id="{92962921-BE11-421D-86D7-A6A9AD3CD9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054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" name="Freeform 613">
                <a:extLst>
                  <a:ext uri="{FF2B5EF4-FFF2-40B4-BE49-F238E27FC236}">
                    <a16:creationId xmlns:a16="http://schemas.microsoft.com/office/drawing/2014/main" id="{616F566E-826F-4FA0-BF7F-6086C775AB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" name="Freeform 614">
                <a:extLst>
                  <a:ext uri="{FF2B5EF4-FFF2-40B4-BE49-F238E27FC236}">
                    <a16:creationId xmlns:a16="http://schemas.microsoft.com/office/drawing/2014/main" id="{38F8C769-B166-49CC-9C79-BB49B41B8F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5" y="221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" name="Freeform 615">
                <a:extLst>
                  <a:ext uri="{FF2B5EF4-FFF2-40B4-BE49-F238E27FC236}">
                    <a16:creationId xmlns:a16="http://schemas.microsoft.com/office/drawing/2014/main" id="{78ADC485-FD5E-4A2A-8FC8-C71CBF89FF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2" y="2196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" name="Freeform 616">
                <a:extLst>
                  <a:ext uri="{FF2B5EF4-FFF2-40B4-BE49-F238E27FC236}">
                    <a16:creationId xmlns:a16="http://schemas.microsoft.com/office/drawing/2014/main" id="{421A79E7-8DDC-4746-9252-BA2F7015EA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69" y="2179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" name="Freeform 617">
                <a:extLst>
                  <a:ext uri="{FF2B5EF4-FFF2-40B4-BE49-F238E27FC236}">
                    <a16:creationId xmlns:a16="http://schemas.microsoft.com/office/drawing/2014/main" id="{CBE20756-8A6A-4898-B787-A7342777CA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6" y="2165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" name="Freeform 618">
                <a:extLst>
                  <a:ext uri="{FF2B5EF4-FFF2-40B4-BE49-F238E27FC236}">
                    <a16:creationId xmlns:a16="http://schemas.microsoft.com/office/drawing/2014/main" id="{D1EA10A5-311C-4046-8C3C-05A6DF9212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3" y="2148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" name="Freeform 619">
                <a:extLst>
                  <a:ext uri="{FF2B5EF4-FFF2-40B4-BE49-F238E27FC236}">
                    <a16:creationId xmlns:a16="http://schemas.microsoft.com/office/drawing/2014/main" id="{D60F5A23-69CF-471E-9DA4-0D54FDBA82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0" y="2131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" name="Freeform 620">
                <a:extLst>
                  <a:ext uri="{FF2B5EF4-FFF2-40B4-BE49-F238E27FC236}">
                    <a16:creationId xmlns:a16="http://schemas.microsoft.com/office/drawing/2014/main" id="{02241BFD-55E6-4C2A-8A1C-E97C20DA19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7" y="2117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" name="Freeform 621">
                <a:extLst>
                  <a:ext uri="{FF2B5EF4-FFF2-40B4-BE49-F238E27FC236}">
                    <a16:creationId xmlns:a16="http://schemas.microsoft.com/office/drawing/2014/main" id="{902EA544-475B-4F18-BF44-3AE372B08B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4" y="210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" name="Freeform 622">
                <a:extLst>
                  <a:ext uri="{FF2B5EF4-FFF2-40B4-BE49-F238E27FC236}">
                    <a16:creationId xmlns:a16="http://schemas.microsoft.com/office/drawing/2014/main" id="{B6ACAB4D-CBED-4BE2-BE91-64F2C55B82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023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" name="Freeform 623">
                <a:extLst>
                  <a:ext uri="{FF2B5EF4-FFF2-40B4-BE49-F238E27FC236}">
                    <a16:creationId xmlns:a16="http://schemas.microsoft.com/office/drawing/2014/main" id="{2CFDD280-975C-4F8C-9CF8-A706375684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00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" name="Freeform 624">
                <a:extLst>
                  <a:ext uri="{FF2B5EF4-FFF2-40B4-BE49-F238E27FC236}">
                    <a16:creationId xmlns:a16="http://schemas.microsoft.com/office/drawing/2014/main" id="{33A48A9B-B013-4F60-B822-678579854D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1" y="208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" name="Freeform 625">
                <a:extLst>
                  <a:ext uri="{FF2B5EF4-FFF2-40B4-BE49-F238E27FC236}">
                    <a16:creationId xmlns:a16="http://schemas.microsoft.com/office/drawing/2014/main" id="{39DC66A0-4459-426A-97A3-D2E411CE72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58" y="206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" name="Freeform 626">
                <a:extLst>
                  <a:ext uri="{FF2B5EF4-FFF2-40B4-BE49-F238E27FC236}">
                    <a16:creationId xmlns:a16="http://schemas.microsoft.com/office/drawing/2014/main" id="{3B22BF8E-2B8F-4599-80F0-21EB027DB2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2054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" name="Freeform 627">
                <a:extLst>
                  <a:ext uri="{FF2B5EF4-FFF2-40B4-BE49-F238E27FC236}">
                    <a16:creationId xmlns:a16="http://schemas.microsoft.com/office/drawing/2014/main" id="{B25A7D38-93F8-4340-ADEB-2B95A879B8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03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" name="Freeform 628">
                <a:extLst>
                  <a:ext uri="{FF2B5EF4-FFF2-40B4-BE49-F238E27FC236}">
                    <a16:creationId xmlns:a16="http://schemas.microsoft.com/office/drawing/2014/main" id="{3C7052A9-EFD9-487A-898A-CB47F9213A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023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" name="Freeform 629">
                <a:extLst>
                  <a:ext uri="{FF2B5EF4-FFF2-40B4-BE49-F238E27FC236}">
                    <a16:creationId xmlns:a16="http://schemas.microsoft.com/office/drawing/2014/main" id="{EC5F22AB-4C4A-4951-BE9E-2F03CCEC8E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88" y="2196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7 w 8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" name="Freeform 630">
                <a:extLst>
                  <a:ext uri="{FF2B5EF4-FFF2-40B4-BE49-F238E27FC236}">
                    <a16:creationId xmlns:a16="http://schemas.microsoft.com/office/drawing/2014/main" id="{99F0F447-0B77-44E2-B306-37EF6343C0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5" y="2179"/>
                <a:ext cx="16" cy="9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4 h 4"/>
                  <a:gd name="T6" fmla="*/ 2 w 8"/>
                  <a:gd name="T7" fmla="*/ 4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" name="Freeform 631">
                <a:extLst>
                  <a:ext uri="{FF2B5EF4-FFF2-40B4-BE49-F238E27FC236}">
                    <a16:creationId xmlns:a16="http://schemas.microsoft.com/office/drawing/2014/main" id="{34FDFF70-6702-439B-9792-08186CBC79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2" y="2165"/>
                <a:ext cx="16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" name="Freeform 632">
                <a:extLst>
                  <a:ext uri="{FF2B5EF4-FFF2-40B4-BE49-F238E27FC236}">
                    <a16:creationId xmlns:a16="http://schemas.microsoft.com/office/drawing/2014/main" id="{A7E2417D-0114-45B9-A1A3-E04F45D01D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69" y="2148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" name="Freeform 633">
                <a:extLst>
                  <a:ext uri="{FF2B5EF4-FFF2-40B4-BE49-F238E27FC236}">
                    <a16:creationId xmlns:a16="http://schemas.microsoft.com/office/drawing/2014/main" id="{D4DCB728-B198-49D3-A2D6-D1B77C0708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6" y="2131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" name="Freeform 634">
                <a:extLst>
                  <a:ext uri="{FF2B5EF4-FFF2-40B4-BE49-F238E27FC236}">
                    <a16:creationId xmlns:a16="http://schemas.microsoft.com/office/drawing/2014/main" id="{E8F8456E-425C-4B2E-96AC-96EB90B275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3" y="2117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" name="Freeform 635">
                <a:extLst>
                  <a:ext uri="{FF2B5EF4-FFF2-40B4-BE49-F238E27FC236}">
                    <a16:creationId xmlns:a16="http://schemas.microsoft.com/office/drawing/2014/main" id="{32961775-3F88-4604-9900-91DD6DC4C8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0" y="210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" name="Freeform 636">
                <a:extLst>
                  <a:ext uri="{FF2B5EF4-FFF2-40B4-BE49-F238E27FC236}">
                    <a16:creationId xmlns:a16="http://schemas.microsoft.com/office/drawing/2014/main" id="{20EF64F5-A839-44AA-8445-741EAEFD2D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7" y="2086"/>
                <a:ext cx="16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" name="Freeform 637">
                <a:extLst>
                  <a:ext uri="{FF2B5EF4-FFF2-40B4-BE49-F238E27FC236}">
                    <a16:creationId xmlns:a16="http://schemas.microsoft.com/office/drawing/2014/main" id="{01B43BCC-224B-47BD-A328-CD9565E891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4" y="2069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" name="Freeform 638">
                <a:extLst>
                  <a:ext uri="{FF2B5EF4-FFF2-40B4-BE49-F238E27FC236}">
                    <a16:creationId xmlns:a16="http://schemas.microsoft.com/office/drawing/2014/main" id="{AAAC6CD3-C8A4-4B5A-89B4-E3A7F3DDCE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00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" name="Freeform 639">
                <a:extLst>
                  <a:ext uri="{FF2B5EF4-FFF2-40B4-BE49-F238E27FC236}">
                    <a16:creationId xmlns:a16="http://schemas.microsoft.com/office/drawing/2014/main" id="{2D63E09A-78F1-4A21-9528-5A060D74EB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99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" name="Freeform 640">
                <a:extLst>
                  <a:ext uri="{FF2B5EF4-FFF2-40B4-BE49-F238E27FC236}">
                    <a16:creationId xmlns:a16="http://schemas.microsoft.com/office/drawing/2014/main" id="{115CB408-7DFC-4D58-9DBF-4B8A9E170A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1" y="2054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" name="Freeform 641">
                <a:extLst>
                  <a:ext uri="{FF2B5EF4-FFF2-40B4-BE49-F238E27FC236}">
                    <a16:creationId xmlns:a16="http://schemas.microsoft.com/office/drawing/2014/main" id="{7F43D468-CF5A-43B6-B71A-978983DFD5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58" y="203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" name="Freeform 642">
                <a:extLst>
                  <a:ext uri="{FF2B5EF4-FFF2-40B4-BE49-F238E27FC236}">
                    <a16:creationId xmlns:a16="http://schemas.microsoft.com/office/drawing/2014/main" id="{5FF2384D-8860-4FAA-9783-2983EF44ED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2023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" name="Freeform 643">
                <a:extLst>
                  <a:ext uri="{FF2B5EF4-FFF2-40B4-BE49-F238E27FC236}">
                    <a16:creationId xmlns:a16="http://schemas.microsoft.com/office/drawing/2014/main" id="{178568C7-955D-40B3-B1FE-C9A9A0BA17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00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" name="Freeform 644">
                <a:extLst>
                  <a:ext uri="{FF2B5EF4-FFF2-40B4-BE49-F238E27FC236}">
                    <a16:creationId xmlns:a16="http://schemas.microsoft.com/office/drawing/2014/main" id="{076522B7-4051-44A6-B251-C1F6828F57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6" y="2100"/>
                <a:ext cx="16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7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" name="Freeform 645">
                <a:extLst>
                  <a:ext uri="{FF2B5EF4-FFF2-40B4-BE49-F238E27FC236}">
                    <a16:creationId xmlns:a16="http://schemas.microsoft.com/office/drawing/2014/main" id="{9B060691-A983-4A1F-9A0E-0066ACF0C4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3" y="2086"/>
                <a:ext cx="16" cy="8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4 h 4"/>
                  <a:gd name="T6" fmla="*/ 2 w 8"/>
                  <a:gd name="T7" fmla="*/ 4 h 4"/>
                  <a:gd name="T8" fmla="*/ 2 w 8"/>
                  <a:gd name="T9" fmla="*/ 1 h 4"/>
                  <a:gd name="T10" fmla="*/ 2 w 8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" name="Freeform 646">
                <a:extLst>
                  <a:ext uri="{FF2B5EF4-FFF2-40B4-BE49-F238E27FC236}">
                    <a16:creationId xmlns:a16="http://schemas.microsoft.com/office/drawing/2014/main" id="{6F62020D-A019-4BA8-9AEA-22ABE22DD1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0" y="2069"/>
                <a:ext cx="16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" name="Freeform 647">
                <a:extLst>
                  <a:ext uri="{FF2B5EF4-FFF2-40B4-BE49-F238E27FC236}">
                    <a16:creationId xmlns:a16="http://schemas.microsoft.com/office/drawing/2014/main" id="{5D03E346-544A-45FA-96EE-19687166EB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7" y="2054"/>
                <a:ext cx="16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" name="Freeform 648">
                <a:extLst>
                  <a:ext uri="{FF2B5EF4-FFF2-40B4-BE49-F238E27FC236}">
                    <a16:creationId xmlns:a16="http://schemas.microsoft.com/office/drawing/2014/main" id="{D0B17987-D301-40AD-9D7C-D5864E05BC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199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" name="Freeform 649">
                <a:extLst>
                  <a:ext uri="{FF2B5EF4-FFF2-40B4-BE49-F238E27FC236}">
                    <a16:creationId xmlns:a16="http://schemas.microsoft.com/office/drawing/2014/main" id="{79D16D6E-1840-4097-8941-B6A9EF2389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1975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" name="Freeform 650">
                <a:extLst>
                  <a:ext uri="{FF2B5EF4-FFF2-40B4-BE49-F238E27FC236}">
                    <a16:creationId xmlns:a16="http://schemas.microsoft.com/office/drawing/2014/main" id="{826681B0-FF67-41E3-A1CB-74292DB07B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4" y="203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" name="Freeform 651">
                <a:extLst>
                  <a:ext uri="{FF2B5EF4-FFF2-40B4-BE49-F238E27FC236}">
                    <a16:creationId xmlns:a16="http://schemas.microsoft.com/office/drawing/2014/main" id="{E8C3AB7E-A912-4FD4-945A-9BAA56677B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1" y="2023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" name="Freeform 652">
                <a:extLst>
                  <a:ext uri="{FF2B5EF4-FFF2-40B4-BE49-F238E27FC236}">
                    <a16:creationId xmlns:a16="http://schemas.microsoft.com/office/drawing/2014/main" id="{8571A98A-A690-4439-8C10-5518094EEB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58" y="200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" name="Freeform 653">
                <a:extLst>
                  <a:ext uri="{FF2B5EF4-FFF2-40B4-BE49-F238E27FC236}">
                    <a16:creationId xmlns:a16="http://schemas.microsoft.com/office/drawing/2014/main" id="{A04E2354-EEC2-4D26-B3C5-AF70D97643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1992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" name="Freeform 654">
                <a:extLst>
                  <a:ext uri="{FF2B5EF4-FFF2-40B4-BE49-F238E27FC236}">
                    <a16:creationId xmlns:a16="http://schemas.microsoft.com/office/drawing/2014/main" id="{AB5306AC-97C8-43E8-8D6B-84B7D5D266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1975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" name="Freeform 655">
                <a:extLst>
                  <a:ext uri="{FF2B5EF4-FFF2-40B4-BE49-F238E27FC236}">
                    <a16:creationId xmlns:a16="http://schemas.microsoft.com/office/drawing/2014/main" id="{A5534E1D-B7F3-4B6E-84BA-490744AF35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1961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" name="Freeform 656">
                <a:extLst>
                  <a:ext uri="{FF2B5EF4-FFF2-40B4-BE49-F238E27FC236}">
                    <a16:creationId xmlns:a16="http://schemas.microsoft.com/office/drawing/2014/main" id="{E6A83D82-F1D5-4E82-9284-B76ECA9E43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194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6 w 7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" name="Freeform 657">
                <a:extLst>
                  <a:ext uri="{FF2B5EF4-FFF2-40B4-BE49-F238E27FC236}">
                    <a16:creationId xmlns:a16="http://schemas.microsoft.com/office/drawing/2014/main" id="{A65F3F17-913F-4D4C-A776-1605F1F533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05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" name="Freeform 658">
                <a:extLst>
                  <a:ext uri="{FF2B5EF4-FFF2-40B4-BE49-F238E27FC236}">
                    <a16:creationId xmlns:a16="http://schemas.microsoft.com/office/drawing/2014/main" id="{83FD8A3C-7451-4196-832E-5B04717AEC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040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" name="Freeform 659">
                <a:extLst>
                  <a:ext uri="{FF2B5EF4-FFF2-40B4-BE49-F238E27FC236}">
                    <a16:creationId xmlns:a16="http://schemas.microsoft.com/office/drawing/2014/main" id="{D04825BC-4800-474D-B622-D98FF34C10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02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" name="Freeform 660">
                <a:extLst>
                  <a:ext uri="{FF2B5EF4-FFF2-40B4-BE49-F238E27FC236}">
                    <a16:creationId xmlns:a16="http://schemas.microsoft.com/office/drawing/2014/main" id="{E705F213-1C3C-4ED5-A0D8-FD8592B45E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00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" name="Freeform 661">
                <a:extLst>
                  <a:ext uri="{FF2B5EF4-FFF2-40B4-BE49-F238E27FC236}">
                    <a16:creationId xmlns:a16="http://schemas.microsoft.com/office/drawing/2014/main" id="{77AB8DCD-3729-4578-B4CC-AD70DFEA6F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992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" name="Freeform 662">
                <a:extLst>
                  <a:ext uri="{FF2B5EF4-FFF2-40B4-BE49-F238E27FC236}">
                    <a16:creationId xmlns:a16="http://schemas.microsoft.com/office/drawing/2014/main" id="{C3AF4185-3188-4B48-AC20-F3D386AF8B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97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" name="Freeform 663">
                <a:extLst>
                  <a:ext uri="{FF2B5EF4-FFF2-40B4-BE49-F238E27FC236}">
                    <a16:creationId xmlns:a16="http://schemas.microsoft.com/office/drawing/2014/main" id="{7FEDFA04-0C8B-4DFA-B6D3-76DA6F083E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96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" name="Freeform 664">
                <a:extLst>
                  <a:ext uri="{FF2B5EF4-FFF2-40B4-BE49-F238E27FC236}">
                    <a16:creationId xmlns:a16="http://schemas.microsoft.com/office/drawing/2014/main" id="{D5D35B29-1A9B-4EA5-B2EE-DF0647F19A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94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" name="Freeform 665">
                <a:extLst>
                  <a:ext uri="{FF2B5EF4-FFF2-40B4-BE49-F238E27FC236}">
                    <a16:creationId xmlns:a16="http://schemas.microsoft.com/office/drawing/2014/main" id="{987499BD-AB96-4840-9AE8-19EEA48585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93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" name="Freeform 666">
                <a:extLst>
                  <a:ext uri="{FF2B5EF4-FFF2-40B4-BE49-F238E27FC236}">
                    <a16:creationId xmlns:a16="http://schemas.microsoft.com/office/drawing/2014/main" id="{3B266BD7-4F02-4258-8C36-B3184FA07A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91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" name="Freeform 667">
                <a:extLst>
                  <a:ext uri="{FF2B5EF4-FFF2-40B4-BE49-F238E27FC236}">
                    <a16:creationId xmlns:a16="http://schemas.microsoft.com/office/drawing/2014/main" id="{F195FF4F-243E-4C79-A1B3-62C161C675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9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" name="Freeform 668">
                <a:extLst>
                  <a:ext uri="{FF2B5EF4-FFF2-40B4-BE49-F238E27FC236}">
                    <a16:creationId xmlns:a16="http://schemas.microsoft.com/office/drawing/2014/main" id="{7A719AAB-A64F-498B-8B51-AAE8D22E39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" name="Freeform 669">
                <a:extLst>
                  <a:ext uri="{FF2B5EF4-FFF2-40B4-BE49-F238E27FC236}">
                    <a16:creationId xmlns:a16="http://schemas.microsoft.com/office/drawing/2014/main" id="{CAA5B1F6-421B-4B75-A8C6-D6F69E1668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" name="Freeform 670">
                <a:extLst>
                  <a:ext uri="{FF2B5EF4-FFF2-40B4-BE49-F238E27FC236}">
                    <a16:creationId xmlns:a16="http://schemas.microsoft.com/office/drawing/2014/main" id="{D4D82AA8-9C2A-46B8-8C21-21BD7AC555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" name="Freeform 671">
                <a:extLst>
                  <a:ext uri="{FF2B5EF4-FFF2-40B4-BE49-F238E27FC236}">
                    <a16:creationId xmlns:a16="http://schemas.microsoft.com/office/drawing/2014/main" id="{2F9E8882-755D-40A4-B84F-96DBDA29A2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" name="Freeform 672">
                <a:extLst>
                  <a:ext uri="{FF2B5EF4-FFF2-40B4-BE49-F238E27FC236}">
                    <a16:creationId xmlns:a16="http://schemas.microsoft.com/office/drawing/2014/main" id="{283FFE1F-4AB5-40C8-A296-2674D75190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" name="Freeform 673">
                <a:extLst>
                  <a:ext uri="{FF2B5EF4-FFF2-40B4-BE49-F238E27FC236}">
                    <a16:creationId xmlns:a16="http://schemas.microsoft.com/office/drawing/2014/main" id="{A22EB72F-EE02-4157-88C1-2DC1407EFA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0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8" name="Freeform 674">
                <a:extLst>
                  <a:ext uri="{FF2B5EF4-FFF2-40B4-BE49-F238E27FC236}">
                    <a16:creationId xmlns:a16="http://schemas.microsoft.com/office/drawing/2014/main" id="{4D7FE887-AD02-47F3-8C03-15436BC54D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040"/>
                <a:ext cx="15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9" name="Freeform 675">
                <a:extLst>
                  <a:ext uri="{FF2B5EF4-FFF2-40B4-BE49-F238E27FC236}">
                    <a16:creationId xmlns:a16="http://schemas.microsoft.com/office/drawing/2014/main" id="{9A8BE1D8-E36F-4A04-8F59-6217CBBD14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02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0" name="Freeform 676">
                <a:extLst>
                  <a:ext uri="{FF2B5EF4-FFF2-40B4-BE49-F238E27FC236}">
                    <a16:creationId xmlns:a16="http://schemas.microsoft.com/office/drawing/2014/main" id="{A2D4A748-EC39-47FC-95DB-010009624B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00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1" name="Freeform 677">
                <a:extLst>
                  <a:ext uri="{FF2B5EF4-FFF2-40B4-BE49-F238E27FC236}">
                    <a16:creationId xmlns:a16="http://schemas.microsoft.com/office/drawing/2014/main" id="{033CD23A-7F2C-4F88-A1E3-B217ECC81F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992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2" name="Freeform 678">
                <a:extLst>
                  <a:ext uri="{FF2B5EF4-FFF2-40B4-BE49-F238E27FC236}">
                    <a16:creationId xmlns:a16="http://schemas.microsoft.com/office/drawing/2014/main" id="{5A9F188D-C322-43BD-BAAB-4A4E6B446C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3" name="Freeform 679">
                <a:extLst>
                  <a:ext uri="{FF2B5EF4-FFF2-40B4-BE49-F238E27FC236}">
                    <a16:creationId xmlns:a16="http://schemas.microsoft.com/office/drawing/2014/main" id="{A349AF69-515E-42AA-AA6F-19A3891060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96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4" name="Freeform 680">
                <a:extLst>
                  <a:ext uri="{FF2B5EF4-FFF2-40B4-BE49-F238E27FC236}">
                    <a16:creationId xmlns:a16="http://schemas.microsoft.com/office/drawing/2014/main" id="{563FD22B-81EE-4F2F-9646-0486E8E8EF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94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5" name="Freeform 681">
                <a:extLst>
                  <a:ext uri="{FF2B5EF4-FFF2-40B4-BE49-F238E27FC236}">
                    <a16:creationId xmlns:a16="http://schemas.microsoft.com/office/drawing/2014/main" id="{C0CD319D-E5E8-48D8-B438-798D9341B6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930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6" name="Freeform 682">
                <a:extLst>
                  <a:ext uri="{FF2B5EF4-FFF2-40B4-BE49-F238E27FC236}">
                    <a16:creationId xmlns:a16="http://schemas.microsoft.com/office/drawing/2014/main" id="{AE9BEBF8-C64A-4722-B315-4F3997317E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91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7" name="Freeform 683">
                <a:extLst>
                  <a:ext uri="{FF2B5EF4-FFF2-40B4-BE49-F238E27FC236}">
                    <a16:creationId xmlns:a16="http://schemas.microsoft.com/office/drawing/2014/main" id="{D68DE6CA-CC1E-4A94-BA38-76BF8D97AE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9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8" name="Freeform 684">
                <a:extLst>
                  <a:ext uri="{FF2B5EF4-FFF2-40B4-BE49-F238E27FC236}">
                    <a16:creationId xmlns:a16="http://schemas.microsoft.com/office/drawing/2014/main" id="{7E5D9243-DDAF-4FB5-B148-777B680B87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9" name="Freeform 685">
                <a:extLst>
                  <a:ext uri="{FF2B5EF4-FFF2-40B4-BE49-F238E27FC236}">
                    <a16:creationId xmlns:a16="http://schemas.microsoft.com/office/drawing/2014/main" id="{620A6001-5134-4A93-BABD-CFE05619ED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0" name="Freeform 686">
                <a:extLst>
                  <a:ext uri="{FF2B5EF4-FFF2-40B4-BE49-F238E27FC236}">
                    <a16:creationId xmlns:a16="http://schemas.microsoft.com/office/drawing/2014/main" id="{56A18869-3E48-4B06-A570-5D28E4AC06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1" name="Freeform 687">
                <a:extLst>
                  <a:ext uri="{FF2B5EF4-FFF2-40B4-BE49-F238E27FC236}">
                    <a16:creationId xmlns:a16="http://schemas.microsoft.com/office/drawing/2014/main" id="{334859B7-FBE4-4E8E-95B8-C9602ED9B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2" name="Freeform 688">
                <a:extLst>
                  <a:ext uri="{FF2B5EF4-FFF2-40B4-BE49-F238E27FC236}">
                    <a16:creationId xmlns:a16="http://schemas.microsoft.com/office/drawing/2014/main" id="{DA017B69-55A6-4DE4-ABDC-9AAC343391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3" name="Freeform 689">
                <a:extLst>
                  <a:ext uri="{FF2B5EF4-FFF2-40B4-BE49-F238E27FC236}">
                    <a16:creationId xmlns:a16="http://schemas.microsoft.com/office/drawing/2014/main" id="{28898B0D-2C3F-4F5F-9B75-1C44010D45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4" name="Freeform 690">
                <a:extLst>
                  <a:ext uri="{FF2B5EF4-FFF2-40B4-BE49-F238E27FC236}">
                    <a16:creationId xmlns:a16="http://schemas.microsoft.com/office/drawing/2014/main" id="{453296B5-D8C9-40A2-9A0D-BAD1193BF8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5" name="Freeform 691">
                <a:extLst>
                  <a:ext uri="{FF2B5EF4-FFF2-40B4-BE49-F238E27FC236}">
                    <a16:creationId xmlns:a16="http://schemas.microsoft.com/office/drawing/2014/main" id="{4EA45A8F-D662-490F-A0C0-4A52FB8D69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023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6" name="Freeform 692">
                <a:extLst>
                  <a:ext uri="{FF2B5EF4-FFF2-40B4-BE49-F238E27FC236}">
                    <a16:creationId xmlns:a16="http://schemas.microsoft.com/office/drawing/2014/main" id="{26568387-0EAB-4EFA-A6E7-1C293C2D97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00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7" name="Freeform 693">
                <a:extLst>
                  <a:ext uri="{FF2B5EF4-FFF2-40B4-BE49-F238E27FC236}">
                    <a16:creationId xmlns:a16="http://schemas.microsoft.com/office/drawing/2014/main" id="{BDAA55DA-A711-4FCA-9D1C-01EF0F8F7D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992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8" name="Freeform 694">
                <a:extLst>
                  <a:ext uri="{FF2B5EF4-FFF2-40B4-BE49-F238E27FC236}">
                    <a16:creationId xmlns:a16="http://schemas.microsoft.com/office/drawing/2014/main" id="{ADBB9262-B733-4809-BC1B-2B657A555C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9" name="Freeform 695">
                <a:extLst>
                  <a:ext uri="{FF2B5EF4-FFF2-40B4-BE49-F238E27FC236}">
                    <a16:creationId xmlns:a16="http://schemas.microsoft.com/office/drawing/2014/main" id="{01C57E4E-7327-4738-A5C3-6ADA963CDE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96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0" name="Freeform 696">
                <a:extLst>
                  <a:ext uri="{FF2B5EF4-FFF2-40B4-BE49-F238E27FC236}">
                    <a16:creationId xmlns:a16="http://schemas.microsoft.com/office/drawing/2014/main" id="{11F78A54-4042-4C2E-93D0-870691F0C3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946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1" name="Freeform 697">
                <a:extLst>
                  <a:ext uri="{FF2B5EF4-FFF2-40B4-BE49-F238E27FC236}">
                    <a16:creationId xmlns:a16="http://schemas.microsoft.com/office/drawing/2014/main" id="{7A66CE22-40AD-46D4-BBB3-472D0D353A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93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2" name="Freeform 698">
                <a:extLst>
                  <a:ext uri="{FF2B5EF4-FFF2-40B4-BE49-F238E27FC236}">
                    <a16:creationId xmlns:a16="http://schemas.microsoft.com/office/drawing/2014/main" id="{6044977C-946D-4FF8-92F4-852ABE4C50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915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3" name="Freeform 699">
                <a:extLst>
                  <a:ext uri="{FF2B5EF4-FFF2-40B4-BE49-F238E27FC236}">
                    <a16:creationId xmlns:a16="http://schemas.microsoft.com/office/drawing/2014/main" id="{E59B4CB4-8BCF-4D28-8C61-633D6210C5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9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4" name="Freeform 700">
                <a:extLst>
                  <a:ext uri="{FF2B5EF4-FFF2-40B4-BE49-F238E27FC236}">
                    <a16:creationId xmlns:a16="http://schemas.microsoft.com/office/drawing/2014/main" id="{F5D1E58C-3D69-4FF0-A9B4-0F214713FC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5" name="Freeform 701">
                <a:extLst>
                  <a:ext uri="{FF2B5EF4-FFF2-40B4-BE49-F238E27FC236}">
                    <a16:creationId xmlns:a16="http://schemas.microsoft.com/office/drawing/2014/main" id="{ABA97313-018A-4BFB-BA43-7E6C17DE23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6" name="Freeform 702">
                <a:extLst>
                  <a:ext uri="{FF2B5EF4-FFF2-40B4-BE49-F238E27FC236}">
                    <a16:creationId xmlns:a16="http://schemas.microsoft.com/office/drawing/2014/main" id="{593D04CC-03E0-415E-A67F-31B20DAB49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7" name="Freeform 703">
                <a:extLst>
                  <a:ext uri="{FF2B5EF4-FFF2-40B4-BE49-F238E27FC236}">
                    <a16:creationId xmlns:a16="http://schemas.microsoft.com/office/drawing/2014/main" id="{38864167-DBAB-489A-8E63-0FAFF74B14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8" name="Freeform 704">
                <a:extLst>
                  <a:ext uri="{FF2B5EF4-FFF2-40B4-BE49-F238E27FC236}">
                    <a16:creationId xmlns:a16="http://schemas.microsoft.com/office/drawing/2014/main" id="{95EC799B-7793-404F-9E68-E825B7F3AE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9" name="Freeform 705">
                <a:extLst>
                  <a:ext uri="{FF2B5EF4-FFF2-40B4-BE49-F238E27FC236}">
                    <a16:creationId xmlns:a16="http://schemas.microsoft.com/office/drawing/2014/main" id="{237457B4-88B8-4DB5-8BC9-52EE179275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0" name="Freeform 706">
                <a:extLst>
                  <a:ext uri="{FF2B5EF4-FFF2-40B4-BE49-F238E27FC236}">
                    <a16:creationId xmlns:a16="http://schemas.microsoft.com/office/drawing/2014/main" id="{FB95279E-49CA-4BC9-A244-5AA414371F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1" name="Freeform 707">
                <a:extLst>
                  <a:ext uri="{FF2B5EF4-FFF2-40B4-BE49-F238E27FC236}">
                    <a16:creationId xmlns:a16="http://schemas.microsoft.com/office/drawing/2014/main" id="{02E5394C-21D2-43A6-8CDC-2AD4CB25B6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77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2" name="Freeform 708">
                <a:extLst>
                  <a:ext uri="{FF2B5EF4-FFF2-40B4-BE49-F238E27FC236}">
                    <a16:creationId xmlns:a16="http://schemas.microsoft.com/office/drawing/2014/main" id="{19227A47-C7FD-4302-B2AF-5CA6FA9AD7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009"/>
                <a:ext cx="15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3" name="Freeform 709">
                <a:extLst>
                  <a:ext uri="{FF2B5EF4-FFF2-40B4-BE49-F238E27FC236}">
                    <a16:creationId xmlns:a16="http://schemas.microsoft.com/office/drawing/2014/main" id="{8BE8FBF6-1E51-4285-AF7E-1441B14A9D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992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4" name="Freeform 710">
                <a:extLst>
                  <a:ext uri="{FF2B5EF4-FFF2-40B4-BE49-F238E27FC236}">
                    <a16:creationId xmlns:a16="http://schemas.microsoft.com/office/drawing/2014/main" id="{CC529522-6104-47BB-BAC2-4A2BF6C0D5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5" name="Freeform 711">
                <a:extLst>
                  <a:ext uri="{FF2B5EF4-FFF2-40B4-BE49-F238E27FC236}">
                    <a16:creationId xmlns:a16="http://schemas.microsoft.com/office/drawing/2014/main" id="{D61B2EA8-83F3-4D79-8B2C-4E300CE355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96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6" name="Freeform 712">
                <a:extLst>
                  <a:ext uri="{FF2B5EF4-FFF2-40B4-BE49-F238E27FC236}">
                    <a16:creationId xmlns:a16="http://schemas.microsoft.com/office/drawing/2014/main" id="{95A77783-1D7B-47F2-9EC7-941CA78D0C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946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7" name="Freeform 713">
                <a:extLst>
                  <a:ext uri="{FF2B5EF4-FFF2-40B4-BE49-F238E27FC236}">
                    <a16:creationId xmlns:a16="http://schemas.microsoft.com/office/drawing/2014/main" id="{5BEC3F6A-972D-4296-9A35-4A48E45C0B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8" name="Freeform 714">
                <a:extLst>
                  <a:ext uri="{FF2B5EF4-FFF2-40B4-BE49-F238E27FC236}">
                    <a16:creationId xmlns:a16="http://schemas.microsoft.com/office/drawing/2014/main" id="{F0BA8F22-95F2-44F6-B5DE-D38664331C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915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9" name="Freeform 715">
                <a:extLst>
                  <a:ext uri="{FF2B5EF4-FFF2-40B4-BE49-F238E27FC236}">
                    <a16:creationId xmlns:a16="http://schemas.microsoft.com/office/drawing/2014/main" id="{A7370C12-94F5-4B77-86A3-EBBFDE6A9E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9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0" name="Freeform 716">
                <a:extLst>
                  <a:ext uri="{FF2B5EF4-FFF2-40B4-BE49-F238E27FC236}">
                    <a16:creationId xmlns:a16="http://schemas.microsoft.com/office/drawing/2014/main" id="{966BC450-A081-4C9B-BAAC-DAC28778D5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1" name="Freeform 717">
                <a:extLst>
                  <a:ext uri="{FF2B5EF4-FFF2-40B4-BE49-F238E27FC236}">
                    <a16:creationId xmlns:a16="http://schemas.microsoft.com/office/drawing/2014/main" id="{60A45A92-4043-4DE3-8674-BF2CEB3DF1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67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2" name="Freeform 718">
                <a:extLst>
                  <a:ext uri="{FF2B5EF4-FFF2-40B4-BE49-F238E27FC236}">
                    <a16:creationId xmlns:a16="http://schemas.microsoft.com/office/drawing/2014/main" id="{42AEF45B-7BB3-44AB-8DED-659FB754CF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3" name="Freeform 719">
                <a:extLst>
                  <a:ext uri="{FF2B5EF4-FFF2-40B4-BE49-F238E27FC236}">
                    <a16:creationId xmlns:a16="http://schemas.microsoft.com/office/drawing/2014/main" id="{CC268156-14FD-42F3-9E22-853CF5DB2A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4" name="Freeform 720">
                <a:extLst>
                  <a:ext uri="{FF2B5EF4-FFF2-40B4-BE49-F238E27FC236}">
                    <a16:creationId xmlns:a16="http://schemas.microsoft.com/office/drawing/2014/main" id="{A7E8A062-2E2C-4F39-AB0A-64AAE85A73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5" name="Freeform 721">
                <a:extLst>
                  <a:ext uri="{FF2B5EF4-FFF2-40B4-BE49-F238E27FC236}">
                    <a16:creationId xmlns:a16="http://schemas.microsoft.com/office/drawing/2014/main" id="{4D3F2685-96B5-4876-955D-AAA865CE62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6" name="Freeform 722">
                <a:extLst>
                  <a:ext uri="{FF2B5EF4-FFF2-40B4-BE49-F238E27FC236}">
                    <a16:creationId xmlns:a16="http://schemas.microsoft.com/office/drawing/2014/main" id="{A73C507E-39E5-404B-B664-AF930B1EBF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7" name="Freeform 723">
                <a:extLst>
                  <a:ext uri="{FF2B5EF4-FFF2-40B4-BE49-F238E27FC236}">
                    <a16:creationId xmlns:a16="http://schemas.microsoft.com/office/drawing/2014/main" id="{A33A4DB5-22C9-4CA3-94BE-F2AF09DCF3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77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8" name="Freeform 724">
                <a:extLst>
                  <a:ext uri="{FF2B5EF4-FFF2-40B4-BE49-F238E27FC236}">
                    <a16:creationId xmlns:a16="http://schemas.microsoft.com/office/drawing/2014/main" id="{D7E94CD5-DC8A-46E8-94C3-059A2095BB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75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29" name="Freeform 725">
                <a:extLst>
                  <a:ext uri="{FF2B5EF4-FFF2-40B4-BE49-F238E27FC236}">
                    <a16:creationId xmlns:a16="http://schemas.microsoft.com/office/drawing/2014/main" id="{BB9CB4B9-9399-4719-9C73-E6AFA8ACFC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992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0" name="Freeform 726">
                <a:extLst>
                  <a:ext uri="{FF2B5EF4-FFF2-40B4-BE49-F238E27FC236}">
                    <a16:creationId xmlns:a16="http://schemas.microsoft.com/office/drawing/2014/main" id="{AD385510-0A3F-4BFE-8012-6C89D4A85F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978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1" name="Freeform 727">
                <a:extLst>
                  <a:ext uri="{FF2B5EF4-FFF2-40B4-BE49-F238E27FC236}">
                    <a16:creationId xmlns:a16="http://schemas.microsoft.com/office/drawing/2014/main" id="{907C0490-7D50-4064-B5A7-A036B4C4F7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96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2" name="Freeform 728">
                <a:extLst>
                  <a:ext uri="{FF2B5EF4-FFF2-40B4-BE49-F238E27FC236}">
                    <a16:creationId xmlns:a16="http://schemas.microsoft.com/office/drawing/2014/main" id="{0BB8E48B-B441-4B9A-84EC-F66DE85A60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946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3" name="Freeform 729">
                <a:extLst>
                  <a:ext uri="{FF2B5EF4-FFF2-40B4-BE49-F238E27FC236}">
                    <a16:creationId xmlns:a16="http://schemas.microsoft.com/office/drawing/2014/main" id="{E6E3D6C4-6BB3-428F-9DD8-1394D26EF1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4" name="Freeform 730">
                <a:extLst>
                  <a:ext uri="{FF2B5EF4-FFF2-40B4-BE49-F238E27FC236}">
                    <a16:creationId xmlns:a16="http://schemas.microsoft.com/office/drawing/2014/main" id="{46543EED-8A9B-47DE-BFC5-908F835CD5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915"/>
                <a:ext cx="15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5" name="Freeform 731">
                <a:extLst>
                  <a:ext uri="{FF2B5EF4-FFF2-40B4-BE49-F238E27FC236}">
                    <a16:creationId xmlns:a16="http://schemas.microsoft.com/office/drawing/2014/main" id="{D389F46C-9B83-4EA9-951F-556F8910FD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6" name="Freeform 732">
                <a:extLst>
                  <a:ext uri="{FF2B5EF4-FFF2-40B4-BE49-F238E27FC236}">
                    <a16:creationId xmlns:a16="http://schemas.microsoft.com/office/drawing/2014/main" id="{ADE09D6B-B910-47B2-BD62-4601CE6C1F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7" name="Freeform 733">
                <a:extLst>
                  <a:ext uri="{FF2B5EF4-FFF2-40B4-BE49-F238E27FC236}">
                    <a16:creationId xmlns:a16="http://schemas.microsoft.com/office/drawing/2014/main" id="{31A38100-F8E2-43D8-9644-E97F713E01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6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8" name="Freeform 734">
                <a:extLst>
                  <a:ext uri="{FF2B5EF4-FFF2-40B4-BE49-F238E27FC236}">
                    <a16:creationId xmlns:a16="http://schemas.microsoft.com/office/drawing/2014/main" id="{876C7239-AFA0-48C1-BED5-7000CA98C8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9" name="Freeform 735">
                <a:extLst>
                  <a:ext uri="{FF2B5EF4-FFF2-40B4-BE49-F238E27FC236}">
                    <a16:creationId xmlns:a16="http://schemas.microsoft.com/office/drawing/2014/main" id="{35EBA68F-ADC8-46E9-89E5-B965915000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36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0" name="Freeform 736">
                <a:extLst>
                  <a:ext uri="{FF2B5EF4-FFF2-40B4-BE49-F238E27FC236}">
                    <a16:creationId xmlns:a16="http://schemas.microsoft.com/office/drawing/2014/main" id="{2C95D609-4CFF-4828-AD1B-98C64BCE1F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820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1" name="Freeform 737">
                <a:extLst>
                  <a:ext uri="{FF2B5EF4-FFF2-40B4-BE49-F238E27FC236}">
                    <a16:creationId xmlns:a16="http://schemas.microsoft.com/office/drawing/2014/main" id="{5FF93566-5DE4-484D-B84F-85EC4A042E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805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2" name="Freeform 738">
                <a:extLst>
                  <a:ext uri="{FF2B5EF4-FFF2-40B4-BE49-F238E27FC236}">
                    <a16:creationId xmlns:a16="http://schemas.microsoft.com/office/drawing/2014/main" id="{CC0AF085-8F77-4BE4-A862-303F56A58B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788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3" name="Freeform 739">
                <a:extLst>
                  <a:ext uri="{FF2B5EF4-FFF2-40B4-BE49-F238E27FC236}">
                    <a16:creationId xmlns:a16="http://schemas.microsoft.com/office/drawing/2014/main" id="{51B4DC4D-EB9B-479F-BC58-CE6D715338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774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4" name="Freeform 740">
                <a:extLst>
                  <a:ext uri="{FF2B5EF4-FFF2-40B4-BE49-F238E27FC236}">
                    <a16:creationId xmlns:a16="http://schemas.microsoft.com/office/drawing/2014/main" id="{24D5C1D1-96E5-474B-AB4B-EDB9CACD50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757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5" name="Freeform 741">
                <a:extLst>
                  <a:ext uri="{FF2B5EF4-FFF2-40B4-BE49-F238E27FC236}">
                    <a16:creationId xmlns:a16="http://schemas.microsoft.com/office/drawing/2014/main" id="{4A589BAF-0F3F-4A63-A766-D850146FAC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743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6" name="Freeform 742">
                <a:extLst>
                  <a:ext uri="{FF2B5EF4-FFF2-40B4-BE49-F238E27FC236}">
                    <a16:creationId xmlns:a16="http://schemas.microsoft.com/office/drawing/2014/main" id="{6869132C-978C-4538-B02B-1B22B28647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975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7" name="Freeform 743">
                <a:extLst>
                  <a:ext uri="{FF2B5EF4-FFF2-40B4-BE49-F238E27FC236}">
                    <a16:creationId xmlns:a16="http://schemas.microsoft.com/office/drawing/2014/main" id="{4B11CF5D-5666-409B-8B55-FC36B83FC1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961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8" name="Freeform 744">
                <a:extLst>
                  <a:ext uri="{FF2B5EF4-FFF2-40B4-BE49-F238E27FC236}">
                    <a16:creationId xmlns:a16="http://schemas.microsoft.com/office/drawing/2014/main" id="{46D4C135-515A-4C50-9BD3-425ECA2447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94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9" name="Freeform 745">
                <a:extLst>
                  <a:ext uri="{FF2B5EF4-FFF2-40B4-BE49-F238E27FC236}">
                    <a16:creationId xmlns:a16="http://schemas.microsoft.com/office/drawing/2014/main" id="{2581A8E9-E61A-4AD5-90AE-B6551030B2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0" name="Freeform 746">
                <a:extLst>
                  <a:ext uri="{FF2B5EF4-FFF2-40B4-BE49-F238E27FC236}">
                    <a16:creationId xmlns:a16="http://schemas.microsoft.com/office/drawing/2014/main" id="{21134E24-D190-4627-97E0-1123DBC19B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91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1" name="Freeform 747">
                <a:extLst>
                  <a:ext uri="{FF2B5EF4-FFF2-40B4-BE49-F238E27FC236}">
                    <a16:creationId xmlns:a16="http://schemas.microsoft.com/office/drawing/2014/main" id="{4C4B6D55-4017-42F1-B12A-083ECA1B11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2" name="Freeform 748">
                <a:extLst>
                  <a:ext uri="{FF2B5EF4-FFF2-40B4-BE49-F238E27FC236}">
                    <a16:creationId xmlns:a16="http://schemas.microsoft.com/office/drawing/2014/main" id="{9338C032-3561-4DF1-927B-9D16B903C6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3" name="Freeform 749">
                <a:extLst>
                  <a:ext uri="{FF2B5EF4-FFF2-40B4-BE49-F238E27FC236}">
                    <a16:creationId xmlns:a16="http://schemas.microsoft.com/office/drawing/2014/main" id="{118C7B15-D3CC-4DD8-83CC-78E92F3885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4" name="Freeform 750">
                <a:extLst>
                  <a:ext uri="{FF2B5EF4-FFF2-40B4-BE49-F238E27FC236}">
                    <a16:creationId xmlns:a16="http://schemas.microsoft.com/office/drawing/2014/main" id="{0C8831D2-8D39-4456-998A-BC89741B9F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5" name="Freeform 751">
                <a:extLst>
                  <a:ext uri="{FF2B5EF4-FFF2-40B4-BE49-F238E27FC236}">
                    <a16:creationId xmlns:a16="http://schemas.microsoft.com/office/drawing/2014/main" id="{4D239948-7A6B-4DA3-A37E-64E8F0534B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3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6" name="Freeform 752">
                <a:extLst>
                  <a:ext uri="{FF2B5EF4-FFF2-40B4-BE49-F238E27FC236}">
                    <a16:creationId xmlns:a16="http://schemas.microsoft.com/office/drawing/2014/main" id="{93759305-D69C-4643-B0E8-B581F27BC8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820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7" name="Freeform 753">
                <a:extLst>
                  <a:ext uri="{FF2B5EF4-FFF2-40B4-BE49-F238E27FC236}">
                    <a16:creationId xmlns:a16="http://schemas.microsoft.com/office/drawing/2014/main" id="{184EF2D0-2121-49A4-8EC8-DE7E610972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80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8" name="Freeform 754">
                <a:extLst>
                  <a:ext uri="{FF2B5EF4-FFF2-40B4-BE49-F238E27FC236}">
                    <a16:creationId xmlns:a16="http://schemas.microsoft.com/office/drawing/2014/main" id="{8D5D9440-9D44-45C2-B768-0734D9EA80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788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9" name="Freeform 755">
                <a:extLst>
                  <a:ext uri="{FF2B5EF4-FFF2-40B4-BE49-F238E27FC236}">
                    <a16:creationId xmlns:a16="http://schemas.microsoft.com/office/drawing/2014/main" id="{0F744236-6703-485F-B7A8-ADA5C5E7D7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77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0" name="Freeform 756">
                <a:extLst>
                  <a:ext uri="{FF2B5EF4-FFF2-40B4-BE49-F238E27FC236}">
                    <a16:creationId xmlns:a16="http://schemas.microsoft.com/office/drawing/2014/main" id="{C2DCFEDB-917D-4620-AF00-04C1DC26AF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75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1" name="Freeform 757">
                <a:extLst>
                  <a:ext uri="{FF2B5EF4-FFF2-40B4-BE49-F238E27FC236}">
                    <a16:creationId xmlns:a16="http://schemas.microsoft.com/office/drawing/2014/main" id="{BFE995C9-A7F6-429F-AE8F-FF3A89DF48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2" name="Freeform 758">
                <a:extLst>
                  <a:ext uri="{FF2B5EF4-FFF2-40B4-BE49-F238E27FC236}">
                    <a16:creationId xmlns:a16="http://schemas.microsoft.com/office/drawing/2014/main" id="{9419EE74-43E2-4B01-9506-44DD9DF1B8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3" name="Freeform 759">
                <a:extLst>
                  <a:ext uri="{FF2B5EF4-FFF2-40B4-BE49-F238E27FC236}">
                    <a16:creationId xmlns:a16="http://schemas.microsoft.com/office/drawing/2014/main" id="{0F28635D-5118-4295-ACF6-0FC9CD465B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961"/>
                <a:ext cx="15" cy="8"/>
              </a:xfrm>
              <a:custGeom>
                <a:avLst/>
                <a:gdLst>
                  <a:gd name="T0" fmla="*/ 1 w 7"/>
                  <a:gd name="T1" fmla="*/ 1 h 4"/>
                  <a:gd name="T2" fmla="*/ 6 w 7"/>
                  <a:gd name="T3" fmla="*/ 1 h 4"/>
                  <a:gd name="T4" fmla="*/ 6 w 7"/>
                  <a:gd name="T5" fmla="*/ 4 h 4"/>
                  <a:gd name="T6" fmla="*/ 1 w 7"/>
                  <a:gd name="T7" fmla="*/ 4 h 4"/>
                  <a:gd name="T8" fmla="*/ 1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4" name="Freeform 760">
                <a:extLst>
                  <a:ext uri="{FF2B5EF4-FFF2-40B4-BE49-F238E27FC236}">
                    <a16:creationId xmlns:a16="http://schemas.microsoft.com/office/drawing/2014/main" id="{0D31E8AD-CA8D-4DBF-A500-A5125162C3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944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5" name="Freeform 761">
                <a:extLst>
                  <a:ext uri="{FF2B5EF4-FFF2-40B4-BE49-F238E27FC236}">
                    <a16:creationId xmlns:a16="http://schemas.microsoft.com/office/drawing/2014/main" id="{CFA7DCEF-5B53-42F3-8F91-7BA7E4CE61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6" name="Freeform 762">
                <a:extLst>
                  <a:ext uri="{FF2B5EF4-FFF2-40B4-BE49-F238E27FC236}">
                    <a16:creationId xmlns:a16="http://schemas.microsoft.com/office/drawing/2014/main" id="{F616D407-0902-4D77-B252-C8B804B830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91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7" name="Freeform 763">
                <a:extLst>
                  <a:ext uri="{FF2B5EF4-FFF2-40B4-BE49-F238E27FC236}">
                    <a16:creationId xmlns:a16="http://schemas.microsoft.com/office/drawing/2014/main" id="{8893F016-0FFE-49AA-86A9-371858F6E3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8" name="Freeform 764">
                <a:extLst>
                  <a:ext uri="{FF2B5EF4-FFF2-40B4-BE49-F238E27FC236}">
                    <a16:creationId xmlns:a16="http://schemas.microsoft.com/office/drawing/2014/main" id="{C1E4B47A-8656-4029-B90F-B989D13392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9" name="Freeform 765">
                <a:extLst>
                  <a:ext uri="{FF2B5EF4-FFF2-40B4-BE49-F238E27FC236}">
                    <a16:creationId xmlns:a16="http://schemas.microsoft.com/office/drawing/2014/main" id="{F5AD0B6A-8C02-455B-9B13-7CD1E57DC3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0" name="Freeform 766">
                <a:extLst>
                  <a:ext uri="{FF2B5EF4-FFF2-40B4-BE49-F238E27FC236}">
                    <a16:creationId xmlns:a16="http://schemas.microsoft.com/office/drawing/2014/main" id="{F195C4A1-2584-450D-8953-41AE4432EB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1" name="Freeform 767">
                <a:extLst>
                  <a:ext uri="{FF2B5EF4-FFF2-40B4-BE49-F238E27FC236}">
                    <a16:creationId xmlns:a16="http://schemas.microsoft.com/office/drawing/2014/main" id="{9749B8CF-F2EB-4038-B6DA-EBE731FFFD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3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2" name="Freeform 768">
                <a:extLst>
                  <a:ext uri="{FF2B5EF4-FFF2-40B4-BE49-F238E27FC236}">
                    <a16:creationId xmlns:a16="http://schemas.microsoft.com/office/drawing/2014/main" id="{4A5810CF-7946-4E62-A95E-E81ED274D1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82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3" name="Freeform 769">
                <a:extLst>
                  <a:ext uri="{FF2B5EF4-FFF2-40B4-BE49-F238E27FC236}">
                    <a16:creationId xmlns:a16="http://schemas.microsoft.com/office/drawing/2014/main" id="{C0EF8604-D1CC-466B-99BA-F4D519BB3B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80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4" name="Freeform 770">
                <a:extLst>
                  <a:ext uri="{FF2B5EF4-FFF2-40B4-BE49-F238E27FC236}">
                    <a16:creationId xmlns:a16="http://schemas.microsoft.com/office/drawing/2014/main" id="{22DCD3F1-6779-4B1B-8ADD-A012250322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788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5" name="Freeform 771">
                <a:extLst>
                  <a:ext uri="{FF2B5EF4-FFF2-40B4-BE49-F238E27FC236}">
                    <a16:creationId xmlns:a16="http://schemas.microsoft.com/office/drawing/2014/main" id="{8EE4D408-CCCD-487E-839D-95859126F5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77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6" name="Freeform 772">
                <a:extLst>
                  <a:ext uri="{FF2B5EF4-FFF2-40B4-BE49-F238E27FC236}">
                    <a16:creationId xmlns:a16="http://schemas.microsoft.com/office/drawing/2014/main" id="{6615A197-F0C7-4D3F-B503-8D55794168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75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7" name="Freeform 773">
                <a:extLst>
                  <a:ext uri="{FF2B5EF4-FFF2-40B4-BE49-F238E27FC236}">
                    <a16:creationId xmlns:a16="http://schemas.microsoft.com/office/drawing/2014/main" id="{62F208BE-638E-427E-A0A8-18B511F1EF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8" name="Freeform 774">
                <a:extLst>
                  <a:ext uri="{FF2B5EF4-FFF2-40B4-BE49-F238E27FC236}">
                    <a16:creationId xmlns:a16="http://schemas.microsoft.com/office/drawing/2014/main" id="{FC850F5D-8A68-4F6D-A6B9-CFE2123D9E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9" name="Freeform 775">
                <a:extLst>
                  <a:ext uri="{FF2B5EF4-FFF2-40B4-BE49-F238E27FC236}">
                    <a16:creationId xmlns:a16="http://schemas.microsoft.com/office/drawing/2014/main" id="{C905718E-7548-4315-B57D-C1E2E4FCC2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71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0" name="Freeform 776">
                <a:extLst>
                  <a:ext uri="{FF2B5EF4-FFF2-40B4-BE49-F238E27FC236}">
                    <a16:creationId xmlns:a16="http://schemas.microsoft.com/office/drawing/2014/main" id="{EC56B1F6-AB39-4EE2-A9AC-2BDDF6D1CD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1944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1" name="Freeform 777">
                <a:extLst>
                  <a:ext uri="{FF2B5EF4-FFF2-40B4-BE49-F238E27FC236}">
                    <a16:creationId xmlns:a16="http://schemas.microsoft.com/office/drawing/2014/main" id="{F473B957-F992-4646-A252-E5486628C3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930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2" name="Freeform 778">
                <a:extLst>
                  <a:ext uri="{FF2B5EF4-FFF2-40B4-BE49-F238E27FC236}">
                    <a16:creationId xmlns:a16="http://schemas.microsoft.com/office/drawing/2014/main" id="{210959DF-4915-404C-9510-3B4FBD5EA2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91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3" name="Freeform 779">
                <a:extLst>
                  <a:ext uri="{FF2B5EF4-FFF2-40B4-BE49-F238E27FC236}">
                    <a16:creationId xmlns:a16="http://schemas.microsoft.com/office/drawing/2014/main" id="{9EA792BD-B3BD-4FB2-9F5C-A6AB6B17B9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4" name="Freeform 780">
                <a:extLst>
                  <a:ext uri="{FF2B5EF4-FFF2-40B4-BE49-F238E27FC236}">
                    <a16:creationId xmlns:a16="http://schemas.microsoft.com/office/drawing/2014/main" id="{15161B62-DD29-4BC4-A984-3637C554AF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5" name="Freeform 781">
                <a:extLst>
                  <a:ext uri="{FF2B5EF4-FFF2-40B4-BE49-F238E27FC236}">
                    <a16:creationId xmlns:a16="http://schemas.microsoft.com/office/drawing/2014/main" id="{0E2AA1AE-8125-4F5C-B2B7-F0372B04CC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6" name="Freeform 782">
                <a:extLst>
                  <a:ext uri="{FF2B5EF4-FFF2-40B4-BE49-F238E27FC236}">
                    <a16:creationId xmlns:a16="http://schemas.microsoft.com/office/drawing/2014/main" id="{3FB62EED-1E0B-4C46-A63E-F1F94F5ADA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7" name="Freeform 783">
                <a:extLst>
                  <a:ext uri="{FF2B5EF4-FFF2-40B4-BE49-F238E27FC236}">
                    <a16:creationId xmlns:a16="http://schemas.microsoft.com/office/drawing/2014/main" id="{A0CB66A7-CE63-46ED-B872-8C3AE0D157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3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8" name="Freeform 784">
                <a:extLst>
                  <a:ext uri="{FF2B5EF4-FFF2-40B4-BE49-F238E27FC236}">
                    <a16:creationId xmlns:a16="http://schemas.microsoft.com/office/drawing/2014/main" id="{8C2CC9A4-58FC-420A-9DC1-C40EB6AE56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82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9" name="Freeform 785">
                <a:extLst>
                  <a:ext uri="{FF2B5EF4-FFF2-40B4-BE49-F238E27FC236}">
                    <a16:creationId xmlns:a16="http://schemas.microsoft.com/office/drawing/2014/main" id="{DF3E479A-E226-45D2-BB29-D6DD445A9F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80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0" name="Freeform 786">
                <a:extLst>
                  <a:ext uri="{FF2B5EF4-FFF2-40B4-BE49-F238E27FC236}">
                    <a16:creationId xmlns:a16="http://schemas.microsoft.com/office/drawing/2014/main" id="{EFE27BC8-7346-46A6-B080-8DFA7CB05A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78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1" name="Freeform 787">
                <a:extLst>
                  <a:ext uri="{FF2B5EF4-FFF2-40B4-BE49-F238E27FC236}">
                    <a16:creationId xmlns:a16="http://schemas.microsoft.com/office/drawing/2014/main" id="{08E26D03-5BA9-4F1D-AD4C-373731001E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77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2" name="Freeform 788">
                <a:extLst>
                  <a:ext uri="{FF2B5EF4-FFF2-40B4-BE49-F238E27FC236}">
                    <a16:creationId xmlns:a16="http://schemas.microsoft.com/office/drawing/2014/main" id="{5145703A-36B6-41BD-AC81-659E08560F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757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3" name="Freeform 789">
                <a:extLst>
                  <a:ext uri="{FF2B5EF4-FFF2-40B4-BE49-F238E27FC236}">
                    <a16:creationId xmlns:a16="http://schemas.microsoft.com/office/drawing/2014/main" id="{8B0F0144-C8B8-4747-94B3-0D8FED6402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4" name="Freeform 790">
                <a:extLst>
                  <a:ext uri="{FF2B5EF4-FFF2-40B4-BE49-F238E27FC236}">
                    <a16:creationId xmlns:a16="http://schemas.microsoft.com/office/drawing/2014/main" id="{0F8FAE3D-9650-419B-BFF7-D5E829D19C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5" name="Freeform 791">
                <a:extLst>
                  <a:ext uri="{FF2B5EF4-FFF2-40B4-BE49-F238E27FC236}">
                    <a16:creationId xmlns:a16="http://schemas.microsoft.com/office/drawing/2014/main" id="{6C45AD23-86B9-4A8B-82C7-0D34DE8F82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71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6" name="Freeform 792">
                <a:extLst>
                  <a:ext uri="{FF2B5EF4-FFF2-40B4-BE49-F238E27FC236}">
                    <a16:creationId xmlns:a16="http://schemas.microsoft.com/office/drawing/2014/main" id="{64728E0E-82C1-44FC-80E0-D6C78C3DD7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69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7" name="Freeform 793">
                <a:extLst>
                  <a:ext uri="{FF2B5EF4-FFF2-40B4-BE49-F238E27FC236}">
                    <a16:creationId xmlns:a16="http://schemas.microsoft.com/office/drawing/2014/main" id="{81130B28-43C6-4D0D-9D13-093DACB328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1930"/>
                <a:ext cx="15" cy="8"/>
              </a:xfrm>
              <a:custGeom>
                <a:avLst/>
                <a:gdLst>
                  <a:gd name="T0" fmla="*/ 1 w 7"/>
                  <a:gd name="T1" fmla="*/ 1 h 4"/>
                  <a:gd name="T2" fmla="*/ 6 w 7"/>
                  <a:gd name="T3" fmla="*/ 1 h 4"/>
                  <a:gd name="T4" fmla="*/ 6 w 7"/>
                  <a:gd name="T5" fmla="*/ 4 h 4"/>
                  <a:gd name="T6" fmla="*/ 1 w 7"/>
                  <a:gd name="T7" fmla="*/ 4 h 4"/>
                  <a:gd name="T8" fmla="*/ 1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8" name="Freeform 794">
                <a:extLst>
                  <a:ext uri="{FF2B5EF4-FFF2-40B4-BE49-F238E27FC236}">
                    <a16:creationId xmlns:a16="http://schemas.microsoft.com/office/drawing/2014/main" id="{4CF085C8-3663-4B7C-9B0F-0C40F91512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1913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  <a:gd name="T10" fmla="*/ 1 w 7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9" name="Freeform 795">
                <a:extLst>
                  <a:ext uri="{FF2B5EF4-FFF2-40B4-BE49-F238E27FC236}">
                    <a16:creationId xmlns:a16="http://schemas.microsoft.com/office/drawing/2014/main" id="{2D388E84-3C59-4D1B-9346-B1348FB133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1899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0" name="Freeform 796">
                <a:extLst>
                  <a:ext uri="{FF2B5EF4-FFF2-40B4-BE49-F238E27FC236}">
                    <a16:creationId xmlns:a16="http://schemas.microsoft.com/office/drawing/2014/main" id="{4FA908A4-E1CF-4A80-B785-D1C1FA5B9F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188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1" name="Freeform 797">
                <a:extLst>
                  <a:ext uri="{FF2B5EF4-FFF2-40B4-BE49-F238E27FC236}">
                    <a16:creationId xmlns:a16="http://schemas.microsoft.com/office/drawing/2014/main" id="{27AE5DC3-1999-4E10-BD76-936C57DF2A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1867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2" name="Freeform 798">
                <a:extLst>
                  <a:ext uri="{FF2B5EF4-FFF2-40B4-BE49-F238E27FC236}">
                    <a16:creationId xmlns:a16="http://schemas.microsoft.com/office/drawing/2014/main" id="{DB64B36A-8B6E-404C-9682-BEFF0DFBA1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185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3" name="Freeform 799">
                <a:extLst>
                  <a:ext uri="{FF2B5EF4-FFF2-40B4-BE49-F238E27FC236}">
                    <a16:creationId xmlns:a16="http://schemas.microsoft.com/office/drawing/2014/main" id="{A5E1F4CE-B32C-405A-921A-5453BC5D97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183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4" name="Freeform 800">
                <a:extLst>
                  <a:ext uri="{FF2B5EF4-FFF2-40B4-BE49-F238E27FC236}">
                    <a16:creationId xmlns:a16="http://schemas.microsoft.com/office/drawing/2014/main" id="{E1E31A2A-C3BB-44F3-BF2B-FC38EEEA0C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82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5" name="Freeform 801">
                <a:extLst>
                  <a:ext uri="{FF2B5EF4-FFF2-40B4-BE49-F238E27FC236}">
                    <a16:creationId xmlns:a16="http://schemas.microsoft.com/office/drawing/2014/main" id="{79728B94-648B-459C-A320-41FD35D967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80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6" name="Freeform 802">
                <a:extLst>
                  <a:ext uri="{FF2B5EF4-FFF2-40B4-BE49-F238E27FC236}">
                    <a16:creationId xmlns:a16="http://schemas.microsoft.com/office/drawing/2014/main" id="{57A4234F-C6F2-4C82-98C0-2FFC1CD68F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178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7" name="Freeform 803">
                <a:extLst>
                  <a:ext uri="{FF2B5EF4-FFF2-40B4-BE49-F238E27FC236}">
                    <a16:creationId xmlns:a16="http://schemas.microsoft.com/office/drawing/2014/main" id="{D8578520-68F7-4843-9121-5FA670EC8F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77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8" name="Freeform 804">
                <a:extLst>
                  <a:ext uri="{FF2B5EF4-FFF2-40B4-BE49-F238E27FC236}">
                    <a16:creationId xmlns:a16="http://schemas.microsoft.com/office/drawing/2014/main" id="{C6129BEA-9F52-49B6-8505-E8964602B6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175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9" name="Freeform 805">
                <a:extLst>
                  <a:ext uri="{FF2B5EF4-FFF2-40B4-BE49-F238E27FC236}">
                    <a16:creationId xmlns:a16="http://schemas.microsoft.com/office/drawing/2014/main" id="{18A3B00B-3C2F-497B-BE00-73ABD862F4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1743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0" name="Freeform 806">
                <a:extLst>
                  <a:ext uri="{FF2B5EF4-FFF2-40B4-BE49-F238E27FC236}">
                    <a16:creationId xmlns:a16="http://schemas.microsoft.com/office/drawing/2014/main" id="{5CB40466-D6AD-4CF9-91D5-010E169F39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172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1" name="Freeform 807">
                <a:extLst>
                  <a:ext uri="{FF2B5EF4-FFF2-40B4-BE49-F238E27FC236}">
                    <a16:creationId xmlns:a16="http://schemas.microsoft.com/office/drawing/2014/main" id="{35ABC9B8-E7AE-4981-A752-1C96C360FA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712"/>
                <a:ext cx="14" cy="8"/>
              </a:xfrm>
              <a:custGeom>
                <a:avLst/>
                <a:gdLst>
                  <a:gd name="T0" fmla="*/ 1 w 7"/>
                  <a:gd name="T1" fmla="*/ 1 h 4"/>
                  <a:gd name="T2" fmla="*/ 6 w 7"/>
                  <a:gd name="T3" fmla="*/ 1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1 h 4"/>
                  <a:gd name="T10" fmla="*/ 1 w 7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15" name="Group 1009">
              <a:extLst>
                <a:ext uri="{FF2B5EF4-FFF2-40B4-BE49-F238E27FC236}">
                  <a16:creationId xmlns:a16="http://schemas.microsoft.com/office/drawing/2014/main" id="{510C516C-4AE6-4A5C-8FC7-AB4D8842ECAA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7723624" y="2942773"/>
              <a:ext cx="4287857" cy="2837334"/>
              <a:chOff x="4739" y="1508"/>
              <a:chExt cx="2019" cy="1336"/>
            </a:xfrm>
          </p:grpSpPr>
          <p:sp>
            <p:nvSpPr>
              <p:cNvPr id="812" name="Freeform 809">
                <a:extLst>
                  <a:ext uri="{FF2B5EF4-FFF2-40B4-BE49-F238E27FC236}">
                    <a16:creationId xmlns:a16="http://schemas.microsoft.com/office/drawing/2014/main" id="{448D269E-CE85-4E0C-8BFA-3EA98ED93D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695"/>
                <a:ext cx="14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  <a:gd name="T10" fmla="*/ 1 w 7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3" name="Freeform 810">
                <a:extLst>
                  <a:ext uri="{FF2B5EF4-FFF2-40B4-BE49-F238E27FC236}">
                    <a16:creationId xmlns:a16="http://schemas.microsoft.com/office/drawing/2014/main" id="{E65C825E-61D6-485E-BE92-C64A0153EE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680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6 w 7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4" name="Freeform 811">
                <a:extLst>
                  <a:ext uri="{FF2B5EF4-FFF2-40B4-BE49-F238E27FC236}">
                    <a16:creationId xmlns:a16="http://schemas.microsoft.com/office/drawing/2014/main" id="{5E5F0FBE-9113-4E58-8668-1BD8D8100D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78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6 w 7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5" name="Freeform 812">
                <a:extLst>
                  <a:ext uri="{FF2B5EF4-FFF2-40B4-BE49-F238E27FC236}">
                    <a16:creationId xmlns:a16="http://schemas.microsoft.com/office/drawing/2014/main" id="{89C69147-DE5F-4A1A-975C-A0BF8B8A87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177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6 w 7"/>
                  <a:gd name="T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6" name="Freeform 813">
                <a:extLst>
                  <a:ext uri="{FF2B5EF4-FFF2-40B4-BE49-F238E27FC236}">
                    <a16:creationId xmlns:a16="http://schemas.microsoft.com/office/drawing/2014/main" id="{03DF683D-A3EE-40D4-9D8A-6BE5F497DE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78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7" name="Freeform 814">
                <a:extLst>
                  <a:ext uri="{FF2B5EF4-FFF2-40B4-BE49-F238E27FC236}">
                    <a16:creationId xmlns:a16="http://schemas.microsoft.com/office/drawing/2014/main" id="{045C7359-8787-4254-B14A-81D1B1978F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77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8" name="Freeform 815">
                <a:extLst>
                  <a:ext uri="{FF2B5EF4-FFF2-40B4-BE49-F238E27FC236}">
                    <a16:creationId xmlns:a16="http://schemas.microsoft.com/office/drawing/2014/main" id="{E6D6F5E0-1BEF-4D10-8F5D-EE3C659A27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75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9" name="Freeform 816">
                <a:extLst>
                  <a:ext uri="{FF2B5EF4-FFF2-40B4-BE49-F238E27FC236}">
                    <a16:creationId xmlns:a16="http://schemas.microsoft.com/office/drawing/2014/main" id="{09252832-EEDA-4B09-AB29-7CFC4F128A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74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0" name="Freeform 817">
                <a:extLst>
                  <a:ext uri="{FF2B5EF4-FFF2-40B4-BE49-F238E27FC236}">
                    <a16:creationId xmlns:a16="http://schemas.microsoft.com/office/drawing/2014/main" id="{A05D8A25-B9E6-48C3-B25E-0E6CDFC885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72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1" name="Freeform 818">
                <a:extLst>
                  <a:ext uri="{FF2B5EF4-FFF2-40B4-BE49-F238E27FC236}">
                    <a16:creationId xmlns:a16="http://schemas.microsoft.com/office/drawing/2014/main" id="{962A836F-0B59-4EA7-B122-54F4A8AE88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2" name="Freeform 819">
                <a:extLst>
                  <a:ext uri="{FF2B5EF4-FFF2-40B4-BE49-F238E27FC236}">
                    <a16:creationId xmlns:a16="http://schemas.microsoft.com/office/drawing/2014/main" id="{CC70727A-3828-4651-9677-7E6535D591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3" name="Freeform 820">
                <a:extLst>
                  <a:ext uri="{FF2B5EF4-FFF2-40B4-BE49-F238E27FC236}">
                    <a16:creationId xmlns:a16="http://schemas.microsoft.com/office/drawing/2014/main" id="{99430F75-5720-4D55-9B31-9F0AAAE761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4" name="Freeform 821">
                <a:extLst>
                  <a:ext uri="{FF2B5EF4-FFF2-40B4-BE49-F238E27FC236}">
                    <a16:creationId xmlns:a16="http://schemas.microsoft.com/office/drawing/2014/main" id="{697AD9BE-B155-40DC-8E7A-4F225A3010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5" name="Freeform 822">
                <a:extLst>
                  <a:ext uri="{FF2B5EF4-FFF2-40B4-BE49-F238E27FC236}">
                    <a16:creationId xmlns:a16="http://schemas.microsoft.com/office/drawing/2014/main" id="{E6ADA9A8-1483-4D08-A85D-8ABB31C262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6" name="Freeform 823">
                <a:extLst>
                  <a:ext uri="{FF2B5EF4-FFF2-40B4-BE49-F238E27FC236}">
                    <a16:creationId xmlns:a16="http://schemas.microsoft.com/office/drawing/2014/main" id="{817B7BDF-1F51-435F-A75C-C4CA694659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7" name="Freeform 824">
                <a:extLst>
                  <a:ext uri="{FF2B5EF4-FFF2-40B4-BE49-F238E27FC236}">
                    <a16:creationId xmlns:a16="http://schemas.microsoft.com/office/drawing/2014/main" id="{EB2E8350-FD96-4CC4-B3BA-89B20E54E7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8" name="Freeform 825">
                <a:extLst>
                  <a:ext uri="{FF2B5EF4-FFF2-40B4-BE49-F238E27FC236}">
                    <a16:creationId xmlns:a16="http://schemas.microsoft.com/office/drawing/2014/main" id="{ADBF96DD-3FE5-4BF5-B96D-DE5B158E33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601"/>
                <a:ext cx="17" cy="11"/>
              </a:xfrm>
              <a:custGeom>
                <a:avLst/>
                <a:gdLst>
                  <a:gd name="T0" fmla="*/ 6 w 8"/>
                  <a:gd name="T1" fmla="*/ 4 h 5"/>
                  <a:gd name="T2" fmla="*/ 1 w 8"/>
                  <a:gd name="T3" fmla="*/ 4 h 5"/>
                  <a:gd name="T4" fmla="*/ 1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9" name="Freeform 826">
                <a:extLst>
                  <a:ext uri="{FF2B5EF4-FFF2-40B4-BE49-F238E27FC236}">
                    <a16:creationId xmlns:a16="http://schemas.microsoft.com/office/drawing/2014/main" id="{91F6FB05-25A0-4FC2-A491-42738D7CED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774"/>
                <a:ext cx="17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0" name="Freeform 827">
                <a:extLst>
                  <a:ext uri="{FF2B5EF4-FFF2-40B4-BE49-F238E27FC236}">
                    <a16:creationId xmlns:a16="http://schemas.microsoft.com/office/drawing/2014/main" id="{92D18322-BB4C-4485-8541-8E69EF706F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75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1" name="Freeform 828">
                <a:extLst>
                  <a:ext uri="{FF2B5EF4-FFF2-40B4-BE49-F238E27FC236}">
                    <a16:creationId xmlns:a16="http://schemas.microsoft.com/office/drawing/2014/main" id="{BF058DA5-6286-4BF5-BAD7-2661F11CEA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74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2" name="Freeform 829">
                <a:extLst>
                  <a:ext uri="{FF2B5EF4-FFF2-40B4-BE49-F238E27FC236}">
                    <a16:creationId xmlns:a16="http://schemas.microsoft.com/office/drawing/2014/main" id="{260CAF80-A47B-4684-94CA-4E052DD24D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72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3" name="Freeform 830">
                <a:extLst>
                  <a:ext uri="{FF2B5EF4-FFF2-40B4-BE49-F238E27FC236}">
                    <a16:creationId xmlns:a16="http://schemas.microsoft.com/office/drawing/2014/main" id="{B7B14BC3-3615-47A7-A727-D4653B887D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4" name="Freeform 831">
                <a:extLst>
                  <a:ext uri="{FF2B5EF4-FFF2-40B4-BE49-F238E27FC236}">
                    <a16:creationId xmlns:a16="http://schemas.microsoft.com/office/drawing/2014/main" id="{5E2FBB85-5347-4478-A528-AC14776976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5" name="Freeform 832">
                <a:extLst>
                  <a:ext uri="{FF2B5EF4-FFF2-40B4-BE49-F238E27FC236}">
                    <a16:creationId xmlns:a16="http://schemas.microsoft.com/office/drawing/2014/main" id="{4AB7F1EF-4E1D-4C99-9F8E-81EB4973B4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6" name="Freeform 833">
                <a:extLst>
                  <a:ext uri="{FF2B5EF4-FFF2-40B4-BE49-F238E27FC236}">
                    <a16:creationId xmlns:a16="http://schemas.microsoft.com/office/drawing/2014/main" id="{10307D14-4EB9-4CEA-8DB3-2A1A80D7F9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7" name="Freeform 834">
                <a:extLst>
                  <a:ext uri="{FF2B5EF4-FFF2-40B4-BE49-F238E27FC236}">
                    <a16:creationId xmlns:a16="http://schemas.microsoft.com/office/drawing/2014/main" id="{457B52D9-95A4-49EF-8F0A-29AB21C9E3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8" name="Freeform 835">
                <a:extLst>
                  <a:ext uri="{FF2B5EF4-FFF2-40B4-BE49-F238E27FC236}">
                    <a16:creationId xmlns:a16="http://schemas.microsoft.com/office/drawing/2014/main" id="{88C4CC66-BE38-4E04-883B-F9C765C16F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9" name="Freeform 836">
                <a:extLst>
                  <a:ext uri="{FF2B5EF4-FFF2-40B4-BE49-F238E27FC236}">
                    <a16:creationId xmlns:a16="http://schemas.microsoft.com/office/drawing/2014/main" id="{93574421-3601-4D49-AA1B-CF8A4A15FE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0" name="Freeform 837">
                <a:extLst>
                  <a:ext uri="{FF2B5EF4-FFF2-40B4-BE49-F238E27FC236}">
                    <a16:creationId xmlns:a16="http://schemas.microsoft.com/office/drawing/2014/main" id="{FBA0D6F1-EF61-41D3-A802-216EAE900F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1" name="Freeform 838">
                <a:extLst>
                  <a:ext uri="{FF2B5EF4-FFF2-40B4-BE49-F238E27FC236}">
                    <a16:creationId xmlns:a16="http://schemas.microsoft.com/office/drawing/2014/main" id="{329A7CA2-5A80-4C4C-9B5D-E4A5397066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757"/>
                <a:ext cx="16" cy="11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2" name="Freeform 839">
                <a:extLst>
                  <a:ext uri="{FF2B5EF4-FFF2-40B4-BE49-F238E27FC236}">
                    <a16:creationId xmlns:a16="http://schemas.microsoft.com/office/drawing/2014/main" id="{0D93C08A-6F69-4134-A960-24A2AF030A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74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3" name="Freeform 840">
                <a:extLst>
                  <a:ext uri="{FF2B5EF4-FFF2-40B4-BE49-F238E27FC236}">
                    <a16:creationId xmlns:a16="http://schemas.microsoft.com/office/drawing/2014/main" id="{EDA1D2F0-A3F4-4EF5-A1A4-7752A9D38A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72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4" name="Freeform 841">
                <a:extLst>
                  <a:ext uri="{FF2B5EF4-FFF2-40B4-BE49-F238E27FC236}">
                    <a16:creationId xmlns:a16="http://schemas.microsoft.com/office/drawing/2014/main" id="{827FF1DD-2BE8-49CC-84C2-CFACC1CF9E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5" name="Freeform 842">
                <a:extLst>
                  <a:ext uri="{FF2B5EF4-FFF2-40B4-BE49-F238E27FC236}">
                    <a16:creationId xmlns:a16="http://schemas.microsoft.com/office/drawing/2014/main" id="{FCEA833F-0AE1-4F92-A6EE-3C128912A3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6" name="Freeform 843">
                <a:extLst>
                  <a:ext uri="{FF2B5EF4-FFF2-40B4-BE49-F238E27FC236}">
                    <a16:creationId xmlns:a16="http://schemas.microsoft.com/office/drawing/2014/main" id="{A6F5B99D-9E42-4F90-BEA0-84FB1D4819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7" name="Freeform 844">
                <a:extLst>
                  <a:ext uri="{FF2B5EF4-FFF2-40B4-BE49-F238E27FC236}">
                    <a16:creationId xmlns:a16="http://schemas.microsoft.com/office/drawing/2014/main" id="{CB7950AE-F833-4512-8681-A324C5C2C7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8" name="Freeform 845">
                <a:extLst>
                  <a:ext uri="{FF2B5EF4-FFF2-40B4-BE49-F238E27FC236}">
                    <a16:creationId xmlns:a16="http://schemas.microsoft.com/office/drawing/2014/main" id="{1C923879-3571-4C73-9C9E-58319C85AF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9" name="Freeform 846">
                <a:extLst>
                  <a:ext uri="{FF2B5EF4-FFF2-40B4-BE49-F238E27FC236}">
                    <a16:creationId xmlns:a16="http://schemas.microsoft.com/office/drawing/2014/main" id="{A7CB727A-51FA-407D-844F-F8C4A9D3F9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0" name="Freeform 847">
                <a:extLst>
                  <a:ext uri="{FF2B5EF4-FFF2-40B4-BE49-F238E27FC236}">
                    <a16:creationId xmlns:a16="http://schemas.microsoft.com/office/drawing/2014/main" id="{0CF53C9C-EB4A-4501-A7FC-B7AB965302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1" name="Freeform 848">
                <a:extLst>
                  <a:ext uri="{FF2B5EF4-FFF2-40B4-BE49-F238E27FC236}">
                    <a16:creationId xmlns:a16="http://schemas.microsoft.com/office/drawing/2014/main" id="{A6843172-17F1-4B68-BEE0-FE29888AE6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2" name="Freeform 849">
                <a:extLst>
                  <a:ext uri="{FF2B5EF4-FFF2-40B4-BE49-F238E27FC236}">
                    <a16:creationId xmlns:a16="http://schemas.microsoft.com/office/drawing/2014/main" id="{470AFC28-BCB5-4864-8478-670899B9B0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3" name="Freeform 850">
                <a:extLst>
                  <a:ext uri="{FF2B5EF4-FFF2-40B4-BE49-F238E27FC236}">
                    <a16:creationId xmlns:a16="http://schemas.microsoft.com/office/drawing/2014/main" id="{FDDBA662-810A-4149-B9DC-E9AD2E2FFC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743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4" name="Freeform 851">
                <a:extLst>
                  <a:ext uri="{FF2B5EF4-FFF2-40B4-BE49-F238E27FC236}">
                    <a16:creationId xmlns:a16="http://schemas.microsoft.com/office/drawing/2014/main" id="{A69283D6-8AF6-4DD5-B548-DA3890089D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72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5" name="Freeform 852">
                <a:extLst>
                  <a:ext uri="{FF2B5EF4-FFF2-40B4-BE49-F238E27FC236}">
                    <a16:creationId xmlns:a16="http://schemas.microsoft.com/office/drawing/2014/main" id="{99A793CF-EC68-4FD0-9B94-5C3DAF207C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71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6" name="Freeform 853">
                <a:extLst>
                  <a:ext uri="{FF2B5EF4-FFF2-40B4-BE49-F238E27FC236}">
                    <a16:creationId xmlns:a16="http://schemas.microsoft.com/office/drawing/2014/main" id="{BB7F81D3-6AB9-4FB8-BAD7-324C8984CE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9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7" name="Freeform 854">
                <a:extLst>
                  <a:ext uri="{FF2B5EF4-FFF2-40B4-BE49-F238E27FC236}">
                    <a16:creationId xmlns:a16="http://schemas.microsoft.com/office/drawing/2014/main" id="{50409984-0611-475E-875C-58A84198FF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8" name="Freeform 855">
                <a:extLst>
                  <a:ext uri="{FF2B5EF4-FFF2-40B4-BE49-F238E27FC236}">
                    <a16:creationId xmlns:a16="http://schemas.microsoft.com/office/drawing/2014/main" id="{8F08AC17-1E01-4A8F-ADF1-4E1740C313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9" name="Freeform 856">
                <a:extLst>
                  <a:ext uri="{FF2B5EF4-FFF2-40B4-BE49-F238E27FC236}">
                    <a16:creationId xmlns:a16="http://schemas.microsoft.com/office/drawing/2014/main" id="{9EB0DADC-BC56-4CFF-B343-F97AC6DE4D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0" name="Freeform 857">
                <a:extLst>
                  <a:ext uri="{FF2B5EF4-FFF2-40B4-BE49-F238E27FC236}">
                    <a16:creationId xmlns:a16="http://schemas.microsoft.com/office/drawing/2014/main" id="{BEC8B35D-2E10-4158-8900-5D67BA581C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1" name="Freeform 858">
                <a:extLst>
                  <a:ext uri="{FF2B5EF4-FFF2-40B4-BE49-F238E27FC236}">
                    <a16:creationId xmlns:a16="http://schemas.microsoft.com/office/drawing/2014/main" id="{770CE9A0-DABF-4378-A949-7A5883CBE7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2" name="Freeform 859">
                <a:extLst>
                  <a:ext uri="{FF2B5EF4-FFF2-40B4-BE49-F238E27FC236}">
                    <a16:creationId xmlns:a16="http://schemas.microsoft.com/office/drawing/2014/main" id="{FF8DE29D-CD43-4377-B526-159F5E67BA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3" name="Freeform 860">
                <a:extLst>
                  <a:ext uri="{FF2B5EF4-FFF2-40B4-BE49-F238E27FC236}">
                    <a16:creationId xmlns:a16="http://schemas.microsoft.com/office/drawing/2014/main" id="{02593396-747B-419D-8641-95AE83C408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4" name="Freeform 861">
                <a:extLst>
                  <a:ext uri="{FF2B5EF4-FFF2-40B4-BE49-F238E27FC236}">
                    <a16:creationId xmlns:a16="http://schemas.microsoft.com/office/drawing/2014/main" id="{D06750A5-01DB-4D71-AE37-C049164070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7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5" name="Freeform 862">
                <a:extLst>
                  <a:ext uri="{FF2B5EF4-FFF2-40B4-BE49-F238E27FC236}">
                    <a16:creationId xmlns:a16="http://schemas.microsoft.com/office/drawing/2014/main" id="{6EB3FD88-E2D5-47F5-A4B3-C64A13FCB7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556"/>
                <a:ext cx="17" cy="8"/>
              </a:xfrm>
              <a:custGeom>
                <a:avLst/>
                <a:gdLst>
                  <a:gd name="T0" fmla="*/ 6 w 8"/>
                  <a:gd name="T1" fmla="*/ 3 h 4"/>
                  <a:gd name="T2" fmla="*/ 1 w 8"/>
                  <a:gd name="T3" fmla="*/ 3 h 4"/>
                  <a:gd name="T4" fmla="*/ 1 w 8"/>
                  <a:gd name="T5" fmla="*/ 1 h 4"/>
                  <a:gd name="T6" fmla="*/ 6 w 8"/>
                  <a:gd name="T7" fmla="*/ 1 h 4"/>
                  <a:gd name="T8" fmla="*/ 6 w 8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3"/>
                    </a:move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3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6" name="Freeform 863">
                <a:extLst>
                  <a:ext uri="{FF2B5EF4-FFF2-40B4-BE49-F238E27FC236}">
                    <a16:creationId xmlns:a16="http://schemas.microsoft.com/office/drawing/2014/main" id="{2BECB8BF-72B8-4CE0-9A81-5298B1737D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726"/>
                <a:ext cx="16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7" name="Freeform 864">
                <a:extLst>
                  <a:ext uri="{FF2B5EF4-FFF2-40B4-BE49-F238E27FC236}">
                    <a16:creationId xmlns:a16="http://schemas.microsoft.com/office/drawing/2014/main" id="{B001819F-3D84-4151-B359-F4C03F0000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71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8" name="Freeform 865">
                <a:extLst>
                  <a:ext uri="{FF2B5EF4-FFF2-40B4-BE49-F238E27FC236}">
                    <a16:creationId xmlns:a16="http://schemas.microsoft.com/office/drawing/2014/main" id="{690D1F14-FB27-4AF3-BA06-965A73B1D2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69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9" name="Freeform 866">
                <a:extLst>
                  <a:ext uri="{FF2B5EF4-FFF2-40B4-BE49-F238E27FC236}">
                    <a16:creationId xmlns:a16="http://schemas.microsoft.com/office/drawing/2014/main" id="{811DD180-C464-417C-99A1-B4C698E690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68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0" name="Freeform 867">
                <a:extLst>
                  <a:ext uri="{FF2B5EF4-FFF2-40B4-BE49-F238E27FC236}">
                    <a16:creationId xmlns:a16="http://schemas.microsoft.com/office/drawing/2014/main" id="{3BE4CF5B-3D4E-41D5-8553-11E6102F4D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6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1" name="Freeform 868">
                <a:extLst>
                  <a:ext uri="{FF2B5EF4-FFF2-40B4-BE49-F238E27FC236}">
                    <a16:creationId xmlns:a16="http://schemas.microsoft.com/office/drawing/2014/main" id="{3EC94B96-5BBD-4687-A183-4827D55A5E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2" name="Freeform 869">
                <a:extLst>
                  <a:ext uri="{FF2B5EF4-FFF2-40B4-BE49-F238E27FC236}">
                    <a16:creationId xmlns:a16="http://schemas.microsoft.com/office/drawing/2014/main" id="{87BC918C-EBC5-44F8-8278-D627F7D0D0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3" name="Freeform 870">
                <a:extLst>
                  <a:ext uri="{FF2B5EF4-FFF2-40B4-BE49-F238E27FC236}">
                    <a16:creationId xmlns:a16="http://schemas.microsoft.com/office/drawing/2014/main" id="{011A42CE-ECDD-4339-AB95-A918532B72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4" name="Freeform 871">
                <a:extLst>
                  <a:ext uri="{FF2B5EF4-FFF2-40B4-BE49-F238E27FC236}">
                    <a16:creationId xmlns:a16="http://schemas.microsoft.com/office/drawing/2014/main" id="{4387FCA9-9E29-423E-9DE4-570E335C94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5" name="Freeform 872">
                <a:extLst>
                  <a:ext uri="{FF2B5EF4-FFF2-40B4-BE49-F238E27FC236}">
                    <a16:creationId xmlns:a16="http://schemas.microsoft.com/office/drawing/2014/main" id="{9E9E4CB2-9F98-4B82-BC99-14161CF005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6" name="Freeform 873">
                <a:extLst>
                  <a:ext uri="{FF2B5EF4-FFF2-40B4-BE49-F238E27FC236}">
                    <a16:creationId xmlns:a16="http://schemas.microsoft.com/office/drawing/2014/main" id="{60B121B2-D2FC-46B7-8BE5-A8FCBCF0EA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57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7" name="Freeform 874">
                <a:extLst>
                  <a:ext uri="{FF2B5EF4-FFF2-40B4-BE49-F238E27FC236}">
                    <a16:creationId xmlns:a16="http://schemas.microsoft.com/office/drawing/2014/main" id="{5BE6DDB9-724A-4E44-8931-0608BA7AA6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556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8" name="Freeform 875">
                <a:extLst>
                  <a:ext uri="{FF2B5EF4-FFF2-40B4-BE49-F238E27FC236}">
                    <a16:creationId xmlns:a16="http://schemas.microsoft.com/office/drawing/2014/main" id="{E10E4165-2C0C-46C6-9A11-683617BEB2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39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9" name="Freeform 876">
                <a:extLst>
                  <a:ext uri="{FF2B5EF4-FFF2-40B4-BE49-F238E27FC236}">
                    <a16:creationId xmlns:a16="http://schemas.microsoft.com/office/drawing/2014/main" id="{09E08F38-EE78-40CC-BC4C-F7C282A719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712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0" name="Freeform 877">
                <a:extLst>
                  <a:ext uri="{FF2B5EF4-FFF2-40B4-BE49-F238E27FC236}">
                    <a16:creationId xmlns:a16="http://schemas.microsoft.com/office/drawing/2014/main" id="{69BE9EC9-F857-411E-B5FA-9A9B8779E6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695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1" name="Freeform 878">
                <a:extLst>
                  <a:ext uri="{FF2B5EF4-FFF2-40B4-BE49-F238E27FC236}">
                    <a16:creationId xmlns:a16="http://schemas.microsoft.com/office/drawing/2014/main" id="{263F8B48-BCCF-40D1-B95D-9D1FECC64D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680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2" name="Freeform 879">
                <a:extLst>
                  <a:ext uri="{FF2B5EF4-FFF2-40B4-BE49-F238E27FC236}">
                    <a16:creationId xmlns:a16="http://schemas.microsoft.com/office/drawing/2014/main" id="{A76EF046-EE7B-4845-BEEF-9B01DCEE49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3" name="Freeform 880">
                <a:extLst>
                  <a:ext uri="{FF2B5EF4-FFF2-40B4-BE49-F238E27FC236}">
                    <a16:creationId xmlns:a16="http://schemas.microsoft.com/office/drawing/2014/main" id="{07BF369A-353C-4BAE-ACFA-97165AD25C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64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4" name="Freeform 881">
                <a:extLst>
                  <a:ext uri="{FF2B5EF4-FFF2-40B4-BE49-F238E27FC236}">
                    <a16:creationId xmlns:a16="http://schemas.microsoft.com/office/drawing/2014/main" id="{E468BE20-E8FB-4E3A-B24A-923779E816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3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5" name="Freeform 882">
                <a:extLst>
                  <a:ext uri="{FF2B5EF4-FFF2-40B4-BE49-F238E27FC236}">
                    <a16:creationId xmlns:a16="http://schemas.microsoft.com/office/drawing/2014/main" id="{B14940C4-59AB-4DDA-B277-CAE50278A2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6" name="Freeform 883">
                <a:extLst>
                  <a:ext uri="{FF2B5EF4-FFF2-40B4-BE49-F238E27FC236}">
                    <a16:creationId xmlns:a16="http://schemas.microsoft.com/office/drawing/2014/main" id="{7E68CC9D-C775-4A02-847F-3AF267D520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7" name="Freeform 884">
                <a:extLst>
                  <a:ext uri="{FF2B5EF4-FFF2-40B4-BE49-F238E27FC236}">
                    <a16:creationId xmlns:a16="http://schemas.microsoft.com/office/drawing/2014/main" id="{6352AE76-157F-416B-AFFF-4A8A55B513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587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8" name="Freeform 885">
                <a:extLst>
                  <a:ext uri="{FF2B5EF4-FFF2-40B4-BE49-F238E27FC236}">
                    <a16:creationId xmlns:a16="http://schemas.microsoft.com/office/drawing/2014/main" id="{33B33036-ADF3-42FB-B28D-98388C1A91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57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9" name="Freeform 886">
                <a:extLst>
                  <a:ext uri="{FF2B5EF4-FFF2-40B4-BE49-F238E27FC236}">
                    <a16:creationId xmlns:a16="http://schemas.microsoft.com/office/drawing/2014/main" id="{0F32F11F-3689-4EF0-B3C3-CE16C2FDA2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556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0" name="Freeform 887">
                <a:extLst>
                  <a:ext uri="{FF2B5EF4-FFF2-40B4-BE49-F238E27FC236}">
                    <a16:creationId xmlns:a16="http://schemas.microsoft.com/office/drawing/2014/main" id="{7F197571-2132-4224-8F55-D0EB0B3B32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539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1" name="Freeform 888">
                <a:extLst>
                  <a:ext uri="{FF2B5EF4-FFF2-40B4-BE49-F238E27FC236}">
                    <a16:creationId xmlns:a16="http://schemas.microsoft.com/office/drawing/2014/main" id="{071AF01E-5F86-4A6F-BA17-DC3BC7E768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524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2" name="Freeform 889">
                <a:extLst>
                  <a:ext uri="{FF2B5EF4-FFF2-40B4-BE49-F238E27FC236}">
                    <a16:creationId xmlns:a16="http://schemas.microsoft.com/office/drawing/2014/main" id="{5D45C7D1-E623-4891-B14E-1F6A064B23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08"/>
                <a:ext cx="17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3" name="Freeform 890">
                <a:extLst>
                  <a:ext uri="{FF2B5EF4-FFF2-40B4-BE49-F238E27FC236}">
                    <a16:creationId xmlns:a16="http://schemas.microsoft.com/office/drawing/2014/main" id="{AA3B7221-9BBF-46BA-9C06-1625597BBA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508"/>
                <a:ext cx="17" cy="10"/>
              </a:xfrm>
              <a:custGeom>
                <a:avLst/>
                <a:gdLst>
                  <a:gd name="T0" fmla="*/ 6 w 8"/>
                  <a:gd name="T1" fmla="*/ 4 h 5"/>
                  <a:gd name="T2" fmla="*/ 1 w 8"/>
                  <a:gd name="T3" fmla="*/ 4 h 5"/>
                  <a:gd name="T4" fmla="*/ 1 w 8"/>
                  <a:gd name="T5" fmla="*/ 1 h 5"/>
                  <a:gd name="T6" fmla="*/ 6 w 8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4"/>
                    </a:move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8" y="3"/>
                      <a:pt x="6" y="4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4" name="Freeform 891">
                <a:extLst>
                  <a:ext uri="{FF2B5EF4-FFF2-40B4-BE49-F238E27FC236}">
                    <a16:creationId xmlns:a16="http://schemas.microsoft.com/office/drawing/2014/main" id="{B84CA20F-665A-4804-88FC-6064D8FE75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695"/>
                <a:ext cx="16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5" name="Freeform 892">
                <a:extLst>
                  <a:ext uri="{FF2B5EF4-FFF2-40B4-BE49-F238E27FC236}">
                    <a16:creationId xmlns:a16="http://schemas.microsoft.com/office/drawing/2014/main" id="{363CAA9E-43F5-4048-99D9-C45BEBF99F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680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6" name="Freeform 893">
                <a:extLst>
                  <a:ext uri="{FF2B5EF4-FFF2-40B4-BE49-F238E27FC236}">
                    <a16:creationId xmlns:a16="http://schemas.microsoft.com/office/drawing/2014/main" id="{6540AC6B-38A8-45E2-A1FF-D7F05234B3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7" name="Freeform 894">
                <a:extLst>
                  <a:ext uri="{FF2B5EF4-FFF2-40B4-BE49-F238E27FC236}">
                    <a16:creationId xmlns:a16="http://schemas.microsoft.com/office/drawing/2014/main" id="{69C9CAEE-B9D6-4A10-9E76-B3AD14A3E1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64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8" name="Freeform 895">
                <a:extLst>
                  <a:ext uri="{FF2B5EF4-FFF2-40B4-BE49-F238E27FC236}">
                    <a16:creationId xmlns:a16="http://schemas.microsoft.com/office/drawing/2014/main" id="{C4CB5795-6C95-4F1E-B608-541A3D0872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633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9" name="Freeform 896">
                <a:extLst>
                  <a:ext uri="{FF2B5EF4-FFF2-40B4-BE49-F238E27FC236}">
                    <a16:creationId xmlns:a16="http://schemas.microsoft.com/office/drawing/2014/main" id="{7256D110-E0B9-4CA9-973C-F6AABB2FF0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61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0" name="Freeform 897">
                <a:extLst>
                  <a:ext uri="{FF2B5EF4-FFF2-40B4-BE49-F238E27FC236}">
                    <a16:creationId xmlns:a16="http://schemas.microsoft.com/office/drawing/2014/main" id="{052A23E0-D25E-4FF3-974D-E304296B52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60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6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1" name="Freeform 898">
                <a:extLst>
                  <a:ext uri="{FF2B5EF4-FFF2-40B4-BE49-F238E27FC236}">
                    <a16:creationId xmlns:a16="http://schemas.microsoft.com/office/drawing/2014/main" id="{9DFD8B1B-C03C-465A-8861-1CDBB4A783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680"/>
                <a:ext cx="16" cy="9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2" name="Freeform 899">
                <a:extLst>
                  <a:ext uri="{FF2B5EF4-FFF2-40B4-BE49-F238E27FC236}">
                    <a16:creationId xmlns:a16="http://schemas.microsoft.com/office/drawing/2014/main" id="{29084FDE-C932-4831-A749-AF48C89AE1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3" name="Freeform 900">
                <a:extLst>
                  <a:ext uri="{FF2B5EF4-FFF2-40B4-BE49-F238E27FC236}">
                    <a16:creationId xmlns:a16="http://schemas.microsoft.com/office/drawing/2014/main" id="{DC6023A4-F008-4C65-A89E-8B0D3F63F7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649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4" name="Freeform 901">
                <a:extLst>
                  <a:ext uri="{FF2B5EF4-FFF2-40B4-BE49-F238E27FC236}">
                    <a16:creationId xmlns:a16="http://schemas.microsoft.com/office/drawing/2014/main" id="{9E3B345A-8D61-47A5-A63D-ED1ED2D1D8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633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6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5" name="Freeform 902">
                <a:extLst>
                  <a:ext uri="{FF2B5EF4-FFF2-40B4-BE49-F238E27FC236}">
                    <a16:creationId xmlns:a16="http://schemas.microsoft.com/office/drawing/2014/main" id="{49944F33-8662-4E78-87A9-E8F567D493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66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6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6" name="Freeform 903">
                <a:extLst>
                  <a:ext uri="{FF2B5EF4-FFF2-40B4-BE49-F238E27FC236}">
                    <a16:creationId xmlns:a16="http://schemas.microsoft.com/office/drawing/2014/main" id="{2C05D5D9-D9E8-4E06-B34E-15CADB4803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4" y="2834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7" name="Freeform 904">
                <a:extLst>
                  <a:ext uri="{FF2B5EF4-FFF2-40B4-BE49-F238E27FC236}">
                    <a16:creationId xmlns:a16="http://schemas.microsoft.com/office/drawing/2014/main" id="{32BBDA7D-C556-4B29-A890-AF5D74B48E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11" y="2819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8" name="Freeform 905">
                <a:extLst>
                  <a:ext uri="{FF2B5EF4-FFF2-40B4-BE49-F238E27FC236}">
                    <a16:creationId xmlns:a16="http://schemas.microsoft.com/office/drawing/2014/main" id="{7EAD05FE-4F04-40D0-B80D-306C1778E4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8" y="2803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9" name="Freeform 906">
                <a:extLst>
                  <a:ext uri="{FF2B5EF4-FFF2-40B4-BE49-F238E27FC236}">
                    <a16:creationId xmlns:a16="http://schemas.microsoft.com/office/drawing/2014/main" id="{4BB702F6-0802-4A68-A64D-FF79B71DE7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9" y="275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0" name="Freeform 907">
                <a:extLst>
                  <a:ext uri="{FF2B5EF4-FFF2-40B4-BE49-F238E27FC236}">
                    <a16:creationId xmlns:a16="http://schemas.microsoft.com/office/drawing/2014/main" id="{F5C58D39-B18D-4A3D-99E1-03F25BE9AD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74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1" name="Freeform 908">
                <a:extLst>
                  <a:ext uri="{FF2B5EF4-FFF2-40B4-BE49-F238E27FC236}">
                    <a16:creationId xmlns:a16="http://schemas.microsoft.com/office/drawing/2014/main" id="{749F4E7B-6212-4715-8D94-6F30BF70C9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72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2" name="Freeform 909">
                <a:extLst>
                  <a:ext uri="{FF2B5EF4-FFF2-40B4-BE49-F238E27FC236}">
                    <a16:creationId xmlns:a16="http://schemas.microsoft.com/office/drawing/2014/main" id="{44253615-A040-4147-A5ED-6E3CC7A9D0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70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3" name="Freeform 910">
                <a:extLst>
                  <a:ext uri="{FF2B5EF4-FFF2-40B4-BE49-F238E27FC236}">
                    <a16:creationId xmlns:a16="http://schemas.microsoft.com/office/drawing/2014/main" id="{A3C36A35-51FF-4176-9E83-327620B4CE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95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4" name="Freeform 911">
                <a:extLst>
                  <a:ext uri="{FF2B5EF4-FFF2-40B4-BE49-F238E27FC236}">
                    <a16:creationId xmlns:a16="http://schemas.microsoft.com/office/drawing/2014/main" id="{0816E2B6-879E-4EA5-807D-78F4D07BCF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678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5" name="Freeform 912">
                <a:extLst>
                  <a:ext uri="{FF2B5EF4-FFF2-40B4-BE49-F238E27FC236}">
                    <a16:creationId xmlns:a16="http://schemas.microsoft.com/office/drawing/2014/main" id="{CFAAA523-28B3-451F-A441-74ABE80FEF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664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6" name="Freeform 913">
                <a:extLst>
                  <a:ext uri="{FF2B5EF4-FFF2-40B4-BE49-F238E27FC236}">
                    <a16:creationId xmlns:a16="http://schemas.microsoft.com/office/drawing/2014/main" id="{41B4DBED-F142-4E7C-904F-99F5CB3F57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5" y="2788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7" name="Freeform 914">
                <a:extLst>
                  <a:ext uri="{FF2B5EF4-FFF2-40B4-BE49-F238E27FC236}">
                    <a16:creationId xmlns:a16="http://schemas.microsoft.com/office/drawing/2014/main" id="{5E67A93D-65DC-4FE2-AE81-FECB1B7E06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2" y="277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8" name="Freeform 915">
                <a:extLst>
                  <a:ext uri="{FF2B5EF4-FFF2-40B4-BE49-F238E27FC236}">
                    <a16:creationId xmlns:a16="http://schemas.microsoft.com/office/drawing/2014/main" id="{998857ED-9FB9-44CC-8420-D78B4DAA04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30" y="2834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9" name="Freeform 916">
                <a:extLst>
                  <a:ext uri="{FF2B5EF4-FFF2-40B4-BE49-F238E27FC236}">
                    <a16:creationId xmlns:a16="http://schemas.microsoft.com/office/drawing/2014/main" id="{0ACD687F-FE52-4C19-A706-8A6F2749AE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7" y="2819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0" name="Freeform 917">
                <a:extLst>
                  <a:ext uri="{FF2B5EF4-FFF2-40B4-BE49-F238E27FC236}">
                    <a16:creationId xmlns:a16="http://schemas.microsoft.com/office/drawing/2014/main" id="{8C418468-2C11-4234-A20A-BC4E540665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4" y="2803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1" name="Freeform 918">
                <a:extLst>
                  <a:ext uri="{FF2B5EF4-FFF2-40B4-BE49-F238E27FC236}">
                    <a16:creationId xmlns:a16="http://schemas.microsoft.com/office/drawing/2014/main" id="{A1C71BD4-4977-4122-A9C3-365C13C4DE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11" y="2788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2" name="Freeform 919">
                <a:extLst>
                  <a:ext uri="{FF2B5EF4-FFF2-40B4-BE49-F238E27FC236}">
                    <a16:creationId xmlns:a16="http://schemas.microsoft.com/office/drawing/2014/main" id="{E5901C21-52AF-4C8C-954B-94FB5F5682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2" y="274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3" name="Freeform 920">
                <a:extLst>
                  <a:ext uri="{FF2B5EF4-FFF2-40B4-BE49-F238E27FC236}">
                    <a16:creationId xmlns:a16="http://schemas.microsoft.com/office/drawing/2014/main" id="{2EE2814E-E508-492C-AB78-B0ADA7B38D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9" y="272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4" name="Freeform 921">
                <a:extLst>
                  <a:ext uri="{FF2B5EF4-FFF2-40B4-BE49-F238E27FC236}">
                    <a16:creationId xmlns:a16="http://schemas.microsoft.com/office/drawing/2014/main" id="{CA520FDC-FF27-4A12-8FA6-9345C51C13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70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5" name="Freeform 922">
                <a:extLst>
                  <a:ext uri="{FF2B5EF4-FFF2-40B4-BE49-F238E27FC236}">
                    <a16:creationId xmlns:a16="http://schemas.microsoft.com/office/drawing/2014/main" id="{C653523E-33E0-4D86-97C9-BD7EE73D10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69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6" name="Freeform 923">
                <a:extLst>
                  <a:ext uri="{FF2B5EF4-FFF2-40B4-BE49-F238E27FC236}">
                    <a16:creationId xmlns:a16="http://schemas.microsoft.com/office/drawing/2014/main" id="{302D5459-45B6-49FB-9EB0-CE0C1E77DB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67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7" name="Freeform 924">
                <a:extLst>
                  <a:ext uri="{FF2B5EF4-FFF2-40B4-BE49-F238E27FC236}">
                    <a16:creationId xmlns:a16="http://schemas.microsoft.com/office/drawing/2014/main" id="{65871006-7F43-4D04-94B3-52A5D5C01B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64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8" name="Freeform 925">
                <a:extLst>
                  <a:ext uri="{FF2B5EF4-FFF2-40B4-BE49-F238E27FC236}">
                    <a16:creationId xmlns:a16="http://schemas.microsoft.com/office/drawing/2014/main" id="{A87F1443-2317-41AF-AEB8-A59FF34207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647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9" name="Freeform 926">
                <a:extLst>
                  <a:ext uri="{FF2B5EF4-FFF2-40B4-BE49-F238E27FC236}">
                    <a16:creationId xmlns:a16="http://schemas.microsoft.com/office/drawing/2014/main" id="{4CE70F18-AD4A-462A-A2E6-3B117DDC35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8" y="277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0" name="Freeform 927">
                <a:extLst>
                  <a:ext uri="{FF2B5EF4-FFF2-40B4-BE49-F238E27FC236}">
                    <a16:creationId xmlns:a16="http://schemas.microsoft.com/office/drawing/2014/main" id="{D6008A9C-094E-421B-8500-C4E0893D36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5" y="275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1" name="Freeform 928">
                <a:extLst>
                  <a:ext uri="{FF2B5EF4-FFF2-40B4-BE49-F238E27FC236}">
                    <a16:creationId xmlns:a16="http://schemas.microsoft.com/office/drawing/2014/main" id="{57AFD22A-74CB-4AAE-92FC-6D9A6AEED6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83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2" name="Freeform 929">
                <a:extLst>
                  <a:ext uri="{FF2B5EF4-FFF2-40B4-BE49-F238E27FC236}">
                    <a16:creationId xmlns:a16="http://schemas.microsoft.com/office/drawing/2014/main" id="{04409ABD-3E47-40C1-8932-79975008CB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819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3" name="Freeform 930">
                <a:extLst>
                  <a:ext uri="{FF2B5EF4-FFF2-40B4-BE49-F238E27FC236}">
                    <a16:creationId xmlns:a16="http://schemas.microsoft.com/office/drawing/2014/main" id="{B4B30D0D-4682-4318-AAD6-6E199F300E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30" y="2803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4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4" name="Freeform 931">
                <a:extLst>
                  <a:ext uri="{FF2B5EF4-FFF2-40B4-BE49-F238E27FC236}">
                    <a16:creationId xmlns:a16="http://schemas.microsoft.com/office/drawing/2014/main" id="{85771FA8-DC77-4426-B3CA-7140B5AB82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7" y="2788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4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5" name="Freeform 932">
                <a:extLst>
                  <a:ext uri="{FF2B5EF4-FFF2-40B4-BE49-F238E27FC236}">
                    <a16:creationId xmlns:a16="http://schemas.microsoft.com/office/drawing/2014/main" id="{F2CE76B5-1994-415C-84C7-4F8B89353D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4" y="2772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6" name="Freeform 933">
                <a:extLst>
                  <a:ext uri="{FF2B5EF4-FFF2-40B4-BE49-F238E27FC236}">
                    <a16:creationId xmlns:a16="http://schemas.microsoft.com/office/drawing/2014/main" id="{8A726610-9364-4532-BC7C-EC0445BA1C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5" y="2726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7" name="Freeform 934">
                <a:extLst>
                  <a:ext uri="{FF2B5EF4-FFF2-40B4-BE49-F238E27FC236}">
                    <a16:creationId xmlns:a16="http://schemas.microsoft.com/office/drawing/2014/main" id="{67DB4C36-1F36-4D0D-A311-DF989486DA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2" y="2709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8" name="Freeform 935">
                <a:extLst>
                  <a:ext uri="{FF2B5EF4-FFF2-40B4-BE49-F238E27FC236}">
                    <a16:creationId xmlns:a16="http://schemas.microsoft.com/office/drawing/2014/main" id="{F6703B4D-8D62-4D79-8A47-06ED604771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9" y="2695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9" name="Freeform 936">
                <a:extLst>
                  <a:ext uri="{FF2B5EF4-FFF2-40B4-BE49-F238E27FC236}">
                    <a16:creationId xmlns:a16="http://schemas.microsoft.com/office/drawing/2014/main" id="{ED596699-9169-444B-8C30-E7FCC2E76F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678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0" name="Freeform 937">
                <a:extLst>
                  <a:ext uri="{FF2B5EF4-FFF2-40B4-BE49-F238E27FC236}">
                    <a16:creationId xmlns:a16="http://schemas.microsoft.com/office/drawing/2014/main" id="{F7AA9772-5CF1-4675-99BF-F50E2DC35F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664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1" name="Freeform 938">
                <a:extLst>
                  <a:ext uri="{FF2B5EF4-FFF2-40B4-BE49-F238E27FC236}">
                    <a16:creationId xmlns:a16="http://schemas.microsoft.com/office/drawing/2014/main" id="{DF94F7A8-D16B-42EF-AD86-A68B93DFC1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647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2" name="Freeform 939">
                <a:extLst>
                  <a:ext uri="{FF2B5EF4-FFF2-40B4-BE49-F238E27FC236}">
                    <a16:creationId xmlns:a16="http://schemas.microsoft.com/office/drawing/2014/main" id="{FCC0DF38-7F22-4D7D-B82D-F1809A288F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32"/>
                <a:ext cx="14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3" name="Freeform 940">
                <a:extLst>
                  <a:ext uri="{FF2B5EF4-FFF2-40B4-BE49-F238E27FC236}">
                    <a16:creationId xmlns:a16="http://schemas.microsoft.com/office/drawing/2014/main" id="{E66BB18F-AEB9-419F-B0CD-4B4A02B545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11" y="2757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4" name="Freeform 941">
                <a:extLst>
                  <a:ext uri="{FF2B5EF4-FFF2-40B4-BE49-F238E27FC236}">
                    <a16:creationId xmlns:a16="http://schemas.microsoft.com/office/drawing/2014/main" id="{96322C97-963D-4B38-828E-8B540EB82C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8" y="2740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5" name="Freeform 942">
                <a:extLst>
                  <a:ext uri="{FF2B5EF4-FFF2-40B4-BE49-F238E27FC236}">
                    <a16:creationId xmlns:a16="http://schemas.microsoft.com/office/drawing/2014/main" id="{4071EDCC-39BC-4F19-B8AB-09F98D136D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83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6" name="Freeform 943">
                <a:extLst>
                  <a:ext uri="{FF2B5EF4-FFF2-40B4-BE49-F238E27FC236}">
                    <a16:creationId xmlns:a16="http://schemas.microsoft.com/office/drawing/2014/main" id="{4BC7F6AF-BCC2-4890-8121-3EFCE2BF66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819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7" name="Freeform 944">
                <a:extLst>
                  <a:ext uri="{FF2B5EF4-FFF2-40B4-BE49-F238E27FC236}">
                    <a16:creationId xmlns:a16="http://schemas.microsoft.com/office/drawing/2014/main" id="{CB32EFA6-6DD2-48B4-AFB6-1E503F4BF4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803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8" name="Freeform 945">
                <a:extLst>
                  <a:ext uri="{FF2B5EF4-FFF2-40B4-BE49-F238E27FC236}">
                    <a16:creationId xmlns:a16="http://schemas.microsoft.com/office/drawing/2014/main" id="{4606D79F-DB46-477A-A026-6B67258ABD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9" name="Freeform 946">
                <a:extLst>
                  <a:ext uri="{FF2B5EF4-FFF2-40B4-BE49-F238E27FC236}">
                    <a16:creationId xmlns:a16="http://schemas.microsoft.com/office/drawing/2014/main" id="{75B408B9-8CB9-4022-A1C9-BFC80745AE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0" name="Freeform 947">
                <a:extLst>
                  <a:ext uri="{FF2B5EF4-FFF2-40B4-BE49-F238E27FC236}">
                    <a16:creationId xmlns:a16="http://schemas.microsoft.com/office/drawing/2014/main" id="{B2DDCFD8-FEEA-46B6-9AB7-40EA5B4FAF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1" name="Freeform 948">
                <a:extLst>
                  <a:ext uri="{FF2B5EF4-FFF2-40B4-BE49-F238E27FC236}">
                    <a16:creationId xmlns:a16="http://schemas.microsoft.com/office/drawing/2014/main" id="{7D1AF415-7F9D-4EE5-8933-868A66D3C9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2" name="Freeform 949">
                <a:extLst>
                  <a:ext uri="{FF2B5EF4-FFF2-40B4-BE49-F238E27FC236}">
                    <a16:creationId xmlns:a16="http://schemas.microsoft.com/office/drawing/2014/main" id="{9C50DD2A-A835-4733-8C13-D7684BCA5E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3" name="Freeform 950">
                <a:extLst>
                  <a:ext uri="{FF2B5EF4-FFF2-40B4-BE49-F238E27FC236}">
                    <a16:creationId xmlns:a16="http://schemas.microsoft.com/office/drawing/2014/main" id="{A56705A6-71B1-4AA4-A691-6DE7779122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4" name="Freeform 951">
                <a:extLst>
                  <a:ext uri="{FF2B5EF4-FFF2-40B4-BE49-F238E27FC236}">
                    <a16:creationId xmlns:a16="http://schemas.microsoft.com/office/drawing/2014/main" id="{CE18930E-6944-4F47-B4FC-2DCF3A088C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5" name="Freeform 952">
                <a:extLst>
                  <a:ext uri="{FF2B5EF4-FFF2-40B4-BE49-F238E27FC236}">
                    <a16:creationId xmlns:a16="http://schemas.microsoft.com/office/drawing/2014/main" id="{CD2EEDB1-4BE7-43F1-83A0-7888C42FEB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6" name="Freeform 953">
                <a:extLst>
                  <a:ext uri="{FF2B5EF4-FFF2-40B4-BE49-F238E27FC236}">
                    <a16:creationId xmlns:a16="http://schemas.microsoft.com/office/drawing/2014/main" id="{9A615989-EF7F-44D2-A91D-42EDF1D9FD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7" name="Freeform 954">
                <a:extLst>
                  <a:ext uri="{FF2B5EF4-FFF2-40B4-BE49-F238E27FC236}">
                    <a16:creationId xmlns:a16="http://schemas.microsoft.com/office/drawing/2014/main" id="{7AB071F5-5104-4AAE-89A7-97533C7977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98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8" name="Freeform 955">
                <a:extLst>
                  <a:ext uri="{FF2B5EF4-FFF2-40B4-BE49-F238E27FC236}">
                    <a16:creationId xmlns:a16="http://schemas.microsoft.com/office/drawing/2014/main" id="{68527C49-0492-4AA1-B02C-3BB2EA5D52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9" name="Freeform 956">
                <a:extLst>
                  <a:ext uri="{FF2B5EF4-FFF2-40B4-BE49-F238E27FC236}">
                    <a16:creationId xmlns:a16="http://schemas.microsoft.com/office/drawing/2014/main" id="{A24DB221-7E01-48D5-8F5F-A1A7172DBB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0" name="Freeform 957">
                <a:extLst>
                  <a:ext uri="{FF2B5EF4-FFF2-40B4-BE49-F238E27FC236}">
                    <a16:creationId xmlns:a16="http://schemas.microsoft.com/office/drawing/2014/main" id="{F49F0AA3-20E7-4602-AD49-6EF4C66F1A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819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1" name="Freeform 958">
                <a:extLst>
                  <a:ext uri="{FF2B5EF4-FFF2-40B4-BE49-F238E27FC236}">
                    <a16:creationId xmlns:a16="http://schemas.microsoft.com/office/drawing/2014/main" id="{D4793547-372D-41AA-B3AA-4189DED21A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803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2" name="Freeform 959">
                <a:extLst>
                  <a:ext uri="{FF2B5EF4-FFF2-40B4-BE49-F238E27FC236}">
                    <a16:creationId xmlns:a16="http://schemas.microsoft.com/office/drawing/2014/main" id="{F7EF6560-B3F3-4438-ACDB-67FEA8E7B9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3" name="Freeform 960">
                <a:extLst>
                  <a:ext uri="{FF2B5EF4-FFF2-40B4-BE49-F238E27FC236}">
                    <a16:creationId xmlns:a16="http://schemas.microsoft.com/office/drawing/2014/main" id="{B2913B0D-ED91-4CD3-8EAA-09EA69E7B9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4" name="Freeform 961">
                <a:extLst>
                  <a:ext uri="{FF2B5EF4-FFF2-40B4-BE49-F238E27FC236}">
                    <a16:creationId xmlns:a16="http://schemas.microsoft.com/office/drawing/2014/main" id="{82B8CA89-5E1D-453D-980D-0241954C4F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5" name="Freeform 962">
                <a:extLst>
                  <a:ext uri="{FF2B5EF4-FFF2-40B4-BE49-F238E27FC236}">
                    <a16:creationId xmlns:a16="http://schemas.microsoft.com/office/drawing/2014/main" id="{801AD80B-FB42-45AD-AD1D-4A60A38B41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6" name="Freeform 963">
                <a:extLst>
                  <a:ext uri="{FF2B5EF4-FFF2-40B4-BE49-F238E27FC236}">
                    <a16:creationId xmlns:a16="http://schemas.microsoft.com/office/drawing/2014/main" id="{5BF8DE16-5B76-4B93-B694-A743F82F89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7" name="Freeform 964">
                <a:extLst>
                  <a:ext uri="{FF2B5EF4-FFF2-40B4-BE49-F238E27FC236}">
                    <a16:creationId xmlns:a16="http://schemas.microsoft.com/office/drawing/2014/main" id="{4A6FB363-9BE2-45A9-AB39-763E58EA2C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8" name="Freeform 965">
                <a:extLst>
                  <a:ext uri="{FF2B5EF4-FFF2-40B4-BE49-F238E27FC236}">
                    <a16:creationId xmlns:a16="http://schemas.microsoft.com/office/drawing/2014/main" id="{683A3BF3-A7C5-4B75-81F7-95D6E8C8EA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9" name="Freeform 966">
                <a:extLst>
                  <a:ext uri="{FF2B5EF4-FFF2-40B4-BE49-F238E27FC236}">
                    <a16:creationId xmlns:a16="http://schemas.microsoft.com/office/drawing/2014/main" id="{0839B103-899C-4B18-AA63-0D4BA460B0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0" name="Freeform 967">
                <a:extLst>
                  <a:ext uri="{FF2B5EF4-FFF2-40B4-BE49-F238E27FC236}">
                    <a16:creationId xmlns:a16="http://schemas.microsoft.com/office/drawing/2014/main" id="{E4D34C66-37BA-4757-815A-C4387A3D14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1" name="Freeform 968">
                <a:extLst>
                  <a:ext uri="{FF2B5EF4-FFF2-40B4-BE49-F238E27FC236}">
                    <a16:creationId xmlns:a16="http://schemas.microsoft.com/office/drawing/2014/main" id="{56F1C2F4-B7FE-42D5-9078-D1E0070CA5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2" name="Freeform 969">
                <a:extLst>
                  <a:ext uri="{FF2B5EF4-FFF2-40B4-BE49-F238E27FC236}">
                    <a16:creationId xmlns:a16="http://schemas.microsoft.com/office/drawing/2014/main" id="{C830237E-0CCF-49C9-BE4D-C09C5AAABA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1" y="260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3" name="Freeform 970">
                <a:extLst>
                  <a:ext uri="{FF2B5EF4-FFF2-40B4-BE49-F238E27FC236}">
                    <a16:creationId xmlns:a16="http://schemas.microsoft.com/office/drawing/2014/main" id="{9219C3D8-A0D5-4C14-AFAB-9B0B44841E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4" name="Freeform 971">
                <a:extLst>
                  <a:ext uri="{FF2B5EF4-FFF2-40B4-BE49-F238E27FC236}">
                    <a16:creationId xmlns:a16="http://schemas.microsoft.com/office/drawing/2014/main" id="{1D3B5F8C-2298-4269-8EE4-3CCF8A05AC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5" name="Freeform 972">
                <a:extLst>
                  <a:ext uri="{FF2B5EF4-FFF2-40B4-BE49-F238E27FC236}">
                    <a16:creationId xmlns:a16="http://schemas.microsoft.com/office/drawing/2014/main" id="{3404D140-4FC5-4C18-94C3-BD30CE61C5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803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6" name="Freeform 973">
                <a:extLst>
                  <a:ext uri="{FF2B5EF4-FFF2-40B4-BE49-F238E27FC236}">
                    <a16:creationId xmlns:a16="http://schemas.microsoft.com/office/drawing/2014/main" id="{8C929A81-C1C2-486D-99E7-4438395AF9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7" name="Freeform 974">
                <a:extLst>
                  <a:ext uri="{FF2B5EF4-FFF2-40B4-BE49-F238E27FC236}">
                    <a16:creationId xmlns:a16="http://schemas.microsoft.com/office/drawing/2014/main" id="{D431D412-F1F9-4F74-AFD2-1D4C7F820D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8" name="Freeform 975">
                <a:extLst>
                  <a:ext uri="{FF2B5EF4-FFF2-40B4-BE49-F238E27FC236}">
                    <a16:creationId xmlns:a16="http://schemas.microsoft.com/office/drawing/2014/main" id="{468E7CC1-CA4B-47D0-9F73-B517343EE4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9" name="Freeform 976">
                <a:extLst>
                  <a:ext uri="{FF2B5EF4-FFF2-40B4-BE49-F238E27FC236}">
                    <a16:creationId xmlns:a16="http://schemas.microsoft.com/office/drawing/2014/main" id="{E82A4C8C-14A1-4C73-94A1-089A403EF4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0" name="Freeform 977">
                <a:extLst>
                  <a:ext uri="{FF2B5EF4-FFF2-40B4-BE49-F238E27FC236}">
                    <a16:creationId xmlns:a16="http://schemas.microsoft.com/office/drawing/2014/main" id="{662BC3BC-B188-44F3-984D-E87D999BE6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1" name="Freeform 978">
                <a:extLst>
                  <a:ext uri="{FF2B5EF4-FFF2-40B4-BE49-F238E27FC236}">
                    <a16:creationId xmlns:a16="http://schemas.microsoft.com/office/drawing/2014/main" id="{38325245-7BEA-4655-9FC9-BF282DB706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2" name="Freeform 979">
                <a:extLst>
                  <a:ext uri="{FF2B5EF4-FFF2-40B4-BE49-F238E27FC236}">
                    <a16:creationId xmlns:a16="http://schemas.microsoft.com/office/drawing/2014/main" id="{68FDF32E-0A0A-4084-9936-E3F54F5FE6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3" name="Freeform 980">
                <a:extLst>
                  <a:ext uri="{FF2B5EF4-FFF2-40B4-BE49-F238E27FC236}">
                    <a16:creationId xmlns:a16="http://schemas.microsoft.com/office/drawing/2014/main" id="{B4D61288-BDC2-4F9A-9481-34DBEEAC10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4" name="Freeform 981">
                <a:extLst>
                  <a:ext uri="{FF2B5EF4-FFF2-40B4-BE49-F238E27FC236}">
                    <a16:creationId xmlns:a16="http://schemas.microsoft.com/office/drawing/2014/main" id="{F34CE482-07A5-45EA-806A-39F258B489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5" name="Freeform 982">
                <a:extLst>
                  <a:ext uri="{FF2B5EF4-FFF2-40B4-BE49-F238E27FC236}">
                    <a16:creationId xmlns:a16="http://schemas.microsoft.com/office/drawing/2014/main" id="{D795E5F0-87D2-4F9C-A2A2-CB11E90F13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6" name="Freeform 983">
                <a:extLst>
                  <a:ext uri="{FF2B5EF4-FFF2-40B4-BE49-F238E27FC236}">
                    <a16:creationId xmlns:a16="http://schemas.microsoft.com/office/drawing/2014/main" id="{1BCA6F99-F686-4947-91AC-433ACBB427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60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7" name="Freeform 984">
                <a:extLst>
                  <a:ext uri="{FF2B5EF4-FFF2-40B4-BE49-F238E27FC236}">
                    <a16:creationId xmlns:a16="http://schemas.microsoft.com/office/drawing/2014/main" id="{489A5110-5744-40B9-B90B-8E891EA1B5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4" y="258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8" name="Freeform 985">
                <a:extLst>
                  <a:ext uri="{FF2B5EF4-FFF2-40B4-BE49-F238E27FC236}">
                    <a16:creationId xmlns:a16="http://schemas.microsoft.com/office/drawing/2014/main" id="{EAA13B7D-DECD-4366-BCA7-105457B5FC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9" name="Freeform 986">
                <a:extLst>
                  <a:ext uri="{FF2B5EF4-FFF2-40B4-BE49-F238E27FC236}">
                    <a16:creationId xmlns:a16="http://schemas.microsoft.com/office/drawing/2014/main" id="{8C602350-B702-45C3-A485-4B4BF991D9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" name="Freeform 987">
                <a:extLst>
                  <a:ext uri="{FF2B5EF4-FFF2-40B4-BE49-F238E27FC236}">
                    <a16:creationId xmlns:a16="http://schemas.microsoft.com/office/drawing/2014/main" id="{9497FAC9-624E-4565-89B4-E26448A6BA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39" y="2788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" name="Freeform 988">
                <a:extLst>
                  <a:ext uri="{FF2B5EF4-FFF2-40B4-BE49-F238E27FC236}">
                    <a16:creationId xmlns:a16="http://schemas.microsoft.com/office/drawing/2014/main" id="{6C657F56-0597-4DDD-A3A8-83D6F6B533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6" y="277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" name="Freeform 989">
                <a:extLst>
                  <a:ext uri="{FF2B5EF4-FFF2-40B4-BE49-F238E27FC236}">
                    <a16:creationId xmlns:a16="http://schemas.microsoft.com/office/drawing/2014/main" id="{57391758-9917-459D-9783-651787E3BB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93" y="2757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" name="Freeform 990">
                <a:extLst>
                  <a:ext uri="{FF2B5EF4-FFF2-40B4-BE49-F238E27FC236}">
                    <a16:creationId xmlns:a16="http://schemas.microsoft.com/office/drawing/2014/main" id="{8D4ECA90-CA64-445B-894E-24B0BDF102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20" y="2740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" name="Freeform 991">
                <a:extLst>
                  <a:ext uri="{FF2B5EF4-FFF2-40B4-BE49-F238E27FC236}">
                    <a16:creationId xmlns:a16="http://schemas.microsoft.com/office/drawing/2014/main" id="{B5C9263D-6269-488C-9A4C-C11B0E672D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47" y="2726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" name="Freeform 992">
                <a:extLst>
                  <a:ext uri="{FF2B5EF4-FFF2-40B4-BE49-F238E27FC236}">
                    <a16:creationId xmlns:a16="http://schemas.microsoft.com/office/drawing/2014/main" id="{2EDC0417-A2E4-4493-8E49-7A4866EBEB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74" y="2709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" name="Freeform 993">
                <a:extLst>
                  <a:ext uri="{FF2B5EF4-FFF2-40B4-BE49-F238E27FC236}">
                    <a16:creationId xmlns:a16="http://schemas.microsoft.com/office/drawing/2014/main" id="{B8C56F4F-A955-4C0A-A91A-38EC1D784C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01" y="269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" name="Freeform 994">
                <a:extLst>
                  <a:ext uri="{FF2B5EF4-FFF2-40B4-BE49-F238E27FC236}">
                    <a16:creationId xmlns:a16="http://schemas.microsoft.com/office/drawing/2014/main" id="{CD722FFC-A43D-435D-B03B-A09FE3194B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82" y="2647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" name="Freeform 995">
                <a:extLst>
                  <a:ext uri="{FF2B5EF4-FFF2-40B4-BE49-F238E27FC236}">
                    <a16:creationId xmlns:a16="http://schemas.microsoft.com/office/drawing/2014/main" id="{BFD0F8AB-0243-476D-A349-D26F0BB935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09" y="2632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" name="Freeform 996">
                <a:extLst>
                  <a:ext uri="{FF2B5EF4-FFF2-40B4-BE49-F238E27FC236}">
                    <a16:creationId xmlns:a16="http://schemas.microsoft.com/office/drawing/2014/main" id="{27353DFC-A98E-48B8-9ED2-064AFD8D18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36" y="2616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" name="Freeform 997">
                <a:extLst>
                  <a:ext uri="{FF2B5EF4-FFF2-40B4-BE49-F238E27FC236}">
                    <a16:creationId xmlns:a16="http://schemas.microsoft.com/office/drawing/2014/main" id="{71902340-B83B-478F-8CF7-39F77C49AD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63" y="2601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" name="Freeform 998">
                <a:extLst>
                  <a:ext uri="{FF2B5EF4-FFF2-40B4-BE49-F238E27FC236}">
                    <a16:creationId xmlns:a16="http://schemas.microsoft.com/office/drawing/2014/main" id="{20DFB97A-AD4F-44E0-8BC0-A822C6C689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090" y="258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4 h 4"/>
                  <a:gd name="T4" fmla="*/ 2 w 8"/>
                  <a:gd name="T5" fmla="*/ 4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" name="Freeform 999">
                <a:extLst>
                  <a:ext uri="{FF2B5EF4-FFF2-40B4-BE49-F238E27FC236}">
                    <a16:creationId xmlns:a16="http://schemas.microsoft.com/office/drawing/2014/main" id="{990750B1-CD6B-4A1B-8335-EA7BD5D30E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17" y="256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" name="Freeform 1000">
                <a:extLst>
                  <a:ext uri="{FF2B5EF4-FFF2-40B4-BE49-F238E27FC236}">
                    <a16:creationId xmlns:a16="http://schemas.microsoft.com/office/drawing/2014/main" id="{5208A8F4-B719-4A2B-BB07-9A10B84CDA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28" y="2678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" name="Freeform 1001">
                <a:extLst>
                  <a:ext uri="{FF2B5EF4-FFF2-40B4-BE49-F238E27FC236}">
                    <a16:creationId xmlns:a16="http://schemas.microsoft.com/office/drawing/2014/main" id="{1589BEAC-3A34-4E1B-A1DA-AB80A71718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955" y="266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" name="Freeform 1002">
                <a:extLst>
                  <a:ext uri="{FF2B5EF4-FFF2-40B4-BE49-F238E27FC236}">
                    <a16:creationId xmlns:a16="http://schemas.microsoft.com/office/drawing/2014/main" id="{FC0FCF90-5A2F-4394-9BF7-D8CA63954B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647"/>
                <a:ext cx="14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" name="Freeform 1003">
                <a:extLst>
                  <a:ext uri="{FF2B5EF4-FFF2-40B4-BE49-F238E27FC236}">
                    <a16:creationId xmlns:a16="http://schemas.microsoft.com/office/drawing/2014/main" id="{48117DA3-4713-4B85-B06F-91E5E73727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632"/>
                <a:ext cx="14" cy="9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" name="Freeform 1004">
                <a:extLst>
                  <a:ext uri="{FF2B5EF4-FFF2-40B4-BE49-F238E27FC236}">
                    <a16:creationId xmlns:a16="http://schemas.microsoft.com/office/drawing/2014/main" id="{5B5B22F9-C4F1-43F4-8537-3ABB730B93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61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" name="Freeform 1005">
                <a:extLst>
                  <a:ext uri="{FF2B5EF4-FFF2-40B4-BE49-F238E27FC236}">
                    <a16:creationId xmlns:a16="http://schemas.microsoft.com/office/drawing/2014/main" id="{00B625AF-FD73-4E66-8282-2848AD67E0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601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" name="Freeform 1006">
                <a:extLst>
                  <a:ext uri="{FF2B5EF4-FFF2-40B4-BE49-F238E27FC236}">
                    <a16:creationId xmlns:a16="http://schemas.microsoft.com/office/drawing/2014/main" id="{1D156D27-0AD5-411A-8AFD-031474EFA5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" name="Freeform 1007">
                <a:extLst>
                  <a:ext uri="{FF2B5EF4-FFF2-40B4-BE49-F238E27FC236}">
                    <a16:creationId xmlns:a16="http://schemas.microsoft.com/office/drawing/2014/main" id="{90555EC5-0BE0-4F09-A6B4-6FAB403570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57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" name="Freeform 1008">
                <a:extLst>
                  <a:ext uri="{FF2B5EF4-FFF2-40B4-BE49-F238E27FC236}">
                    <a16:creationId xmlns:a16="http://schemas.microsoft.com/office/drawing/2014/main" id="{852FD347-B324-4229-8684-B6B4BB5696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55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16" name="Group 1210">
              <a:extLst>
                <a:ext uri="{FF2B5EF4-FFF2-40B4-BE49-F238E27FC236}">
                  <a16:creationId xmlns:a16="http://schemas.microsoft.com/office/drawing/2014/main" id="{F01E93BD-F74C-4BDC-A133-7C20EBB5421D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8587992" y="4200035"/>
              <a:ext cx="2102515" cy="1148951"/>
              <a:chOff x="5146" y="2100"/>
              <a:chExt cx="990" cy="541"/>
            </a:xfrm>
          </p:grpSpPr>
          <p:sp>
            <p:nvSpPr>
              <p:cNvPr id="612" name="Freeform 1010">
                <a:extLst>
                  <a:ext uri="{FF2B5EF4-FFF2-40B4-BE49-F238E27FC236}">
                    <a16:creationId xmlns:a16="http://schemas.microsoft.com/office/drawing/2014/main" id="{138403F7-71ED-4BE9-92A2-C26BEE408B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53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3" name="Freeform 1011">
                <a:extLst>
                  <a:ext uri="{FF2B5EF4-FFF2-40B4-BE49-F238E27FC236}">
                    <a16:creationId xmlns:a16="http://schemas.microsoft.com/office/drawing/2014/main" id="{4B231660-2232-43F5-8531-30BA1C9EA8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522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4" name="Freeform 1012">
                <a:extLst>
                  <a:ext uri="{FF2B5EF4-FFF2-40B4-BE49-F238E27FC236}">
                    <a16:creationId xmlns:a16="http://schemas.microsoft.com/office/drawing/2014/main" id="{6420F31A-E31B-466C-BBE5-2F2FB6E238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508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5" name="Freeform 1013">
                <a:extLst>
                  <a:ext uri="{FF2B5EF4-FFF2-40B4-BE49-F238E27FC236}">
                    <a16:creationId xmlns:a16="http://schemas.microsoft.com/office/drawing/2014/main" id="{56CA60F3-A0EA-4207-AFB0-C2F500B474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6" name="Freeform 1014">
                <a:extLst>
                  <a:ext uri="{FF2B5EF4-FFF2-40B4-BE49-F238E27FC236}">
                    <a16:creationId xmlns:a16="http://schemas.microsoft.com/office/drawing/2014/main" id="{A9B6E2F9-6ECF-401F-A089-73E3F91C73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7" name="Freeform 1015">
                <a:extLst>
                  <a:ext uri="{FF2B5EF4-FFF2-40B4-BE49-F238E27FC236}">
                    <a16:creationId xmlns:a16="http://schemas.microsoft.com/office/drawing/2014/main" id="{1FE90382-EEF8-477D-9FE1-67F66C01D4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8" name="Freeform 1016">
                <a:extLst>
                  <a:ext uri="{FF2B5EF4-FFF2-40B4-BE49-F238E27FC236}">
                    <a16:creationId xmlns:a16="http://schemas.microsoft.com/office/drawing/2014/main" id="{79F7BC78-4916-445A-A230-9BE491B63E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9" name="Freeform 1017">
                <a:extLst>
                  <a:ext uri="{FF2B5EF4-FFF2-40B4-BE49-F238E27FC236}">
                    <a16:creationId xmlns:a16="http://schemas.microsoft.com/office/drawing/2014/main" id="{069733A6-71D1-468C-B909-9C8260D150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632"/>
                <a:ext cx="14" cy="9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0" name="Freeform 1018">
                <a:extLst>
                  <a:ext uri="{FF2B5EF4-FFF2-40B4-BE49-F238E27FC236}">
                    <a16:creationId xmlns:a16="http://schemas.microsoft.com/office/drawing/2014/main" id="{57CCF68F-B8C6-4B0B-B434-1192844682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616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1" name="Freeform 1019">
                <a:extLst>
                  <a:ext uri="{FF2B5EF4-FFF2-40B4-BE49-F238E27FC236}">
                    <a16:creationId xmlns:a16="http://schemas.microsoft.com/office/drawing/2014/main" id="{9D0AAFD0-9D84-4A87-907E-BF76DB10E1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601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2" name="Freeform 1020">
                <a:extLst>
                  <a:ext uri="{FF2B5EF4-FFF2-40B4-BE49-F238E27FC236}">
                    <a16:creationId xmlns:a16="http://schemas.microsoft.com/office/drawing/2014/main" id="{1273298E-E26B-4AC6-8249-746F7378D3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3" name="Freeform 1021">
                <a:extLst>
                  <a:ext uri="{FF2B5EF4-FFF2-40B4-BE49-F238E27FC236}">
                    <a16:creationId xmlns:a16="http://schemas.microsoft.com/office/drawing/2014/main" id="{AC6FBAA4-329B-46E3-B385-12AEE8C75F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4" name="Freeform 1022">
                <a:extLst>
                  <a:ext uri="{FF2B5EF4-FFF2-40B4-BE49-F238E27FC236}">
                    <a16:creationId xmlns:a16="http://schemas.microsoft.com/office/drawing/2014/main" id="{7B2FCFDA-826D-4CDD-ABF4-F553C54FFC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5" name="Freeform 1023">
                <a:extLst>
                  <a:ext uri="{FF2B5EF4-FFF2-40B4-BE49-F238E27FC236}">
                    <a16:creationId xmlns:a16="http://schemas.microsoft.com/office/drawing/2014/main" id="{B4E36AD6-A196-4274-9342-B68D770D48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53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6" name="Freeform 1024">
                <a:extLst>
                  <a:ext uri="{FF2B5EF4-FFF2-40B4-BE49-F238E27FC236}">
                    <a16:creationId xmlns:a16="http://schemas.microsoft.com/office/drawing/2014/main" id="{F4D21094-0D40-423D-9255-04C9DAF68C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522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7" name="Freeform 1025">
                <a:extLst>
                  <a:ext uri="{FF2B5EF4-FFF2-40B4-BE49-F238E27FC236}">
                    <a16:creationId xmlns:a16="http://schemas.microsoft.com/office/drawing/2014/main" id="{9983EC80-97A3-49CA-9F61-2984CEAC78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50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8" name="Freeform 1026">
                <a:extLst>
                  <a:ext uri="{FF2B5EF4-FFF2-40B4-BE49-F238E27FC236}">
                    <a16:creationId xmlns:a16="http://schemas.microsoft.com/office/drawing/2014/main" id="{FBF694CB-4D7D-4BFA-B079-064BCF8F3C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49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9" name="Freeform 1027">
                <a:extLst>
                  <a:ext uri="{FF2B5EF4-FFF2-40B4-BE49-F238E27FC236}">
                    <a16:creationId xmlns:a16="http://schemas.microsoft.com/office/drawing/2014/main" id="{9592490D-ED1F-47B1-8CD0-D9B8F1B6D1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47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0" name="Freeform 1028">
                <a:extLst>
                  <a:ext uri="{FF2B5EF4-FFF2-40B4-BE49-F238E27FC236}">
                    <a16:creationId xmlns:a16="http://schemas.microsoft.com/office/drawing/2014/main" id="{B854072E-307D-4458-9E0E-8D5E4CF138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1" name="Freeform 1029">
                <a:extLst>
                  <a:ext uri="{FF2B5EF4-FFF2-40B4-BE49-F238E27FC236}">
                    <a16:creationId xmlns:a16="http://schemas.microsoft.com/office/drawing/2014/main" id="{5FE39318-7632-4C20-A6E5-AF7ABEE72F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2" name="Freeform 1030">
                <a:extLst>
                  <a:ext uri="{FF2B5EF4-FFF2-40B4-BE49-F238E27FC236}">
                    <a16:creationId xmlns:a16="http://schemas.microsoft.com/office/drawing/2014/main" id="{325C28D3-FC8D-4F2A-A903-1C7B74EC01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42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3" name="Freeform 1031">
                <a:extLst>
                  <a:ext uri="{FF2B5EF4-FFF2-40B4-BE49-F238E27FC236}">
                    <a16:creationId xmlns:a16="http://schemas.microsoft.com/office/drawing/2014/main" id="{EFDD8F34-32A0-4C35-AA93-997DBB43EB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41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4" name="Freeform 1032">
                <a:extLst>
                  <a:ext uri="{FF2B5EF4-FFF2-40B4-BE49-F238E27FC236}">
                    <a16:creationId xmlns:a16="http://schemas.microsoft.com/office/drawing/2014/main" id="{49CF90A4-CD77-4BE1-8B14-D5B918766B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42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5" name="Freeform 1033">
                <a:extLst>
                  <a:ext uri="{FF2B5EF4-FFF2-40B4-BE49-F238E27FC236}">
                    <a16:creationId xmlns:a16="http://schemas.microsoft.com/office/drawing/2014/main" id="{AE47884A-08FA-49B0-A458-C2DEB766EC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616"/>
                <a:ext cx="14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6" name="Freeform 1034">
                <a:extLst>
                  <a:ext uri="{FF2B5EF4-FFF2-40B4-BE49-F238E27FC236}">
                    <a16:creationId xmlns:a16="http://schemas.microsoft.com/office/drawing/2014/main" id="{19F3F3AA-E5AB-4064-BE43-F5EBEEA293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601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7" name="Freeform 1035">
                <a:extLst>
                  <a:ext uri="{FF2B5EF4-FFF2-40B4-BE49-F238E27FC236}">
                    <a16:creationId xmlns:a16="http://schemas.microsoft.com/office/drawing/2014/main" id="{E3849985-5BF8-42C3-A3B7-2AA52E7085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8" name="Freeform 1036">
                <a:extLst>
                  <a:ext uri="{FF2B5EF4-FFF2-40B4-BE49-F238E27FC236}">
                    <a16:creationId xmlns:a16="http://schemas.microsoft.com/office/drawing/2014/main" id="{BD58F1D8-D157-48FE-ACBD-7FC6C5CCFA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9" name="Freeform 1037">
                <a:extLst>
                  <a:ext uri="{FF2B5EF4-FFF2-40B4-BE49-F238E27FC236}">
                    <a16:creationId xmlns:a16="http://schemas.microsoft.com/office/drawing/2014/main" id="{1E4F4074-D3E2-4B08-9EA0-7CE87231CB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0" name="Freeform 1038">
                <a:extLst>
                  <a:ext uri="{FF2B5EF4-FFF2-40B4-BE49-F238E27FC236}">
                    <a16:creationId xmlns:a16="http://schemas.microsoft.com/office/drawing/2014/main" id="{3A81F162-C0D2-4545-84F1-4B7484B471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1" name="Freeform 1039">
                <a:extLst>
                  <a:ext uri="{FF2B5EF4-FFF2-40B4-BE49-F238E27FC236}">
                    <a16:creationId xmlns:a16="http://schemas.microsoft.com/office/drawing/2014/main" id="{DE52F1FD-C271-4FE1-8DC8-A7A2D7F9AD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522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2" name="Freeform 1040">
                <a:extLst>
                  <a:ext uri="{FF2B5EF4-FFF2-40B4-BE49-F238E27FC236}">
                    <a16:creationId xmlns:a16="http://schemas.microsoft.com/office/drawing/2014/main" id="{84FE408F-ACF5-4C51-9D66-D2D0AF2DFF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508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3" name="Freeform 1041">
                <a:extLst>
                  <a:ext uri="{FF2B5EF4-FFF2-40B4-BE49-F238E27FC236}">
                    <a16:creationId xmlns:a16="http://schemas.microsoft.com/office/drawing/2014/main" id="{63CDECDF-CD76-48A8-8239-7EB2D9C97F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49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4" name="Freeform 1042">
                <a:extLst>
                  <a:ext uri="{FF2B5EF4-FFF2-40B4-BE49-F238E27FC236}">
                    <a16:creationId xmlns:a16="http://schemas.microsoft.com/office/drawing/2014/main" id="{71466B24-305F-4AD7-90F4-1CAC522247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476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5" name="Freeform 1043">
                <a:extLst>
                  <a:ext uri="{FF2B5EF4-FFF2-40B4-BE49-F238E27FC236}">
                    <a16:creationId xmlns:a16="http://schemas.microsoft.com/office/drawing/2014/main" id="{52FD3B07-7FAC-49B8-ADBC-E929A366D5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46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6" name="Freeform 1044">
                <a:extLst>
                  <a:ext uri="{FF2B5EF4-FFF2-40B4-BE49-F238E27FC236}">
                    <a16:creationId xmlns:a16="http://schemas.microsoft.com/office/drawing/2014/main" id="{C595B320-A10B-4B2A-B654-15728AB76F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445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7" name="Freeform 1045">
                <a:extLst>
                  <a:ext uri="{FF2B5EF4-FFF2-40B4-BE49-F238E27FC236}">
                    <a16:creationId xmlns:a16="http://schemas.microsoft.com/office/drawing/2014/main" id="{0E7EEB12-50A7-4D26-8A3C-7D7DE9A37B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429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8" name="Freeform 1046">
                <a:extLst>
                  <a:ext uri="{FF2B5EF4-FFF2-40B4-BE49-F238E27FC236}">
                    <a16:creationId xmlns:a16="http://schemas.microsoft.com/office/drawing/2014/main" id="{5832276B-55DC-4CB5-8353-C9C75C2D09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41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9" name="Freeform 1047">
                <a:extLst>
                  <a:ext uri="{FF2B5EF4-FFF2-40B4-BE49-F238E27FC236}">
                    <a16:creationId xmlns:a16="http://schemas.microsoft.com/office/drawing/2014/main" id="{916F8160-B465-4FED-9E66-000AD71C96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414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0" name="Freeform 1048">
                <a:extLst>
                  <a:ext uri="{FF2B5EF4-FFF2-40B4-BE49-F238E27FC236}">
                    <a16:creationId xmlns:a16="http://schemas.microsoft.com/office/drawing/2014/main" id="{52B62488-3D9E-4B0D-BD05-03B79C8CA2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97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1" name="Freeform 1049">
                <a:extLst>
                  <a:ext uri="{FF2B5EF4-FFF2-40B4-BE49-F238E27FC236}">
                    <a16:creationId xmlns:a16="http://schemas.microsoft.com/office/drawing/2014/main" id="{FEBFEE65-1B15-4485-9D48-1C10124D2C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601"/>
                <a:ext cx="14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2" name="Freeform 1050">
                <a:extLst>
                  <a:ext uri="{FF2B5EF4-FFF2-40B4-BE49-F238E27FC236}">
                    <a16:creationId xmlns:a16="http://schemas.microsoft.com/office/drawing/2014/main" id="{AA12E409-6C47-40A1-8DFB-CE5A358594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585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3" name="Freeform 1051">
                <a:extLst>
                  <a:ext uri="{FF2B5EF4-FFF2-40B4-BE49-F238E27FC236}">
                    <a16:creationId xmlns:a16="http://schemas.microsoft.com/office/drawing/2014/main" id="{56970D0F-5A42-49E9-AE21-23147C5413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4" name="Freeform 1052">
                <a:extLst>
                  <a:ext uri="{FF2B5EF4-FFF2-40B4-BE49-F238E27FC236}">
                    <a16:creationId xmlns:a16="http://schemas.microsoft.com/office/drawing/2014/main" id="{75675BAD-DE62-4E35-8264-1D56F99EFF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5" name="Freeform 1053">
                <a:extLst>
                  <a:ext uri="{FF2B5EF4-FFF2-40B4-BE49-F238E27FC236}">
                    <a16:creationId xmlns:a16="http://schemas.microsoft.com/office/drawing/2014/main" id="{ED6ED401-56E7-4FED-8CF0-E10658ABA5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6" name="Freeform 1054">
                <a:extLst>
                  <a:ext uri="{FF2B5EF4-FFF2-40B4-BE49-F238E27FC236}">
                    <a16:creationId xmlns:a16="http://schemas.microsoft.com/office/drawing/2014/main" id="{6D089AE6-05A9-4773-B413-82F66E5A79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52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7" name="Freeform 1055">
                <a:extLst>
                  <a:ext uri="{FF2B5EF4-FFF2-40B4-BE49-F238E27FC236}">
                    <a16:creationId xmlns:a16="http://schemas.microsoft.com/office/drawing/2014/main" id="{04B13DDB-2019-4763-9903-7CCF476F4C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8" name="Freeform 1056">
                <a:extLst>
                  <a:ext uri="{FF2B5EF4-FFF2-40B4-BE49-F238E27FC236}">
                    <a16:creationId xmlns:a16="http://schemas.microsoft.com/office/drawing/2014/main" id="{3525E049-C2A2-4E25-9E5E-6AC64E0102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9" name="Freeform 1057">
                <a:extLst>
                  <a:ext uri="{FF2B5EF4-FFF2-40B4-BE49-F238E27FC236}">
                    <a16:creationId xmlns:a16="http://schemas.microsoft.com/office/drawing/2014/main" id="{9EDD470A-6BE0-416F-8D94-93D935B5A2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0" name="Freeform 1058">
                <a:extLst>
                  <a:ext uri="{FF2B5EF4-FFF2-40B4-BE49-F238E27FC236}">
                    <a16:creationId xmlns:a16="http://schemas.microsoft.com/office/drawing/2014/main" id="{3C43146C-88A4-4D7D-84FA-35959C865E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1" name="Freeform 1059">
                <a:extLst>
                  <a:ext uri="{FF2B5EF4-FFF2-40B4-BE49-F238E27FC236}">
                    <a16:creationId xmlns:a16="http://schemas.microsoft.com/office/drawing/2014/main" id="{2D62256A-FC45-4D3B-8F2F-EBF080F1B3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2" name="Freeform 1060">
                <a:extLst>
                  <a:ext uri="{FF2B5EF4-FFF2-40B4-BE49-F238E27FC236}">
                    <a16:creationId xmlns:a16="http://schemas.microsoft.com/office/drawing/2014/main" id="{472D4781-4528-41A8-83E7-46FADBC58A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3" name="Freeform 1061">
                <a:extLst>
                  <a:ext uri="{FF2B5EF4-FFF2-40B4-BE49-F238E27FC236}">
                    <a16:creationId xmlns:a16="http://schemas.microsoft.com/office/drawing/2014/main" id="{0DF633A2-92C9-46B0-AAA7-7DDAAED672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4" name="Freeform 1062">
                <a:extLst>
                  <a:ext uri="{FF2B5EF4-FFF2-40B4-BE49-F238E27FC236}">
                    <a16:creationId xmlns:a16="http://schemas.microsoft.com/office/drawing/2014/main" id="{E4992E29-DF5F-49FD-8DDF-91816FD14A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5" name="Freeform 1063">
                <a:extLst>
                  <a:ext uri="{FF2B5EF4-FFF2-40B4-BE49-F238E27FC236}">
                    <a16:creationId xmlns:a16="http://schemas.microsoft.com/office/drawing/2014/main" id="{C392BA3C-A84C-4017-AB00-DD3990120B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381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6" name="Freeform 1064">
                <a:extLst>
                  <a:ext uri="{FF2B5EF4-FFF2-40B4-BE49-F238E27FC236}">
                    <a16:creationId xmlns:a16="http://schemas.microsoft.com/office/drawing/2014/main" id="{637C346F-D0ED-42B7-B934-4113EC52BF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97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7" name="Freeform 1065">
                <a:extLst>
                  <a:ext uri="{FF2B5EF4-FFF2-40B4-BE49-F238E27FC236}">
                    <a16:creationId xmlns:a16="http://schemas.microsoft.com/office/drawing/2014/main" id="{D81609B9-CDB3-4497-8430-9390FF180F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585"/>
                <a:ext cx="15" cy="10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8" name="Freeform 1066">
                <a:extLst>
                  <a:ext uri="{FF2B5EF4-FFF2-40B4-BE49-F238E27FC236}">
                    <a16:creationId xmlns:a16="http://schemas.microsoft.com/office/drawing/2014/main" id="{DD0C246B-35A7-49A8-835B-7734ED248E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570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9" name="Freeform 1067">
                <a:extLst>
                  <a:ext uri="{FF2B5EF4-FFF2-40B4-BE49-F238E27FC236}">
                    <a16:creationId xmlns:a16="http://schemas.microsoft.com/office/drawing/2014/main" id="{75F71D6F-4BBC-4FD4-9E06-12F42FC5B3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55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0" name="Freeform 1068">
                <a:extLst>
                  <a:ext uri="{FF2B5EF4-FFF2-40B4-BE49-F238E27FC236}">
                    <a16:creationId xmlns:a16="http://schemas.microsoft.com/office/drawing/2014/main" id="{A5B82482-5A47-4F41-AAEB-21CDF6DF6A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1" name="Freeform 1069">
                <a:extLst>
                  <a:ext uri="{FF2B5EF4-FFF2-40B4-BE49-F238E27FC236}">
                    <a16:creationId xmlns:a16="http://schemas.microsoft.com/office/drawing/2014/main" id="{23CA0DB3-4BE4-4626-9621-01279B82D8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52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2" name="Freeform 1070">
                <a:extLst>
                  <a:ext uri="{FF2B5EF4-FFF2-40B4-BE49-F238E27FC236}">
                    <a16:creationId xmlns:a16="http://schemas.microsoft.com/office/drawing/2014/main" id="{A33509CF-1B65-413E-9E95-94E8D3938E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3" name="Freeform 1071">
                <a:extLst>
                  <a:ext uri="{FF2B5EF4-FFF2-40B4-BE49-F238E27FC236}">
                    <a16:creationId xmlns:a16="http://schemas.microsoft.com/office/drawing/2014/main" id="{F02A4A66-77DB-48C0-B0A4-9031B827A5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4" name="Freeform 1072">
                <a:extLst>
                  <a:ext uri="{FF2B5EF4-FFF2-40B4-BE49-F238E27FC236}">
                    <a16:creationId xmlns:a16="http://schemas.microsoft.com/office/drawing/2014/main" id="{A0CB5BED-15F3-4795-B913-C4587CFC1E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5" name="Freeform 1073">
                <a:extLst>
                  <a:ext uri="{FF2B5EF4-FFF2-40B4-BE49-F238E27FC236}">
                    <a16:creationId xmlns:a16="http://schemas.microsoft.com/office/drawing/2014/main" id="{AEC74C19-A741-4088-AA90-D2397D64AD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6" name="Freeform 1074">
                <a:extLst>
                  <a:ext uri="{FF2B5EF4-FFF2-40B4-BE49-F238E27FC236}">
                    <a16:creationId xmlns:a16="http://schemas.microsoft.com/office/drawing/2014/main" id="{26B8DAD3-2ED4-4EAF-B9A8-ADB95F3614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7" name="Freeform 1075">
                <a:extLst>
                  <a:ext uri="{FF2B5EF4-FFF2-40B4-BE49-F238E27FC236}">
                    <a16:creationId xmlns:a16="http://schemas.microsoft.com/office/drawing/2014/main" id="{7B0A7DE2-A354-47F3-B219-C762409A00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8" name="Freeform 1076">
                <a:extLst>
                  <a:ext uri="{FF2B5EF4-FFF2-40B4-BE49-F238E27FC236}">
                    <a16:creationId xmlns:a16="http://schemas.microsoft.com/office/drawing/2014/main" id="{43AD211A-E986-495B-A181-92DEF47A03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9" name="Freeform 1077">
                <a:extLst>
                  <a:ext uri="{FF2B5EF4-FFF2-40B4-BE49-F238E27FC236}">
                    <a16:creationId xmlns:a16="http://schemas.microsoft.com/office/drawing/2014/main" id="{B3EACF88-7B03-4C59-B3D7-49CFB98163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0" name="Freeform 1078">
                <a:extLst>
                  <a:ext uri="{FF2B5EF4-FFF2-40B4-BE49-F238E27FC236}">
                    <a16:creationId xmlns:a16="http://schemas.microsoft.com/office/drawing/2014/main" id="{708E6913-6CD6-49DD-A530-41F3845E46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38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1" name="Freeform 1079">
                <a:extLst>
                  <a:ext uri="{FF2B5EF4-FFF2-40B4-BE49-F238E27FC236}">
                    <a16:creationId xmlns:a16="http://schemas.microsoft.com/office/drawing/2014/main" id="{65E900C0-9D01-40E9-9C80-3ABE982569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6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2" name="Freeform 1080">
                <a:extLst>
                  <a:ext uri="{FF2B5EF4-FFF2-40B4-BE49-F238E27FC236}">
                    <a16:creationId xmlns:a16="http://schemas.microsoft.com/office/drawing/2014/main" id="{AA632714-E488-4E18-9559-A42E1908DA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35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3" name="Freeform 1081">
                <a:extLst>
                  <a:ext uri="{FF2B5EF4-FFF2-40B4-BE49-F238E27FC236}">
                    <a16:creationId xmlns:a16="http://schemas.microsoft.com/office/drawing/2014/main" id="{D6370EFB-216E-4188-83F1-06739F72B4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570"/>
                <a:ext cx="15" cy="8"/>
              </a:xfrm>
              <a:custGeom>
                <a:avLst/>
                <a:gdLst>
                  <a:gd name="T0" fmla="*/ 1 w 7"/>
                  <a:gd name="T1" fmla="*/ 0 h 4"/>
                  <a:gd name="T2" fmla="*/ 6 w 7"/>
                  <a:gd name="T3" fmla="*/ 0 h 4"/>
                  <a:gd name="T4" fmla="*/ 6 w 7"/>
                  <a:gd name="T5" fmla="*/ 3 h 4"/>
                  <a:gd name="T6" fmla="*/ 1 w 7"/>
                  <a:gd name="T7" fmla="*/ 3 h 4"/>
                  <a:gd name="T8" fmla="*/ 1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1" y="0"/>
                    </a:moveTo>
                    <a:cubicBezTo>
                      <a:pt x="2" y="0"/>
                      <a:pt x="5" y="0"/>
                      <a:pt x="6" y="0"/>
                    </a:cubicBez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4" name="Freeform 1082">
                <a:extLst>
                  <a:ext uri="{FF2B5EF4-FFF2-40B4-BE49-F238E27FC236}">
                    <a16:creationId xmlns:a16="http://schemas.microsoft.com/office/drawing/2014/main" id="{CE4B56DA-8B4D-4965-8518-07169CD684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553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5" name="Freeform 1083">
                <a:extLst>
                  <a:ext uri="{FF2B5EF4-FFF2-40B4-BE49-F238E27FC236}">
                    <a16:creationId xmlns:a16="http://schemas.microsoft.com/office/drawing/2014/main" id="{9367102E-D132-4CE0-A1A2-B3FCED0775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539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6" name="Freeform 1084">
                <a:extLst>
                  <a:ext uri="{FF2B5EF4-FFF2-40B4-BE49-F238E27FC236}">
                    <a16:creationId xmlns:a16="http://schemas.microsoft.com/office/drawing/2014/main" id="{CB03B152-7694-4275-B1AD-CC09B9A813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522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7" name="Freeform 1085">
                <a:extLst>
                  <a:ext uri="{FF2B5EF4-FFF2-40B4-BE49-F238E27FC236}">
                    <a16:creationId xmlns:a16="http://schemas.microsoft.com/office/drawing/2014/main" id="{9BCCB2D1-63CF-4C17-B802-69C45DB753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8" name="Freeform 1086">
                <a:extLst>
                  <a:ext uri="{FF2B5EF4-FFF2-40B4-BE49-F238E27FC236}">
                    <a16:creationId xmlns:a16="http://schemas.microsoft.com/office/drawing/2014/main" id="{F4ED2792-23F3-401E-BCE4-FCB43C7080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9" name="Freeform 1087">
                <a:extLst>
                  <a:ext uri="{FF2B5EF4-FFF2-40B4-BE49-F238E27FC236}">
                    <a16:creationId xmlns:a16="http://schemas.microsoft.com/office/drawing/2014/main" id="{0DAB115A-B019-4166-BFE3-01C6A2B880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0" name="Freeform 1088">
                <a:extLst>
                  <a:ext uri="{FF2B5EF4-FFF2-40B4-BE49-F238E27FC236}">
                    <a16:creationId xmlns:a16="http://schemas.microsoft.com/office/drawing/2014/main" id="{1EBD4E19-86F5-4AB9-B0A6-9EC5D8A8E4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1" name="Freeform 1089">
                <a:extLst>
                  <a:ext uri="{FF2B5EF4-FFF2-40B4-BE49-F238E27FC236}">
                    <a16:creationId xmlns:a16="http://schemas.microsoft.com/office/drawing/2014/main" id="{C5C5898F-88E7-42C6-97FC-6BDC18A21D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2" name="Freeform 1090">
                <a:extLst>
                  <a:ext uri="{FF2B5EF4-FFF2-40B4-BE49-F238E27FC236}">
                    <a16:creationId xmlns:a16="http://schemas.microsoft.com/office/drawing/2014/main" id="{CF8AFE13-793E-4F76-8D86-D7FD40792D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3" name="Freeform 1091">
                <a:extLst>
                  <a:ext uri="{FF2B5EF4-FFF2-40B4-BE49-F238E27FC236}">
                    <a16:creationId xmlns:a16="http://schemas.microsoft.com/office/drawing/2014/main" id="{B50A7D9D-5B7B-4846-B1C9-4B78546606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4" name="Freeform 1092">
                <a:extLst>
                  <a:ext uri="{FF2B5EF4-FFF2-40B4-BE49-F238E27FC236}">
                    <a16:creationId xmlns:a16="http://schemas.microsoft.com/office/drawing/2014/main" id="{838139B3-2747-4997-8CB7-E5FAB33B11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5" name="Freeform 1093">
                <a:extLst>
                  <a:ext uri="{FF2B5EF4-FFF2-40B4-BE49-F238E27FC236}">
                    <a16:creationId xmlns:a16="http://schemas.microsoft.com/office/drawing/2014/main" id="{4A46C8C5-74B4-4755-BF0B-5D7ED76D03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38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6" name="Freeform 1094">
                <a:extLst>
                  <a:ext uri="{FF2B5EF4-FFF2-40B4-BE49-F238E27FC236}">
                    <a16:creationId xmlns:a16="http://schemas.microsoft.com/office/drawing/2014/main" id="{0AB6BF18-952E-4922-8729-B0C7EA89F8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6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7" name="Freeform 1095">
                <a:extLst>
                  <a:ext uri="{FF2B5EF4-FFF2-40B4-BE49-F238E27FC236}">
                    <a16:creationId xmlns:a16="http://schemas.microsoft.com/office/drawing/2014/main" id="{8C7F28F0-28FC-4B9E-9FD9-11535CC314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350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8" name="Freeform 1096">
                <a:extLst>
                  <a:ext uri="{FF2B5EF4-FFF2-40B4-BE49-F238E27FC236}">
                    <a16:creationId xmlns:a16="http://schemas.microsoft.com/office/drawing/2014/main" id="{475BB25D-148A-4723-9990-CBB1958C94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3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9" name="Freeform 1097">
                <a:extLst>
                  <a:ext uri="{FF2B5EF4-FFF2-40B4-BE49-F238E27FC236}">
                    <a16:creationId xmlns:a16="http://schemas.microsoft.com/office/drawing/2014/main" id="{77E36076-3C59-4F77-936C-1F390C772E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46" y="2553"/>
                <a:ext cx="15" cy="11"/>
              </a:xfrm>
              <a:custGeom>
                <a:avLst/>
                <a:gdLst>
                  <a:gd name="T0" fmla="*/ 1 w 7"/>
                  <a:gd name="T1" fmla="*/ 1 h 5"/>
                  <a:gd name="T2" fmla="*/ 6 w 7"/>
                  <a:gd name="T3" fmla="*/ 1 h 5"/>
                  <a:gd name="T4" fmla="*/ 6 w 7"/>
                  <a:gd name="T5" fmla="*/ 4 h 5"/>
                  <a:gd name="T6" fmla="*/ 1 w 7"/>
                  <a:gd name="T7" fmla="*/ 4 h 5"/>
                  <a:gd name="T8" fmla="*/ 1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1" y="1"/>
                    </a:moveTo>
                    <a:cubicBezTo>
                      <a:pt x="2" y="0"/>
                      <a:pt x="5" y="0"/>
                      <a:pt x="6" y="1"/>
                    </a:cubicBez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0" name="Freeform 1098">
                <a:extLst>
                  <a:ext uri="{FF2B5EF4-FFF2-40B4-BE49-F238E27FC236}">
                    <a16:creationId xmlns:a16="http://schemas.microsoft.com/office/drawing/2014/main" id="{EAB03563-FEE8-4624-BC18-D32132151E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73" y="2539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1" name="Freeform 1099">
                <a:extLst>
                  <a:ext uri="{FF2B5EF4-FFF2-40B4-BE49-F238E27FC236}">
                    <a16:creationId xmlns:a16="http://schemas.microsoft.com/office/drawing/2014/main" id="{94EC1207-0867-4B6D-B8A0-082E694A0D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0" y="252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2" name="Freeform 1100">
                <a:extLst>
                  <a:ext uri="{FF2B5EF4-FFF2-40B4-BE49-F238E27FC236}">
                    <a16:creationId xmlns:a16="http://schemas.microsoft.com/office/drawing/2014/main" id="{CB78ACA6-641F-43E4-985E-CBE6A34864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28" y="2508"/>
                <a:ext cx="14" cy="8"/>
              </a:xfrm>
              <a:custGeom>
                <a:avLst/>
                <a:gdLst>
                  <a:gd name="T0" fmla="*/ 6 w 7"/>
                  <a:gd name="T1" fmla="*/ 0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0 h 4"/>
                  <a:gd name="T8" fmla="*/ 6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7" y="1"/>
                      <a:pt x="7" y="2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3" name="Freeform 1101">
                <a:extLst>
                  <a:ext uri="{FF2B5EF4-FFF2-40B4-BE49-F238E27FC236}">
                    <a16:creationId xmlns:a16="http://schemas.microsoft.com/office/drawing/2014/main" id="{1FA227AC-1EF0-4470-8B10-6FEC8F83DE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5" y="2491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4" name="Freeform 1102">
                <a:extLst>
                  <a:ext uri="{FF2B5EF4-FFF2-40B4-BE49-F238E27FC236}">
                    <a16:creationId xmlns:a16="http://schemas.microsoft.com/office/drawing/2014/main" id="{FB5DCB82-725A-46D0-BEEB-89E22DDAB3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474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5" name="Freeform 1103">
                <a:extLst>
                  <a:ext uri="{FF2B5EF4-FFF2-40B4-BE49-F238E27FC236}">
                    <a16:creationId xmlns:a16="http://schemas.microsoft.com/office/drawing/2014/main" id="{A0E91437-04A5-411E-AE1F-79C2030353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09" y="2460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6" name="Freeform 1104">
                <a:extLst>
                  <a:ext uri="{FF2B5EF4-FFF2-40B4-BE49-F238E27FC236}">
                    <a16:creationId xmlns:a16="http://schemas.microsoft.com/office/drawing/2014/main" id="{E776E6A2-025D-4DAA-BEC4-EA6D3FE433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36" y="2443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7" name="Freeform 1105">
                <a:extLst>
                  <a:ext uri="{FF2B5EF4-FFF2-40B4-BE49-F238E27FC236}">
                    <a16:creationId xmlns:a16="http://schemas.microsoft.com/office/drawing/2014/main" id="{535B4656-7101-42F7-AD4A-452DE5234E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63" y="2429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8" name="Freeform 1106">
                <a:extLst>
                  <a:ext uri="{FF2B5EF4-FFF2-40B4-BE49-F238E27FC236}">
                    <a16:creationId xmlns:a16="http://schemas.microsoft.com/office/drawing/2014/main" id="{7124AA0A-130E-4BE1-977C-100712C166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90" y="2412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9" name="Freeform 1107">
                <a:extLst>
                  <a:ext uri="{FF2B5EF4-FFF2-40B4-BE49-F238E27FC236}">
                    <a16:creationId xmlns:a16="http://schemas.microsoft.com/office/drawing/2014/main" id="{8A93F6AA-6FE1-4950-9891-DF290D88B2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7" y="2397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0" name="Freeform 1108">
                <a:extLst>
                  <a:ext uri="{FF2B5EF4-FFF2-40B4-BE49-F238E27FC236}">
                    <a16:creationId xmlns:a16="http://schemas.microsoft.com/office/drawing/2014/main" id="{3EBC5609-807C-4708-A59C-39B0F11FF6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44" y="2381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1" name="Freeform 1109">
                <a:extLst>
                  <a:ext uri="{FF2B5EF4-FFF2-40B4-BE49-F238E27FC236}">
                    <a16:creationId xmlns:a16="http://schemas.microsoft.com/office/drawing/2014/main" id="{364FF6E5-6E56-4567-A8D2-FA0DEA0578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1" y="2366"/>
                <a:ext cx="14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2" name="Freeform 1110">
                <a:extLst>
                  <a:ext uri="{FF2B5EF4-FFF2-40B4-BE49-F238E27FC236}">
                    <a16:creationId xmlns:a16="http://schemas.microsoft.com/office/drawing/2014/main" id="{42216557-3BC0-4D7D-9BCA-AE480991C5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98" y="2350"/>
                <a:ext cx="14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3" name="Freeform 1111">
                <a:extLst>
                  <a:ext uri="{FF2B5EF4-FFF2-40B4-BE49-F238E27FC236}">
                    <a16:creationId xmlns:a16="http://schemas.microsoft.com/office/drawing/2014/main" id="{F9718BC5-BCC8-4872-923C-D7F5F7D4AC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25" y="2335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4" name="Freeform 1112">
                <a:extLst>
                  <a:ext uri="{FF2B5EF4-FFF2-40B4-BE49-F238E27FC236}">
                    <a16:creationId xmlns:a16="http://schemas.microsoft.com/office/drawing/2014/main" id="{F75A65D4-77BC-4E8F-9AFF-1F1608FDF1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52" y="2318"/>
                <a:ext cx="14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5" name="Freeform 1113">
                <a:extLst>
                  <a:ext uri="{FF2B5EF4-FFF2-40B4-BE49-F238E27FC236}">
                    <a16:creationId xmlns:a16="http://schemas.microsoft.com/office/drawing/2014/main" id="{1E260556-09F5-43ED-B8DA-D514A9121E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383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6" name="Freeform 1114">
                <a:extLst>
                  <a:ext uri="{FF2B5EF4-FFF2-40B4-BE49-F238E27FC236}">
                    <a16:creationId xmlns:a16="http://schemas.microsoft.com/office/drawing/2014/main" id="{C1857753-2EB8-4537-A7AF-FC2B04693E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66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7" name="Freeform 1115">
                <a:extLst>
                  <a:ext uri="{FF2B5EF4-FFF2-40B4-BE49-F238E27FC236}">
                    <a16:creationId xmlns:a16="http://schemas.microsoft.com/office/drawing/2014/main" id="{4A39EBBB-EB13-4303-A62B-5D05BE65F3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97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8" name="Freeform 1116">
                <a:extLst>
                  <a:ext uri="{FF2B5EF4-FFF2-40B4-BE49-F238E27FC236}">
                    <a16:creationId xmlns:a16="http://schemas.microsoft.com/office/drawing/2014/main" id="{BF5E6767-EEF6-48F2-B358-F95925EA03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38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9" name="Freeform 1117">
                <a:extLst>
                  <a:ext uri="{FF2B5EF4-FFF2-40B4-BE49-F238E27FC236}">
                    <a16:creationId xmlns:a16="http://schemas.microsoft.com/office/drawing/2014/main" id="{D1EDF9FA-3B3B-4CEE-AF20-107C2B9479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366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0" name="Freeform 1118">
                <a:extLst>
                  <a:ext uri="{FF2B5EF4-FFF2-40B4-BE49-F238E27FC236}">
                    <a16:creationId xmlns:a16="http://schemas.microsoft.com/office/drawing/2014/main" id="{30A4252A-4910-4A8A-8AD4-0FF96BE45B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35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1" name="Freeform 1119">
                <a:extLst>
                  <a:ext uri="{FF2B5EF4-FFF2-40B4-BE49-F238E27FC236}">
                    <a16:creationId xmlns:a16="http://schemas.microsoft.com/office/drawing/2014/main" id="{67B27348-DDB4-4F5A-A5DD-BF8114B6D3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33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2" name="Freeform 1120">
                <a:extLst>
                  <a:ext uri="{FF2B5EF4-FFF2-40B4-BE49-F238E27FC236}">
                    <a16:creationId xmlns:a16="http://schemas.microsoft.com/office/drawing/2014/main" id="{93D8C227-1CC7-4EEE-8647-D6333B1BB8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31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3" name="Freeform 1121">
                <a:extLst>
                  <a:ext uri="{FF2B5EF4-FFF2-40B4-BE49-F238E27FC236}">
                    <a16:creationId xmlns:a16="http://schemas.microsoft.com/office/drawing/2014/main" id="{80F3F3AB-C7F9-4433-BF44-85E9670EA5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30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4" name="Freeform 1122">
                <a:extLst>
                  <a:ext uri="{FF2B5EF4-FFF2-40B4-BE49-F238E27FC236}">
                    <a16:creationId xmlns:a16="http://schemas.microsoft.com/office/drawing/2014/main" id="{FA3EFBFB-51F4-48EA-AD9D-455ED8F3A0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28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5" name="Freeform 1123">
                <a:extLst>
                  <a:ext uri="{FF2B5EF4-FFF2-40B4-BE49-F238E27FC236}">
                    <a16:creationId xmlns:a16="http://schemas.microsoft.com/office/drawing/2014/main" id="{D2CAA286-629C-4FD6-9A59-F876FACE7B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6" name="Freeform 1124">
                <a:extLst>
                  <a:ext uri="{FF2B5EF4-FFF2-40B4-BE49-F238E27FC236}">
                    <a16:creationId xmlns:a16="http://schemas.microsoft.com/office/drawing/2014/main" id="{0D7F2BEE-231D-4B29-B19C-C5A327D69B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7" name="Freeform 1125">
                <a:extLst>
                  <a:ext uri="{FF2B5EF4-FFF2-40B4-BE49-F238E27FC236}">
                    <a16:creationId xmlns:a16="http://schemas.microsoft.com/office/drawing/2014/main" id="{512599EF-D8D7-4D85-A6AB-7F65250521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8" name="Freeform 1126">
                <a:extLst>
                  <a:ext uri="{FF2B5EF4-FFF2-40B4-BE49-F238E27FC236}">
                    <a16:creationId xmlns:a16="http://schemas.microsoft.com/office/drawing/2014/main" id="{08A28D0D-E622-48EC-BDF1-073BC15E95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9" name="Freeform 1127">
                <a:extLst>
                  <a:ext uri="{FF2B5EF4-FFF2-40B4-BE49-F238E27FC236}">
                    <a16:creationId xmlns:a16="http://schemas.microsoft.com/office/drawing/2014/main" id="{318CCD0E-D9AE-4C82-937F-3922E482F5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210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0" name="Freeform 1128">
                <a:extLst>
                  <a:ext uri="{FF2B5EF4-FFF2-40B4-BE49-F238E27FC236}">
                    <a16:creationId xmlns:a16="http://schemas.microsoft.com/office/drawing/2014/main" id="{5C8B4A86-2DA0-4F1B-A277-FA11B6DAD5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94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1" name="Freeform 1129">
                <a:extLst>
                  <a:ext uri="{FF2B5EF4-FFF2-40B4-BE49-F238E27FC236}">
                    <a16:creationId xmlns:a16="http://schemas.microsoft.com/office/drawing/2014/main" id="{FC12B816-F21C-4C14-AEB4-DC3712BFDE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179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2" name="Freeform 1130">
                <a:extLst>
                  <a:ext uri="{FF2B5EF4-FFF2-40B4-BE49-F238E27FC236}">
                    <a16:creationId xmlns:a16="http://schemas.microsoft.com/office/drawing/2014/main" id="{C37C0221-3A6A-4294-BEF4-5FB7BD2E2C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38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3" name="Freeform 1131">
                <a:extLst>
                  <a:ext uri="{FF2B5EF4-FFF2-40B4-BE49-F238E27FC236}">
                    <a16:creationId xmlns:a16="http://schemas.microsoft.com/office/drawing/2014/main" id="{F648A5D8-7B29-4239-927D-0CAEF217B9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66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4" name="Freeform 1132">
                <a:extLst>
                  <a:ext uri="{FF2B5EF4-FFF2-40B4-BE49-F238E27FC236}">
                    <a16:creationId xmlns:a16="http://schemas.microsoft.com/office/drawing/2014/main" id="{DBA1FB79-0658-4138-B0F1-390B9462AA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35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5" name="Freeform 1133">
                <a:extLst>
                  <a:ext uri="{FF2B5EF4-FFF2-40B4-BE49-F238E27FC236}">
                    <a16:creationId xmlns:a16="http://schemas.microsoft.com/office/drawing/2014/main" id="{DB3A2C17-8B27-4B3C-B5CD-22DBDDB6AA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33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6" name="Freeform 1134">
                <a:extLst>
                  <a:ext uri="{FF2B5EF4-FFF2-40B4-BE49-F238E27FC236}">
                    <a16:creationId xmlns:a16="http://schemas.microsoft.com/office/drawing/2014/main" id="{7EBCB3CC-0734-4679-93A2-F214C49C9F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31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7" name="Freeform 1135">
                <a:extLst>
                  <a:ext uri="{FF2B5EF4-FFF2-40B4-BE49-F238E27FC236}">
                    <a16:creationId xmlns:a16="http://schemas.microsoft.com/office/drawing/2014/main" id="{30218488-0FF5-4D58-93EC-D595E4362A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30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8" name="Freeform 1136">
                <a:extLst>
                  <a:ext uri="{FF2B5EF4-FFF2-40B4-BE49-F238E27FC236}">
                    <a16:creationId xmlns:a16="http://schemas.microsoft.com/office/drawing/2014/main" id="{30BD35A7-2705-4B98-80AD-8A1DF5474E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28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9" name="Freeform 1137">
                <a:extLst>
                  <a:ext uri="{FF2B5EF4-FFF2-40B4-BE49-F238E27FC236}">
                    <a16:creationId xmlns:a16="http://schemas.microsoft.com/office/drawing/2014/main" id="{C352FFD1-0886-4EB5-987B-9E78F7FF92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0" name="Freeform 1138">
                <a:extLst>
                  <a:ext uri="{FF2B5EF4-FFF2-40B4-BE49-F238E27FC236}">
                    <a16:creationId xmlns:a16="http://schemas.microsoft.com/office/drawing/2014/main" id="{3B56FEB7-F1D9-4519-9377-BDC749C6BF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1" name="Freeform 1139">
                <a:extLst>
                  <a:ext uri="{FF2B5EF4-FFF2-40B4-BE49-F238E27FC236}">
                    <a16:creationId xmlns:a16="http://schemas.microsoft.com/office/drawing/2014/main" id="{FFF3E1D8-D4AE-4AF7-BF44-7FF5856EC5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2" name="Freeform 1140">
                <a:extLst>
                  <a:ext uri="{FF2B5EF4-FFF2-40B4-BE49-F238E27FC236}">
                    <a16:creationId xmlns:a16="http://schemas.microsoft.com/office/drawing/2014/main" id="{82B1C118-56F0-4EEF-B383-77D7B644DF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3" name="Freeform 1141">
                <a:extLst>
                  <a:ext uri="{FF2B5EF4-FFF2-40B4-BE49-F238E27FC236}">
                    <a16:creationId xmlns:a16="http://schemas.microsoft.com/office/drawing/2014/main" id="{39E085FD-D7A1-496B-ABAF-1455E9D24A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4" name="Freeform 1142">
                <a:extLst>
                  <a:ext uri="{FF2B5EF4-FFF2-40B4-BE49-F238E27FC236}">
                    <a16:creationId xmlns:a16="http://schemas.microsoft.com/office/drawing/2014/main" id="{4636D206-10B0-4AC8-A450-53FD60D082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5" name="Freeform 1143">
                <a:extLst>
                  <a:ext uri="{FF2B5EF4-FFF2-40B4-BE49-F238E27FC236}">
                    <a16:creationId xmlns:a16="http://schemas.microsoft.com/office/drawing/2014/main" id="{A04684BB-78C5-4D1A-BDC8-ABA03E8C02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179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6" name="Freeform 1144">
                <a:extLst>
                  <a:ext uri="{FF2B5EF4-FFF2-40B4-BE49-F238E27FC236}">
                    <a16:creationId xmlns:a16="http://schemas.microsoft.com/office/drawing/2014/main" id="{5C4BE180-F228-42B9-A8C9-EBE147A01B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63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7" name="Freeform 1145">
                <a:extLst>
                  <a:ext uri="{FF2B5EF4-FFF2-40B4-BE49-F238E27FC236}">
                    <a16:creationId xmlns:a16="http://schemas.microsoft.com/office/drawing/2014/main" id="{3F9FE2E5-EFCB-47BC-8A61-69192EB30A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66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8" name="Freeform 1146">
                <a:extLst>
                  <a:ext uri="{FF2B5EF4-FFF2-40B4-BE49-F238E27FC236}">
                    <a16:creationId xmlns:a16="http://schemas.microsoft.com/office/drawing/2014/main" id="{ED0391BA-1B4E-4A2E-AA60-3D98910729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35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9" name="Freeform 1147">
                <a:extLst>
                  <a:ext uri="{FF2B5EF4-FFF2-40B4-BE49-F238E27FC236}">
                    <a16:creationId xmlns:a16="http://schemas.microsoft.com/office/drawing/2014/main" id="{738034DC-EA55-4699-94AE-5BF104081D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35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0" name="Freeform 1148">
                <a:extLst>
                  <a:ext uri="{FF2B5EF4-FFF2-40B4-BE49-F238E27FC236}">
                    <a16:creationId xmlns:a16="http://schemas.microsoft.com/office/drawing/2014/main" id="{25D0FCB8-3E7E-4FE3-A866-DCEAF6D88C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318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1" name="Freeform 1149">
                <a:extLst>
                  <a:ext uri="{FF2B5EF4-FFF2-40B4-BE49-F238E27FC236}">
                    <a16:creationId xmlns:a16="http://schemas.microsoft.com/office/drawing/2014/main" id="{2B58AEF0-7344-4319-A6C2-1A33625F20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304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2" name="Freeform 1150">
                <a:extLst>
                  <a:ext uri="{FF2B5EF4-FFF2-40B4-BE49-F238E27FC236}">
                    <a16:creationId xmlns:a16="http://schemas.microsoft.com/office/drawing/2014/main" id="{D6D6DB51-E03A-47D0-A4F7-79741B3499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287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3" name="Freeform 1151">
                <a:extLst>
                  <a:ext uri="{FF2B5EF4-FFF2-40B4-BE49-F238E27FC236}">
                    <a16:creationId xmlns:a16="http://schemas.microsoft.com/office/drawing/2014/main" id="{79F919E4-DD28-4715-A6B0-440F585F4A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4" name="Freeform 1152">
                <a:extLst>
                  <a:ext uri="{FF2B5EF4-FFF2-40B4-BE49-F238E27FC236}">
                    <a16:creationId xmlns:a16="http://schemas.microsoft.com/office/drawing/2014/main" id="{28B0649F-FD8E-45C7-A914-2175096ED6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5" name="Freeform 1153">
                <a:extLst>
                  <a:ext uri="{FF2B5EF4-FFF2-40B4-BE49-F238E27FC236}">
                    <a16:creationId xmlns:a16="http://schemas.microsoft.com/office/drawing/2014/main" id="{0BC4618F-9535-4455-9385-67B368794D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6" name="Freeform 1154">
                <a:extLst>
                  <a:ext uri="{FF2B5EF4-FFF2-40B4-BE49-F238E27FC236}">
                    <a16:creationId xmlns:a16="http://schemas.microsoft.com/office/drawing/2014/main" id="{490A222F-DDA6-4358-B1E2-35FE8F6220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7" name="Freeform 1155">
                <a:extLst>
                  <a:ext uri="{FF2B5EF4-FFF2-40B4-BE49-F238E27FC236}">
                    <a16:creationId xmlns:a16="http://schemas.microsoft.com/office/drawing/2014/main" id="{83949ABA-BC7C-485A-994E-CB6B348CB8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8" name="Freeform 1156">
                <a:extLst>
                  <a:ext uri="{FF2B5EF4-FFF2-40B4-BE49-F238E27FC236}">
                    <a16:creationId xmlns:a16="http://schemas.microsoft.com/office/drawing/2014/main" id="{384B0152-0AD3-4BFF-AEDE-2B0CD25856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9" name="Freeform 1157">
                <a:extLst>
                  <a:ext uri="{FF2B5EF4-FFF2-40B4-BE49-F238E27FC236}">
                    <a16:creationId xmlns:a16="http://schemas.microsoft.com/office/drawing/2014/main" id="{EE337A67-FE89-4AFB-A132-479B3CA148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0" name="Freeform 1158">
                <a:extLst>
                  <a:ext uri="{FF2B5EF4-FFF2-40B4-BE49-F238E27FC236}">
                    <a16:creationId xmlns:a16="http://schemas.microsoft.com/office/drawing/2014/main" id="{55EAEEC7-AB54-49DD-9AAF-2CBE898900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1" name="Freeform 1159">
                <a:extLst>
                  <a:ext uri="{FF2B5EF4-FFF2-40B4-BE49-F238E27FC236}">
                    <a16:creationId xmlns:a16="http://schemas.microsoft.com/office/drawing/2014/main" id="{DAEA8998-3F12-437D-85CF-E4997428C3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14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2" name="Freeform 1160">
                <a:extLst>
                  <a:ext uri="{FF2B5EF4-FFF2-40B4-BE49-F238E27FC236}">
                    <a16:creationId xmlns:a16="http://schemas.microsoft.com/office/drawing/2014/main" id="{3874B54F-D6D6-4A71-9A4C-1CEDD61902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350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3" name="Freeform 1161">
                <a:extLst>
                  <a:ext uri="{FF2B5EF4-FFF2-40B4-BE49-F238E27FC236}">
                    <a16:creationId xmlns:a16="http://schemas.microsoft.com/office/drawing/2014/main" id="{243AA99B-3C7A-4126-AA94-BB6B7BB648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3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4" name="Freeform 1162">
                <a:extLst>
                  <a:ext uri="{FF2B5EF4-FFF2-40B4-BE49-F238E27FC236}">
                    <a16:creationId xmlns:a16="http://schemas.microsoft.com/office/drawing/2014/main" id="{C20B0E6E-33DB-490E-85B0-47937BFC68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31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5" name="Freeform 1163">
                <a:extLst>
                  <a:ext uri="{FF2B5EF4-FFF2-40B4-BE49-F238E27FC236}">
                    <a16:creationId xmlns:a16="http://schemas.microsoft.com/office/drawing/2014/main" id="{162226B3-3006-435A-9D10-3714D77EC0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30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6" name="Freeform 1164">
                <a:extLst>
                  <a:ext uri="{FF2B5EF4-FFF2-40B4-BE49-F238E27FC236}">
                    <a16:creationId xmlns:a16="http://schemas.microsoft.com/office/drawing/2014/main" id="{43B567CD-1251-454B-9500-8F0B28731C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7" name="Freeform 1165">
                <a:extLst>
                  <a:ext uri="{FF2B5EF4-FFF2-40B4-BE49-F238E27FC236}">
                    <a16:creationId xmlns:a16="http://schemas.microsoft.com/office/drawing/2014/main" id="{485FE52E-27AA-469F-BCB9-9A47841039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273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8" name="Freeform 1166">
                <a:extLst>
                  <a:ext uri="{FF2B5EF4-FFF2-40B4-BE49-F238E27FC236}">
                    <a16:creationId xmlns:a16="http://schemas.microsoft.com/office/drawing/2014/main" id="{3CD3A4B3-0E47-4557-BC34-44346BF6D9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256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9" name="Freeform 1167">
                <a:extLst>
                  <a:ext uri="{FF2B5EF4-FFF2-40B4-BE49-F238E27FC236}">
                    <a16:creationId xmlns:a16="http://schemas.microsoft.com/office/drawing/2014/main" id="{8EFF34C2-D8C3-4194-B903-64221CE75E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0" name="Freeform 1168">
                <a:extLst>
                  <a:ext uri="{FF2B5EF4-FFF2-40B4-BE49-F238E27FC236}">
                    <a16:creationId xmlns:a16="http://schemas.microsoft.com/office/drawing/2014/main" id="{B7ECBA35-53F2-45A3-BE2C-6B0011F37D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1" name="Freeform 1169">
                <a:extLst>
                  <a:ext uri="{FF2B5EF4-FFF2-40B4-BE49-F238E27FC236}">
                    <a16:creationId xmlns:a16="http://schemas.microsoft.com/office/drawing/2014/main" id="{3D70F69F-AF74-4A99-9B19-C84FEDAD3C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2" name="Freeform 1170">
                <a:extLst>
                  <a:ext uri="{FF2B5EF4-FFF2-40B4-BE49-F238E27FC236}">
                    <a16:creationId xmlns:a16="http://schemas.microsoft.com/office/drawing/2014/main" id="{A209963F-3E9E-4BA0-8528-8A7A8830D7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3" name="Freeform 1171">
                <a:extLst>
                  <a:ext uri="{FF2B5EF4-FFF2-40B4-BE49-F238E27FC236}">
                    <a16:creationId xmlns:a16="http://schemas.microsoft.com/office/drawing/2014/main" id="{5100E151-1159-48C6-9302-534EF6A3F5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4" name="Freeform 1172">
                <a:extLst>
                  <a:ext uri="{FF2B5EF4-FFF2-40B4-BE49-F238E27FC236}">
                    <a16:creationId xmlns:a16="http://schemas.microsoft.com/office/drawing/2014/main" id="{D7EC4339-7FB4-479C-8F8F-450BF3DD7F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5" name="Freeform 1173">
                <a:extLst>
                  <a:ext uri="{FF2B5EF4-FFF2-40B4-BE49-F238E27FC236}">
                    <a16:creationId xmlns:a16="http://schemas.microsoft.com/office/drawing/2014/main" id="{773611CD-848D-4EBB-A2CA-AF4C90B118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6" name="Freeform 1174">
                <a:extLst>
                  <a:ext uri="{FF2B5EF4-FFF2-40B4-BE49-F238E27FC236}">
                    <a16:creationId xmlns:a16="http://schemas.microsoft.com/office/drawing/2014/main" id="{7B75F677-81EC-46D7-9BA7-1A754A6DF4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7" name="Freeform 1175">
                <a:extLst>
                  <a:ext uri="{FF2B5EF4-FFF2-40B4-BE49-F238E27FC236}">
                    <a16:creationId xmlns:a16="http://schemas.microsoft.com/office/drawing/2014/main" id="{26ED55CD-795C-4F6B-9DF9-DC029AD4BB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35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4 h 4"/>
                  <a:gd name="T4" fmla="*/ 1 w 7"/>
                  <a:gd name="T5" fmla="*/ 4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4"/>
                    </a:cubicBezTo>
                    <a:cubicBezTo>
                      <a:pt x="5" y="4"/>
                      <a:pt x="2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8" name="Freeform 1176">
                <a:extLst>
                  <a:ext uri="{FF2B5EF4-FFF2-40B4-BE49-F238E27FC236}">
                    <a16:creationId xmlns:a16="http://schemas.microsoft.com/office/drawing/2014/main" id="{3D08ED0A-6DE6-45E3-AFE0-345C034DD3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31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9" name="Freeform 1177">
                <a:extLst>
                  <a:ext uri="{FF2B5EF4-FFF2-40B4-BE49-F238E27FC236}">
                    <a16:creationId xmlns:a16="http://schemas.microsoft.com/office/drawing/2014/main" id="{15D89A92-547F-4B2D-A752-18358D288E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30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0" name="Freeform 1178">
                <a:extLst>
                  <a:ext uri="{FF2B5EF4-FFF2-40B4-BE49-F238E27FC236}">
                    <a16:creationId xmlns:a16="http://schemas.microsoft.com/office/drawing/2014/main" id="{3550F062-97A2-4356-A80B-52E4CD5A40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1" name="Freeform 1179">
                <a:extLst>
                  <a:ext uri="{FF2B5EF4-FFF2-40B4-BE49-F238E27FC236}">
                    <a16:creationId xmlns:a16="http://schemas.microsoft.com/office/drawing/2014/main" id="{E03F5AE1-EEE9-4EB1-886A-CA43165FC7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273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2" name="Freeform 1180">
                <a:extLst>
                  <a:ext uri="{FF2B5EF4-FFF2-40B4-BE49-F238E27FC236}">
                    <a16:creationId xmlns:a16="http://schemas.microsoft.com/office/drawing/2014/main" id="{CD4F619A-98BE-4FE0-A92C-6C5455D6CA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256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3" name="Freeform 1181">
                <a:extLst>
                  <a:ext uri="{FF2B5EF4-FFF2-40B4-BE49-F238E27FC236}">
                    <a16:creationId xmlns:a16="http://schemas.microsoft.com/office/drawing/2014/main" id="{6E18FDEA-EC9B-4693-9483-B9DBF60B28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24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4" name="Freeform 1182">
                <a:extLst>
                  <a:ext uri="{FF2B5EF4-FFF2-40B4-BE49-F238E27FC236}">
                    <a16:creationId xmlns:a16="http://schemas.microsoft.com/office/drawing/2014/main" id="{4E421A71-4858-44A0-BBBB-C69CFA6BBD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225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5" name="Freeform 1183">
                <a:extLst>
                  <a:ext uri="{FF2B5EF4-FFF2-40B4-BE49-F238E27FC236}">
                    <a16:creationId xmlns:a16="http://schemas.microsoft.com/office/drawing/2014/main" id="{A623EAD6-D402-4C9D-91D2-B61D70642F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6" name="Freeform 1184">
                <a:extLst>
                  <a:ext uri="{FF2B5EF4-FFF2-40B4-BE49-F238E27FC236}">
                    <a16:creationId xmlns:a16="http://schemas.microsoft.com/office/drawing/2014/main" id="{80B22639-EB13-4ECF-95AE-B622BBB76A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7" name="Freeform 1185">
                <a:extLst>
                  <a:ext uri="{FF2B5EF4-FFF2-40B4-BE49-F238E27FC236}">
                    <a16:creationId xmlns:a16="http://schemas.microsoft.com/office/drawing/2014/main" id="{22EBA8BF-E96F-47FF-9DFC-36A194FFB0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8" name="Freeform 1186">
                <a:extLst>
                  <a:ext uri="{FF2B5EF4-FFF2-40B4-BE49-F238E27FC236}">
                    <a16:creationId xmlns:a16="http://schemas.microsoft.com/office/drawing/2014/main" id="{1616E96D-B48E-4F61-BDFA-0283412E65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9" name="Freeform 1187">
                <a:extLst>
                  <a:ext uri="{FF2B5EF4-FFF2-40B4-BE49-F238E27FC236}">
                    <a16:creationId xmlns:a16="http://schemas.microsoft.com/office/drawing/2014/main" id="{24717B67-E737-460E-B396-89E787C8E3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0" name="Freeform 1188">
                <a:extLst>
                  <a:ext uri="{FF2B5EF4-FFF2-40B4-BE49-F238E27FC236}">
                    <a16:creationId xmlns:a16="http://schemas.microsoft.com/office/drawing/2014/main" id="{6B3FAEC0-6EAB-417C-901F-86A5733B4C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318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1" name="Freeform 1189">
                <a:extLst>
                  <a:ext uri="{FF2B5EF4-FFF2-40B4-BE49-F238E27FC236}">
                    <a16:creationId xmlns:a16="http://schemas.microsoft.com/office/drawing/2014/main" id="{F0E54185-3289-4DD2-B74F-4731B6A7C8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2" name="Freeform 1190">
                <a:extLst>
                  <a:ext uri="{FF2B5EF4-FFF2-40B4-BE49-F238E27FC236}">
                    <a16:creationId xmlns:a16="http://schemas.microsoft.com/office/drawing/2014/main" id="{6552324E-FB63-49A5-9DF9-B5C2DA11B2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117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3" name="Freeform 1191">
                <a:extLst>
                  <a:ext uri="{FF2B5EF4-FFF2-40B4-BE49-F238E27FC236}">
                    <a16:creationId xmlns:a16="http://schemas.microsoft.com/office/drawing/2014/main" id="{78734BE6-9ED6-488C-A443-1D2FBC5696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304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4" name="Freeform 1192">
                <a:extLst>
                  <a:ext uri="{FF2B5EF4-FFF2-40B4-BE49-F238E27FC236}">
                    <a16:creationId xmlns:a16="http://schemas.microsoft.com/office/drawing/2014/main" id="{88E1511C-A651-4B45-B759-F24849EFC1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5" name="Freeform 1193">
                <a:extLst>
                  <a:ext uri="{FF2B5EF4-FFF2-40B4-BE49-F238E27FC236}">
                    <a16:creationId xmlns:a16="http://schemas.microsoft.com/office/drawing/2014/main" id="{8CDA1F65-2364-4B43-B975-1696854193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273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6" name="Freeform 1194">
                <a:extLst>
                  <a:ext uri="{FF2B5EF4-FFF2-40B4-BE49-F238E27FC236}">
                    <a16:creationId xmlns:a16="http://schemas.microsoft.com/office/drawing/2014/main" id="{A7868BF0-5406-44CF-8047-5CF43C8E32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256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7" name="Freeform 1195">
                <a:extLst>
                  <a:ext uri="{FF2B5EF4-FFF2-40B4-BE49-F238E27FC236}">
                    <a16:creationId xmlns:a16="http://schemas.microsoft.com/office/drawing/2014/main" id="{FCBACBAF-0900-4C06-8954-D1AFD6950B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24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8" name="Freeform 1196">
                <a:extLst>
                  <a:ext uri="{FF2B5EF4-FFF2-40B4-BE49-F238E27FC236}">
                    <a16:creationId xmlns:a16="http://schemas.microsoft.com/office/drawing/2014/main" id="{00252871-3ADA-4C19-BEA3-75C155711B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225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9" name="Freeform 1197">
                <a:extLst>
                  <a:ext uri="{FF2B5EF4-FFF2-40B4-BE49-F238E27FC236}">
                    <a16:creationId xmlns:a16="http://schemas.microsoft.com/office/drawing/2014/main" id="{C5D8046D-73FA-4368-A574-24EB46BF94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210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0" name="Freeform 1198">
                <a:extLst>
                  <a:ext uri="{FF2B5EF4-FFF2-40B4-BE49-F238E27FC236}">
                    <a16:creationId xmlns:a16="http://schemas.microsoft.com/office/drawing/2014/main" id="{441B8FA8-2291-4D37-8206-8EA45540E0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94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1" name="Freeform 1199">
                <a:extLst>
                  <a:ext uri="{FF2B5EF4-FFF2-40B4-BE49-F238E27FC236}">
                    <a16:creationId xmlns:a16="http://schemas.microsoft.com/office/drawing/2014/main" id="{7D05C3B6-0EE6-4D01-A1F6-201468DF95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2" name="Freeform 1200">
                <a:extLst>
                  <a:ext uri="{FF2B5EF4-FFF2-40B4-BE49-F238E27FC236}">
                    <a16:creationId xmlns:a16="http://schemas.microsoft.com/office/drawing/2014/main" id="{9A5B0026-E154-4A66-900F-D10A503AF7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3" name="Freeform 1201">
                <a:extLst>
                  <a:ext uri="{FF2B5EF4-FFF2-40B4-BE49-F238E27FC236}">
                    <a16:creationId xmlns:a16="http://schemas.microsoft.com/office/drawing/2014/main" id="{3D16386E-7C66-409C-BDDD-5774ABD6FE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4" name="Freeform 1202">
                <a:extLst>
                  <a:ext uri="{FF2B5EF4-FFF2-40B4-BE49-F238E27FC236}">
                    <a16:creationId xmlns:a16="http://schemas.microsoft.com/office/drawing/2014/main" id="{07FDA258-7E94-4AA2-B5FB-3A5452638A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5" name="Freeform 1203">
                <a:extLst>
                  <a:ext uri="{FF2B5EF4-FFF2-40B4-BE49-F238E27FC236}">
                    <a16:creationId xmlns:a16="http://schemas.microsoft.com/office/drawing/2014/main" id="{E4012AE1-1A11-4B9E-999B-7A65E05257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79" y="2304"/>
                <a:ext cx="14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6" name="Freeform 1204">
                <a:extLst>
                  <a:ext uri="{FF2B5EF4-FFF2-40B4-BE49-F238E27FC236}">
                    <a16:creationId xmlns:a16="http://schemas.microsoft.com/office/drawing/2014/main" id="{6BF487E4-D507-4259-B23C-78B4E2DA69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06" y="2287"/>
                <a:ext cx="15" cy="11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7" name="Freeform 1205">
                <a:extLst>
                  <a:ext uri="{FF2B5EF4-FFF2-40B4-BE49-F238E27FC236}">
                    <a16:creationId xmlns:a16="http://schemas.microsoft.com/office/drawing/2014/main" id="{DE7FF465-94F9-4235-8F66-60B98BBE17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117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8" name="Freeform 1206">
                <a:extLst>
                  <a:ext uri="{FF2B5EF4-FFF2-40B4-BE49-F238E27FC236}">
                    <a16:creationId xmlns:a16="http://schemas.microsoft.com/office/drawing/2014/main" id="{97AF48CD-4C05-4C53-B194-9DBC83A97E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10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9" name="Freeform 1207">
                <a:extLst>
                  <a:ext uri="{FF2B5EF4-FFF2-40B4-BE49-F238E27FC236}">
                    <a16:creationId xmlns:a16="http://schemas.microsoft.com/office/drawing/2014/main" id="{D6AA1E8B-EA2D-4845-895C-743B0A6291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2273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0" name="Freeform 1208">
                <a:extLst>
                  <a:ext uri="{FF2B5EF4-FFF2-40B4-BE49-F238E27FC236}">
                    <a16:creationId xmlns:a16="http://schemas.microsoft.com/office/drawing/2014/main" id="{CB94A184-9BA0-4384-8885-BCC5B1BF5A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60" y="2256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2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1" name="Freeform 1209">
                <a:extLst>
                  <a:ext uri="{FF2B5EF4-FFF2-40B4-BE49-F238E27FC236}">
                    <a16:creationId xmlns:a16="http://schemas.microsoft.com/office/drawing/2014/main" id="{B990A30D-56C2-4605-9945-35AD2AA21F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7" y="2242"/>
                <a:ext cx="15" cy="8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2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17" name="Group 1411">
              <a:extLst>
                <a:ext uri="{FF2B5EF4-FFF2-40B4-BE49-F238E27FC236}">
                  <a16:creationId xmlns:a16="http://schemas.microsoft.com/office/drawing/2014/main" id="{A3E338F0-87F8-4DFF-B892-EC25414393E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9794284" y="3242222"/>
              <a:ext cx="2389222" cy="1244519"/>
              <a:chOff x="5714" y="1649"/>
              <a:chExt cx="1125" cy="586"/>
            </a:xfrm>
          </p:grpSpPr>
          <p:sp>
            <p:nvSpPr>
              <p:cNvPr id="412" name="Freeform 1211">
                <a:extLst>
                  <a:ext uri="{FF2B5EF4-FFF2-40B4-BE49-F238E27FC236}">
                    <a16:creationId xmlns:a16="http://schemas.microsoft.com/office/drawing/2014/main" id="{35F2A751-7689-4997-B5E9-4479F819AF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14" y="2225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3" name="Freeform 1212">
                <a:extLst>
                  <a:ext uri="{FF2B5EF4-FFF2-40B4-BE49-F238E27FC236}">
                    <a16:creationId xmlns:a16="http://schemas.microsoft.com/office/drawing/2014/main" id="{B8004038-1256-4332-A5B3-F822B63695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41" y="2210"/>
                <a:ext cx="15" cy="9"/>
              </a:xfrm>
              <a:custGeom>
                <a:avLst/>
                <a:gdLst>
                  <a:gd name="T0" fmla="*/ 6 w 7"/>
                  <a:gd name="T1" fmla="*/ 1 h 4"/>
                  <a:gd name="T2" fmla="*/ 6 w 7"/>
                  <a:gd name="T3" fmla="*/ 3 h 4"/>
                  <a:gd name="T4" fmla="*/ 1 w 7"/>
                  <a:gd name="T5" fmla="*/ 3 h 4"/>
                  <a:gd name="T6" fmla="*/ 1 w 7"/>
                  <a:gd name="T7" fmla="*/ 1 h 4"/>
                  <a:gd name="T8" fmla="*/ 6 w 7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4" name="Freeform 1213">
                <a:extLst>
                  <a:ext uri="{FF2B5EF4-FFF2-40B4-BE49-F238E27FC236}">
                    <a16:creationId xmlns:a16="http://schemas.microsoft.com/office/drawing/2014/main" id="{0659A05C-BEBD-4D6A-AA05-432FD0D383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8" y="2194"/>
                <a:ext cx="15" cy="10"/>
              </a:xfrm>
              <a:custGeom>
                <a:avLst/>
                <a:gdLst>
                  <a:gd name="T0" fmla="*/ 6 w 7"/>
                  <a:gd name="T1" fmla="*/ 1 h 5"/>
                  <a:gd name="T2" fmla="*/ 6 w 7"/>
                  <a:gd name="T3" fmla="*/ 4 h 5"/>
                  <a:gd name="T4" fmla="*/ 1 w 7"/>
                  <a:gd name="T5" fmla="*/ 4 h 5"/>
                  <a:gd name="T6" fmla="*/ 1 w 7"/>
                  <a:gd name="T7" fmla="*/ 1 h 5"/>
                  <a:gd name="T8" fmla="*/ 6 w 7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2"/>
                      <a:pt x="7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5" name="Freeform 1214">
                <a:extLst>
                  <a:ext uri="{FF2B5EF4-FFF2-40B4-BE49-F238E27FC236}">
                    <a16:creationId xmlns:a16="http://schemas.microsoft.com/office/drawing/2014/main" id="{7C98E81B-1422-4651-BADC-A9EFA7F140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95" y="2179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6" name="Freeform 1215">
                <a:extLst>
                  <a:ext uri="{FF2B5EF4-FFF2-40B4-BE49-F238E27FC236}">
                    <a16:creationId xmlns:a16="http://schemas.microsoft.com/office/drawing/2014/main" id="{42123A26-9609-463A-9CA2-2C67FDC824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22" y="2163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7" name="Freeform 1216">
                <a:extLst>
                  <a:ext uri="{FF2B5EF4-FFF2-40B4-BE49-F238E27FC236}">
                    <a16:creationId xmlns:a16="http://schemas.microsoft.com/office/drawing/2014/main" id="{3C43F3B5-39CF-47CC-9753-055516DDA1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49" y="2148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8" name="Freeform 1217">
                <a:extLst>
                  <a:ext uri="{FF2B5EF4-FFF2-40B4-BE49-F238E27FC236}">
                    <a16:creationId xmlns:a16="http://schemas.microsoft.com/office/drawing/2014/main" id="{621A43F2-F4C4-48E4-A9DF-C360EB73A1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76" y="2131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9" name="Freeform 1218">
                <a:extLst>
                  <a:ext uri="{FF2B5EF4-FFF2-40B4-BE49-F238E27FC236}">
                    <a16:creationId xmlns:a16="http://schemas.microsoft.com/office/drawing/2014/main" id="{6A77604A-4B05-42C6-A079-6A827E0B58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03" y="2117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0" name="Freeform 1219">
                <a:extLst>
                  <a:ext uri="{FF2B5EF4-FFF2-40B4-BE49-F238E27FC236}">
                    <a16:creationId xmlns:a16="http://schemas.microsoft.com/office/drawing/2014/main" id="{4298A5B5-436D-4F27-906E-90455A8692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2100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1" name="Freeform 1220">
                <a:extLst>
                  <a:ext uri="{FF2B5EF4-FFF2-40B4-BE49-F238E27FC236}">
                    <a16:creationId xmlns:a16="http://schemas.microsoft.com/office/drawing/2014/main" id="{85ED6D5A-7D66-4E0F-8924-08144906D7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57" y="2086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2" name="Freeform 1221">
                <a:extLst>
                  <a:ext uri="{FF2B5EF4-FFF2-40B4-BE49-F238E27FC236}">
                    <a16:creationId xmlns:a16="http://schemas.microsoft.com/office/drawing/2014/main" id="{0E644A08-31AD-442F-A583-920B78E0F3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163"/>
                <a:ext cx="16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3" name="Freeform 1222">
                <a:extLst>
                  <a:ext uri="{FF2B5EF4-FFF2-40B4-BE49-F238E27FC236}">
                    <a16:creationId xmlns:a16="http://schemas.microsoft.com/office/drawing/2014/main" id="{60921536-AB98-4470-BC82-F85AFD142F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148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4" name="Freeform 1223">
                <a:extLst>
                  <a:ext uri="{FF2B5EF4-FFF2-40B4-BE49-F238E27FC236}">
                    <a16:creationId xmlns:a16="http://schemas.microsoft.com/office/drawing/2014/main" id="{52A2EF13-5494-4495-BC47-AA3BF2E4C6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131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5" name="Freeform 1224">
                <a:extLst>
                  <a:ext uri="{FF2B5EF4-FFF2-40B4-BE49-F238E27FC236}">
                    <a16:creationId xmlns:a16="http://schemas.microsoft.com/office/drawing/2014/main" id="{315490B8-F128-4EE7-9C59-FC87EAFFB0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117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6" name="Freeform 1225">
                <a:extLst>
                  <a:ext uri="{FF2B5EF4-FFF2-40B4-BE49-F238E27FC236}">
                    <a16:creationId xmlns:a16="http://schemas.microsoft.com/office/drawing/2014/main" id="{5AA393F2-6EB6-4700-87E8-800FD9239D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7" name="Freeform 1226">
                <a:extLst>
                  <a:ext uri="{FF2B5EF4-FFF2-40B4-BE49-F238E27FC236}">
                    <a16:creationId xmlns:a16="http://schemas.microsoft.com/office/drawing/2014/main" id="{8DD53BBE-62C4-44E9-8068-FA1C4C4AA7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8" name="Freeform 1227">
                <a:extLst>
                  <a:ext uri="{FF2B5EF4-FFF2-40B4-BE49-F238E27FC236}">
                    <a16:creationId xmlns:a16="http://schemas.microsoft.com/office/drawing/2014/main" id="{5DF4EC7E-1BB7-43A1-A159-F19CC534A5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9" name="Freeform 1228">
                <a:extLst>
                  <a:ext uri="{FF2B5EF4-FFF2-40B4-BE49-F238E27FC236}">
                    <a16:creationId xmlns:a16="http://schemas.microsoft.com/office/drawing/2014/main" id="{E4C69AC8-94FC-47D3-B0C0-924E0D8CE6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0" name="Freeform 1229">
                <a:extLst>
                  <a:ext uri="{FF2B5EF4-FFF2-40B4-BE49-F238E27FC236}">
                    <a16:creationId xmlns:a16="http://schemas.microsoft.com/office/drawing/2014/main" id="{5283C0E1-BC46-48A7-AF4B-F7EED28EA0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1" name="Freeform 1230">
                <a:extLst>
                  <a:ext uri="{FF2B5EF4-FFF2-40B4-BE49-F238E27FC236}">
                    <a16:creationId xmlns:a16="http://schemas.microsoft.com/office/drawing/2014/main" id="{DCBEB8E8-B61F-4F2E-9E90-22015F5E8A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2023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2" name="Freeform 1231">
                <a:extLst>
                  <a:ext uri="{FF2B5EF4-FFF2-40B4-BE49-F238E27FC236}">
                    <a16:creationId xmlns:a16="http://schemas.microsoft.com/office/drawing/2014/main" id="{259D796A-7218-4F0D-8081-DFA6E02259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2007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3" name="Freeform 1232">
                <a:extLst>
                  <a:ext uri="{FF2B5EF4-FFF2-40B4-BE49-F238E27FC236}">
                    <a16:creationId xmlns:a16="http://schemas.microsoft.com/office/drawing/2014/main" id="{A26BC0E5-1588-49C6-8DCF-DC26B551CB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992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4" name="Freeform 1233">
                <a:extLst>
                  <a:ext uri="{FF2B5EF4-FFF2-40B4-BE49-F238E27FC236}">
                    <a16:creationId xmlns:a16="http://schemas.microsoft.com/office/drawing/2014/main" id="{A9128ECF-87C2-4CAD-BD6B-5E93F5D5CA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975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5" name="Freeform 1234">
                <a:extLst>
                  <a:ext uri="{FF2B5EF4-FFF2-40B4-BE49-F238E27FC236}">
                    <a16:creationId xmlns:a16="http://schemas.microsoft.com/office/drawing/2014/main" id="{3B7327C5-DB21-422D-BE0C-01B987D7EB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96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6" name="Freeform 1235">
                <a:extLst>
                  <a:ext uri="{FF2B5EF4-FFF2-40B4-BE49-F238E27FC236}">
                    <a16:creationId xmlns:a16="http://schemas.microsoft.com/office/drawing/2014/main" id="{5C5AC36B-0DF2-496C-99E3-A60202BBC7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944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7" name="Freeform 1236">
                <a:extLst>
                  <a:ext uri="{FF2B5EF4-FFF2-40B4-BE49-F238E27FC236}">
                    <a16:creationId xmlns:a16="http://schemas.microsoft.com/office/drawing/2014/main" id="{E246CD3F-6714-46D2-B594-383A7BDB9C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93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8" name="Freeform 1237">
                <a:extLst>
                  <a:ext uri="{FF2B5EF4-FFF2-40B4-BE49-F238E27FC236}">
                    <a16:creationId xmlns:a16="http://schemas.microsoft.com/office/drawing/2014/main" id="{2E9841FE-168D-4F4C-8D32-C7D09C680D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91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9" name="Freeform 1238">
                <a:extLst>
                  <a:ext uri="{FF2B5EF4-FFF2-40B4-BE49-F238E27FC236}">
                    <a16:creationId xmlns:a16="http://schemas.microsoft.com/office/drawing/2014/main" id="{D6A85433-5420-468F-BD38-82AACD92B3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148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4 h 4"/>
                  <a:gd name="T6" fmla="*/ 1 w 8"/>
                  <a:gd name="T7" fmla="*/ 4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0" name="Freeform 1239">
                <a:extLst>
                  <a:ext uri="{FF2B5EF4-FFF2-40B4-BE49-F238E27FC236}">
                    <a16:creationId xmlns:a16="http://schemas.microsoft.com/office/drawing/2014/main" id="{BE5B112C-3F1C-46D8-8595-F036360BF6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131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1" name="Freeform 1240">
                <a:extLst>
                  <a:ext uri="{FF2B5EF4-FFF2-40B4-BE49-F238E27FC236}">
                    <a16:creationId xmlns:a16="http://schemas.microsoft.com/office/drawing/2014/main" id="{A16EC8F5-1D3B-4C08-9F27-18D66547E9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117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2" name="Freeform 1241">
                <a:extLst>
                  <a:ext uri="{FF2B5EF4-FFF2-40B4-BE49-F238E27FC236}">
                    <a16:creationId xmlns:a16="http://schemas.microsoft.com/office/drawing/2014/main" id="{35AF3676-E863-4E49-B12D-958725F5D1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3" name="Freeform 1242">
                <a:extLst>
                  <a:ext uri="{FF2B5EF4-FFF2-40B4-BE49-F238E27FC236}">
                    <a16:creationId xmlns:a16="http://schemas.microsoft.com/office/drawing/2014/main" id="{797D1BF8-01B7-46AB-A5A8-2B6F4F8FE2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4" name="Freeform 1243">
                <a:extLst>
                  <a:ext uri="{FF2B5EF4-FFF2-40B4-BE49-F238E27FC236}">
                    <a16:creationId xmlns:a16="http://schemas.microsoft.com/office/drawing/2014/main" id="{33C6DAD0-F00D-4F7E-8581-1EBC7B62A8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5" name="Freeform 1244">
                <a:extLst>
                  <a:ext uri="{FF2B5EF4-FFF2-40B4-BE49-F238E27FC236}">
                    <a16:creationId xmlns:a16="http://schemas.microsoft.com/office/drawing/2014/main" id="{511E1DAF-B159-40D6-8452-DB93F0B3C4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6" name="Freeform 1245">
                <a:extLst>
                  <a:ext uri="{FF2B5EF4-FFF2-40B4-BE49-F238E27FC236}">
                    <a16:creationId xmlns:a16="http://schemas.microsoft.com/office/drawing/2014/main" id="{0D226314-DE06-4CE9-AB4A-B2B750227A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7" name="Freeform 1246">
                <a:extLst>
                  <a:ext uri="{FF2B5EF4-FFF2-40B4-BE49-F238E27FC236}">
                    <a16:creationId xmlns:a16="http://schemas.microsoft.com/office/drawing/2014/main" id="{AD5547D5-50A6-4354-81A6-F7420BDC21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8" name="Freeform 1247">
                <a:extLst>
                  <a:ext uri="{FF2B5EF4-FFF2-40B4-BE49-F238E27FC236}">
                    <a16:creationId xmlns:a16="http://schemas.microsoft.com/office/drawing/2014/main" id="{88EB1ED8-833F-4B92-B36A-90FD8B7347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9" name="Freeform 1248">
                <a:extLst>
                  <a:ext uri="{FF2B5EF4-FFF2-40B4-BE49-F238E27FC236}">
                    <a16:creationId xmlns:a16="http://schemas.microsoft.com/office/drawing/2014/main" id="{3006251C-6C0A-467D-AA00-EAC8987397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992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0" name="Freeform 1249">
                <a:extLst>
                  <a:ext uri="{FF2B5EF4-FFF2-40B4-BE49-F238E27FC236}">
                    <a16:creationId xmlns:a16="http://schemas.microsoft.com/office/drawing/2014/main" id="{56DA2A3C-365E-4C2B-83E0-B57D74B857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975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1" name="Freeform 1250">
                <a:extLst>
                  <a:ext uri="{FF2B5EF4-FFF2-40B4-BE49-F238E27FC236}">
                    <a16:creationId xmlns:a16="http://schemas.microsoft.com/office/drawing/2014/main" id="{CE591DF7-B059-41B8-810C-4044C90A62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961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2" name="Freeform 1251">
                <a:extLst>
                  <a:ext uri="{FF2B5EF4-FFF2-40B4-BE49-F238E27FC236}">
                    <a16:creationId xmlns:a16="http://schemas.microsoft.com/office/drawing/2014/main" id="{9FBEBFE0-BDD3-4BA5-88CB-50DC03AC54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944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3" name="Freeform 1252">
                <a:extLst>
                  <a:ext uri="{FF2B5EF4-FFF2-40B4-BE49-F238E27FC236}">
                    <a16:creationId xmlns:a16="http://schemas.microsoft.com/office/drawing/2014/main" id="{3937B697-6AF9-46D3-A539-8DB96E6E00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93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4" name="Freeform 1253">
                <a:extLst>
                  <a:ext uri="{FF2B5EF4-FFF2-40B4-BE49-F238E27FC236}">
                    <a16:creationId xmlns:a16="http://schemas.microsoft.com/office/drawing/2014/main" id="{62A670FD-941D-4A91-8DBE-ED40122D5A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91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5" name="Freeform 1254">
                <a:extLst>
                  <a:ext uri="{FF2B5EF4-FFF2-40B4-BE49-F238E27FC236}">
                    <a16:creationId xmlns:a16="http://schemas.microsoft.com/office/drawing/2014/main" id="{7DCEE0EA-EF74-4A1D-BBCE-A721C98DB3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9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6" name="Freeform 1255">
                <a:extLst>
                  <a:ext uri="{FF2B5EF4-FFF2-40B4-BE49-F238E27FC236}">
                    <a16:creationId xmlns:a16="http://schemas.microsoft.com/office/drawing/2014/main" id="{275358EB-987C-444B-A55C-6E7057DA69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31"/>
                <a:ext cx="16" cy="11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7" name="Freeform 1256">
                <a:extLst>
                  <a:ext uri="{FF2B5EF4-FFF2-40B4-BE49-F238E27FC236}">
                    <a16:creationId xmlns:a16="http://schemas.microsoft.com/office/drawing/2014/main" id="{CF2B5A00-0761-4BC4-8716-65389D51D8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117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8" name="Freeform 1257">
                <a:extLst>
                  <a:ext uri="{FF2B5EF4-FFF2-40B4-BE49-F238E27FC236}">
                    <a16:creationId xmlns:a16="http://schemas.microsoft.com/office/drawing/2014/main" id="{02BF7EEF-0FED-42EA-90AA-132EC832C7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9" name="Freeform 1258">
                <a:extLst>
                  <a:ext uri="{FF2B5EF4-FFF2-40B4-BE49-F238E27FC236}">
                    <a16:creationId xmlns:a16="http://schemas.microsoft.com/office/drawing/2014/main" id="{95C312D1-D43E-4E9E-89A2-23AC8C5B11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4 h 4"/>
                  <a:gd name="T4" fmla="*/ 1 w 8"/>
                  <a:gd name="T5" fmla="*/ 4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4"/>
                    </a:cubicBezTo>
                    <a:cubicBezTo>
                      <a:pt x="5" y="4"/>
                      <a:pt x="3" y="4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0" name="Freeform 1259">
                <a:extLst>
                  <a:ext uri="{FF2B5EF4-FFF2-40B4-BE49-F238E27FC236}">
                    <a16:creationId xmlns:a16="http://schemas.microsoft.com/office/drawing/2014/main" id="{F66C593B-C8C3-438D-AE45-34E42B6BEE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1" name="Freeform 1260">
                <a:extLst>
                  <a:ext uri="{FF2B5EF4-FFF2-40B4-BE49-F238E27FC236}">
                    <a16:creationId xmlns:a16="http://schemas.microsoft.com/office/drawing/2014/main" id="{63121B5C-0C3B-4823-A447-A590BF81E1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2" name="Freeform 1261">
                <a:extLst>
                  <a:ext uri="{FF2B5EF4-FFF2-40B4-BE49-F238E27FC236}">
                    <a16:creationId xmlns:a16="http://schemas.microsoft.com/office/drawing/2014/main" id="{7D1A6C9A-5E98-4FB1-B829-6F4E3D58EB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3" name="Freeform 1262">
                <a:extLst>
                  <a:ext uri="{FF2B5EF4-FFF2-40B4-BE49-F238E27FC236}">
                    <a16:creationId xmlns:a16="http://schemas.microsoft.com/office/drawing/2014/main" id="{6008343C-40D2-480B-BB9F-E52DCD46EA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4" name="Freeform 1263">
                <a:extLst>
                  <a:ext uri="{FF2B5EF4-FFF2-40B4-BE49-F238E27FC236}">
                    <a16:creationId xmlns:a16="http://schemas.microsoft.com/office/drawing/2014/main" id="{8F9F3B42-B7FB-4D11-A78A-FC3AD964C8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5" name="Freeform 1264">
                <a:extLst>
                  <a:ext uri="{FF2B5EF4-FFF2-40B4-BE49-F238E27FC236}">
                    <a16:creationId xmlns:a16="http://schemas.microsoft.com/office/drawing/2014/main" id="{2B334212-17D5-4F11-8699-8703B5743F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6" name="Freeform 1265">
                <a:extLst>
                  <a:ext uri="{FF2B5EF4-FFF2-40B4-BE49-F238E27FC236}">
                    <a16:creationId xmlns:a16="http://schemas.microsoft.com/office/drawing/2014/main" id="{BDF5ABEB-DF20-432E-8254-AEAAEFFF3B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7" name="Freeform 1266">
                <a:extLst>
                  <a:ext uri="{FF2B5EF4-FFF2-40B4-BE49-F238E27FC236}">
                    <a16:creationId xmlns:a16="http://schemas.microsoft.com/office/drawing/2014/main" id="{3D7945B3-5FA0-4172-9606-85BF2D7C8B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961"/>
                <a:ext cx="17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8" name="Freeform 1267">
                <a:extLst>
                  <a:ext uri="{FF2B5EF4-FFF2-40B4-BE49-F238E27FC236}">
                    <a16:creationId xmlns:a16="http://schemas.microsoft.com/office/drawing/2014/main" id="{12519DDD-2985-4440-B4F6-3B799D95E8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944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9" name="Freeform 1268">
                <a:extLst>
                  <a:ext uri="{FF2B5EF4-FFF2-40B4-BE49-F238E27FC236}">
                    <a16:creationId xmlns:a16="http://schemas.microsoft.com/office/drawing/2014/main" id="{84A0561F-BDBC-409F-B274-F34934EF1B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930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0" name="Freeform 1269">
                <a:extLst>
                  <a:ext uri="{FF2B5EF4-FFF2-40B4-BE49-F238E27FC236}">
                    <a16:creationId xmlns:a16="http://schemas.microsoft.com/office/drawing/2014/main" id="{EFABAC8E-2C59-4D06-9701-998EAB0141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913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1" name="Freeform 1270">
                <a:extLst>
                  <a:ext uri="{FF2B5EF4-FFF2-40B4-BE49-F238E27FC236}">
                    <a16:creationId xmlns:a16="http://schemas.microsoft.com/office/drawing/2014/main" id="{FCADD728-A573-4DE6-B857-0609BFC229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99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2" name="Freeform 1271">
                <a:extLst>
                  <a:ext uri="{FF2B5EF4-FFF2-40B4-BE49-F238E27FC236}">
                    <a16:creationId xmlns:a16="http://schemas.microsoft.com/office/drawing/2014/main" id="{C425193A-AE57-4B0D-827D-CB988B12D7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88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3" name="Freeform 1272">
                <a:extLst>
                  <a:ext uri="{FF2B5EF4-FFF2-40B4-BE49-F238E27FC236}">
                    <a16:creationId xmlns:a16="http://schemas.microsoft.com/office/drawing/2014/main" id="{AF2D2822-DA36-4081-A36D-62A4C2EB64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117"/>
                <a:ext cx="16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3 h 4"/>
                  <a:gd name="T6" fmla="*/ 1 w 8"/>
                  <a:gd name="T7" fmla="*/ 3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4" name="Freeform 1273">
                <a:extLst>
                  <a:ext uri="{FF2B5EF4-FFF2-40B4-BE49-F238E27FC236}">
                    <a16:creationId xmlns:a16="http://schemas.microsoft.com/office/drawing/2014/main" id="{71161C3F-4DDC-404F-9550-B3E348268D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100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5" name="Freeform 1274">
                <a:extLst>
                  <a:ext uri="{FF2B5EF4-FFF2-40B4-BE49-F238E27FC236}">
                    <a16:creationId xmlns:a16="http://schemas.microsoft.com/office/drawing/2014/main" id="{3C1EE7A2-480C-4C69-97E9-412BEDF99A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6" name="Freeform 1275">
                <a:extLst>
                  <a:ext uri="{FF2B5EF4-FFF2-40B4-BE49-F238E27FC236}">
                    <a16:creationId xmlns:a16="http://schemas.microsoft.com/office/drawing/2014/main" id="{8F106B4E-42AA-408E-9FD2-4808C03A0C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7" name="Freeform 1276">
                <a:extLst>
                  <a:ext uri="{FF2B5EF4-FFF2-40B4-BE49-F238E27FC236}">
                    <a16:creationId xmlns:a16="http://schemas.microsoft.com/office/drawing/2014/main" id="{99C95278-046A-438B-9CFA-9765181ECA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8" name="Freeform 1277">
                <a:extLst>
                  <a:ext uri="{FF2B5EF4-FFF2-40B4-BE49-F238E27FC236}">
                    <a16:creationId xmlns:a16="http://schemas.microsoft.com/office/drawing/2014/main" id="{35E8B3F2-763E-49B3-9793-EB9544BE8E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9" name="Freeform 1278">
                <a:extLst>
                  <a:ext uri="{FF2B5EF4-FFF2-40B4-BE49-F238E27FC236}">
                    <a16:creationId xmlns:a16="http://schemas.microsoft.com/office/drawing/2014/main" id="{F3DDE2D3-58BD-411B-A201-3E3A759EC1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0" name="Freeform 1279">
                <a:extLst>
                  <a:ext uri="{FF2B5EF4-FFF2-40B4-BE49-F238E27FC236}">
                    <a16:creationId xmlns:a16="http://schemas.microsoft.com/office/drawing/2014/main" id="{749B83E3-EFEB-4031-8EC3-7CE94EFBFB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1" name="Freeform 1280">
                <a:extLst>
                  <a:ext uri="{FF2B5EF4-FFF2-40B4-BE49-F238E27FC236}">
                    <a16:creationId xmlns:a16="http://schemas.microsoft.com/office/drawing/2014/main" id="{200F4AAC-1E7A-4A02-9741-C73707F7C0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2" name="Freeform 1281">
                <a:extLst>
                  <a:ext uri="{FF2B5EF4-FFF2-40B4-BE49-F238E27FC236}">
                    <a16:creationId xmlns:a16="http://schemas.microsoft.com/office/drawing/2014/main" id="{F1DAB7B5-9D36-474C-B898-4D03302195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3" name="Freeform 1282">
                <a:extLst>
                  <a:ext uri="{FF2B5EF4-FFF2-40B4-BE49-F238E27FC236}">
                    <a16:creationId xmlns:a16="http://schemas.microsoft.com/office/drawing/2014/main" id="{EC2337E4-EF3F-4E56-9188-B91F9C94BF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4" name="Freeform 1283">
                <a:extLst>
                  <a:ext uri="{FF2B5EF4-FFF2-40B4-BE49-F238E27FC236}">
                    <a16:creationId xmlns:a16="http://schemas.microsoft.com/office/drawing/2014/main" id="{46DD7140-1BB1-413B-A972-9557126B0B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5" name="Freeform 1284">
                <a:extLst>
                  <a:ext uri="{FF2B5EF4-FFF2-40B4-BE49-F238E27FC236}">
                    <a16:creationId xmlns:a16="http://schemas.microsoft.com/office/drawing/2014/main" id="{AF6509EE-CA0D-46A9-9055-F6B63C1131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930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6" name="Freeform 1285">
                <a:extLst>
                  <a:ext uri="{FF2B5EF4-FFF2-40B4-BE49-F238E27FC236}">
                    <a16:creationId xmlns:a16="http://schemas.microsoft.com/office/drawing/2014/main" id="{2789CCF0-10EF-47D6-8EFC-B3F98ABB59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913"/>
                <a:ext cx="17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7" name="Freeform 1286">
                <a:extLst>
                  <a:ext uri="{FF2B5EF4-FFF2-40B4-BE49-F238E27FC236}">
                    <a16:creationId xmlns:a16="http://schemas.microsoft.com/office/drawing/2014/main" id="{BA2ED6F6-0257-4772-9A88-08BC3131F5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9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8" name="Freeform 1287">
                <a:extLst>
                  <a:ext uri="{FF2B5EF4-FFF2-40B4-BE49-F238E27FC236}">
                    <a16:creationId xmlns:a16="http://schemas.microsoft.com/office/drawing/2014/main" id="{88C96136-EE3B-42FB-87D0-2B228D46E8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882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9" name="Freeform 1288">
                <a:extLst>
                  <a:ext uri="{FF2B5EF4-FFF2-40B4-BE49-F238E27FC236}">
                    <a16:creationId xmlns:a16="http://schemas.microsoft.com/office/drawing/2014/main" id="{2F822D10-8AC3-4F60-AA77-150383E670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67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0" name="Freeform 1289">
                <a:extLst>
                  <a:ext uri="{FF2B5EF4-FFF2-40B4-BE49-F238E27FC236}">
                    <a16:creationId xmlns:a16="http://schemas.microsoft.com/office/drawing/2014/main" id="{661834B9-71F2-4421-978A-7F9B66952D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100"/>
                <a:ext cx="17" cy="11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1" name="Freeform 1290">
                <a:extLst>
                  <a:ext uri="{FF2B5EF4-FFF2-40B4-BE49-F238E27FC236}">
                    <a16:creationId xmlns:a16="http://schemas.microsoft.com/office/drawing/2014/main" id="{644880EB-B959-4772-8B4B-9FA8A7ABA0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086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2" name="Freeform 1291">
                <a:extLst>
                  <a:ext uri="{FF2B5EF4-FFF2-40B4-BE49-F238E27FC236}">
                    <a16:creationId xmlns:a16="http://schemas.microsoft.com/office/drawing/2014/main" id="{293ED8D0-AAF9-45F8-81C1-98DA7E4846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069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3" name="Freeform 1292">
                <a:extLst>
                  <a:ext uri="{FF2B5EF4-FFF2-40B4-BE49-F238E27FC236}">
                    <a16:creationId xmlns:a16="http://schemas.microsoft.com/office/drawing/2014/main" id="{8914A031-1AC2-4927-A026-133D775A85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4" name="Freeform 1293">
                <a:extLst>
                  <a:ext uri="{FF2B5EF4-FFF2-40B4-BE49-F238E27FC236}">
                    <a16:creationId xmlns:a16="http://schemas.microsoft.com/office/drawing/2014/main" id="{34381E02-9F29-4AEA-8034-22E2D02872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5" name="Freeform 1294">
                <a:extLst>
                  <a:ext uri="{FF2B5EF4-FFF2-40B4-BE49-F238E27FC236}">
                    <a16:creationId xmlns:a16="http://schemas.microsoft.com/office/drawing/2014/main" id="{B49C3B20-400A-4D17-B22F-32376AB819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6" name="Freeform 1295">
                <a:extLst>
                  <a:ext uri="{FF2B5EF4-FFF2-40B4-BE49-F238E27FC236}">
                    <a16:creationId xmlns:a16="http://schemas.microsoft.com/office/drawing/2014/main" id="{7CDE59DA-D5D5-4A6C-AA50-59E0D2549E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7" name="Freeform 1296">
                <a:extLst>
                  <a:ext uri="{FF2B5EF4-FFF2-40B4-BE49-F238E27FC236}">
                    <a16:creationId xmlns:a16="http://schemas.microsoft.com/office/drawing/2014/main" id="{EE154CD6-19A2-4F05-AFC7-F9C73FA848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8" name="Freeform 1297">
                <a:extLst>
                  <a:ext uri="{FF2B5EF4-FFF2-40B4-BE49-F238E27FC236}">
                    <a16:creationId xmlns:a16="http://schemas.microsoft.com/office/drawing/2014/main" id="{0EC2EE03-260F-45FB-A177-71D7897FAC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9" name="Freeform 1298">
                <a:extLst>
                  <a:ext uri="{FF2B5EF4-FFF2-40B4-BE49-F238E27FC236}">
                    <a16:creationId xmlns:a16="http://schemas.microsoft.com/office/drawing/2014/main" id="{0936FD9A-3BA6-4712-8EA5-B4F2402E00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0" name="Freeform 1299">
                <a:extLst>
                  <a:ext uri="{FF2B5EF4-FFF2-40B4-BE49-F238E27FC236}">
                    <a16:creationId xmlns:a16="http://schemas.microsoft.com/office/drawing/2014/main" id="{114AFD94-18E1-4DC1-A0AE-6F9E855AC3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1" name="Freeform 1300">
                <a:extLst>
                  <a:ext uri="{FF2B5EF4-FFF2-40B4-BE49-F238E27FC236}">
                    <a16:creationId xmlns:a16="http://schemas.microsoft.com/office/drawing/2014/main" id="{57E2026B-D4D3-49C1-97DE-16E2CB8C8E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93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2" name="Freeform 1301">
                <a:extLst>
                  <a:ext uri="{FF2B5EF4-FFF2-40B4-BE49-F238E27FC236}">
                    <a16:creationId xmlns:a16="http://schemas.microsoft.com/office/drawing/2014/main" id="{E40A6132-79D6-44FE-9B8E-66C296AE85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91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3" name="Freeform 1302">
                <a:extLst>
                  <a:ext uri="{FF2B5EF4-FFF2-40B4-BE49-F238E27FC236}">
                    <a16:creationId xmlns:a16="http://schemas.microsoft.com/office/drawing/2014/main" id="{A45F85ED-EEB5-4CDE-86A7-7D8AE1E3E8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99"/>
                <a:ext cx="17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4" name="Freeform 1303">
                <a:extLst>
                  <a:ext uri="{FF2B5EF4-FFF2-40B4-BE49-F238E27FC236}">
                    <a16:creationId xmlns:a16="http://schemas.microsoft.com/office/drawing/2014/main" id="{8E80D510-0B24-4F2E-8971-3651B0902D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882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5" name="Freeform 1304">
                <a:extLst>
                  <a:ext uri="{FF2B5EF4-FFF2-40B4-BE49-F238E27FC236}">
                    <a16:creationId xmlns:a16="http://schemas.microsoft.com/office/drawing/2014/main" id="{122808C4-635E-4BD9-9592-B4EC03DC9F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67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6" name="Freeform 1305">
                <a:extLst>
                  <a:ext uri="{FF2B5EF4-FFF2-40B4-BE49-F238E27FC236}">
                    <a16:creationId xmlns:a16="http://schemas.microsoft.com/office/drawing/2014/main" id="{39638F98-9FD0-4716-8565-8FA205E09A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85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7" name="Freeform 1306">
                <a:extLst>
                  <a:ext uri="{FF2B5EF4-FFF2-40B4-BE49-F238E27FC236}">
                    <a16:creationId xmlns:a16="http://schemas.microsoft.com/office/drawing/2014/main" id="{4A3CB167-5B72-409D-863F-D665F7ADB6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086"/>
                <a:ext cx="17" cy="8"/>
              </a:xfrm>
              <a:custGeom>
                <a:avLst/>
                <a:gdLst>
                  <a:gd name="T0" fmla="*/ 1 w 8"/>
                  <a:gd name="T1" fmla="*/ 1 h 4"/>
                  <a:gd name="T2" fmla="*/ 6 w 8"/>
                  <a:gd name="T3" fmla="*/ 1 h 4"/>
                  <a:gd name="T4" fmla="*/ 6 w 8"/>
                  <a:gd name="T5" fmla="*/ 3 h 4"/>
                  <a:gd name="T6" fmla="*/ 1 w 8"/>
                  <a:gd name="T7" fmla="*/ 3 h 4"/>
                  <a:gd name="T8" fmla="*/ 1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8" name="Freeform 1307">
                <a:extLst>
                  <a:ext uri="{FF2B5EF4-FFF2-40B4-BE49-F238E27FC236}">
                    <a16:creationId xmlns:a16="http://schemas.microsoft.com/office/drawing/2014/main" id="{E231D6BE-BA79-4913-BF3E-71B93C6066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069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9" name="Freeform 1308">
                <a:extLst>
                  <a:ext uri="{FF2B5EF4-FFF2-40B4-BE49-F238E27FC236}">
                    <a16:creationId xmlns:a16="http://schemas.microsoft.com/office/drawing/2014/main" id="{5DCBD70D-4879-4B95-8A01-93D1182D97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054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0" name="Freeform 1309">
                <a:extLst>
                  <a:ext uri="{FF2B5EF4-FFF2-40B4-BE49-F238E27FC236}">
                    <a16:creationId xmlns:a16="http://schemas.microsoft.com/office/drawing/2014/main" id="{6845FBD7-C94A-49A4-BD14-A257CBBCF6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038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1" name="Freeform 1310">
                <a:extLst>
                  <a:ext uri="{FF2B5EF4-FFF2-40B4-BE49-F238E27FC236}">
                    <a16:creationId xmlns:a16="http://schemas.microsoft.com/office/drawing/2014/main" id="{CEBD8128-07BE-431A-AC8C-8BEAE9C8A0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2" name="Freeform 1311">
                <a:extLst>
                  <a:ext uri="{FF2B5EF4-FFF2-40B4-BE49-F238E27FC236}">
                    <a16:creationId xmlns:a16="http://schemas.microsoft.com/office/drawing/2014/main" id="{EDD9BEB3-D243-4228-A002-517EF9577F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3" name="Freeform 1312">
                <a:extLst>
                  <a:ext uri="{FF2B5EF4-FFF2-40B4-BE49-F238E27FC236}">
                    <a16:creationId xmlns:a16="http://schemas.microsoft.com/office/drawing/2014/main" id="{8865E6BA-2372-4C6C-889C-A065CAFA5D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4" name="Freeform 1313">
                <a:extLst>
                  <a:ext uri="{FF2B5EF4-FFF2-40B4-BE49-F238E27FC236}">
                    <a16:creationId xmlns:a16="http://schemas.microsoft.com/office/drawing/2014/main" id="{FCA9D14D-CD2B-41E0-AAA2-FDC08B0DDF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5" name="Freeform 1314">
                <a:extLst>
                  <a:ext uri="{FF2B5EF4-FFF2-40B4-BE49-F238E27FC236}">
                    <a16:creationId xmlns:a16="http://schemas.microsoft.com/office/drawing/2014/main" id="{59238131-7511-4EB1-AF4D-D10E773F17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6" name="Freeform 1315">
                <a:extLst>
                  <a:ext uri="{FF2B5EF4-FFF2-40B4-BE49-F238E27FC236}">
                    <a16:creationId xmlns:a16="http://schemas.microsoft.com/office/drawing/2014/main" id="{A8768FB2-3D5D-4319-AD9F-EFDB14BF82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7" name="Freeform 1316">
                <a:extLst>
                  <a:ext uri="{FF2B5EF4-FFF2-40B4-BE49-F238E27FC236}">
                    <a16:creationId xmlns:a16="http://schemas.microsoft.com/office/drawing/2014/main" id="{796FD169-D570-4E36-8BB1-0032EC822F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93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8" name="Freeform 1317">
                <a:extLst>
                  <a:ext uri="{FF2B5EF4-FFF2-40B4-BE49-F238E27FC236}">
                    <a16:creationId xmlns:a16="http://schemas.microsoft.com/office/drawing/2014/main" id="{05042ED9-C85F-4C33-AE2F-E3EA66D5A5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91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9" name="Freeform 1318">
                <a:extLst>
                  <a:ext uri="{FF2B5EF4-FFF2-40B4-BE49-F238E27FC236}">
                    <a16:creationId xmlns:a16="http://schemas.microsoft.com/office/drawing/2014/main" id="{E9F767EF-086F-4023-B7EE-4BA49014B2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9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0" name="Freeform 1319">
                <a:extLst>
                  <a:ext uri="{FF2B5EF4-FFF2-40B4-BE49-F238E27FC236}">
                    <a16:creationId xmlns:a16="http://schemas.microsoft.com/office/drawing/2014/main" id="{A207AAAA-D09A-4D73-84AE-F7FA996B36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1" name="Freeform 1320">
                <a:extLst>
                  <a:ext uri="{FF2B5EF4-FFF2-40B4-BE49-F238E27FC236}">
                    <a16:creationId xmlns:a16="http://schemas.microsoft.com/office/drawing/2014/main" id="{3D7F4F6D-01C0-4907-973B-EB17965A5F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67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2" name="Freeform 1321">
                <a:extLst>
                  <a:ext uri="{FF2B5EF4-FFF2-40B4-BE49-F238E27FC236}">
                    <a16:creationId xmlns:a16="http://schemas.microsoft.com/office/drawing/2014/main" id="{50ECB175-AA78-4EA1-96C6-188A732216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851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3" name="Freeform 1322">
                <a:extLst>
                  <a:ext uri="{FF2B5EF4-FFF2-40B4-BE49-F238E27FC236}">
                    <a16:creationId xmlns:a16="http://schemas.microsoft.com/office/drawing/2014/main" id="{29E70359-AD8A-4653-8641-A997174ED9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3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4" name="Freeform 1323">
                <a:extLst>
                  <a:ext uri="{FF2B5EF4-FFF2-40B4-BE49-F238E27FC236}">
                    <a16:creationId xmlns:a16="http://schemas.microsoft.com/office/drawing/2014/main" id="{E29F7585-9C62-44E4-8F70-2CA34D1F78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84" y="2069"/>
                <a:ext cx="17" cy="10"/>
              </a:xfrm>
              <a:custGeom>
                <a:avLst/>
                <a:gdLst>
                  <a:gd name="T0" fmla="*/ 1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1 w 8"/>
                  <a:gd name="T7" fmla="*/ 4 h 5"/>
                  <a:gd name="T8" fmla="*/ 1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1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5" name="Freeform 1324">
                <a:extLst>
                  <a:ext uri="{FF2B5EF4-FFF2-40B4-BE49-F238E27FC236}">
                    <a16:creationId xmlns:a16="http://schemas.microsoft.com/office/drawing/2014/main" id="{82B609A1-40FB-4A46-A444-CD4BD0D5B5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2054"/>
                <a:ext cx="17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6" name="Freeform 1325">
                <a:extLst>
                  <a:ext uri="{FF2B5EF4-FFF2-40B4-BE49-F238E27FC236}">
                    <a16:creationId xmlns:a16="http://schemas.microsoft.com/office/drawing/2014/main" id="{D553D37B-869F-4637-9A41-F8271A7849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38" y="2038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7" name="Freeform 1326">
                <a:extLst>
                  <a:ext uri="{FF2B5EF4-FFF2-40B4-BE49-F238E27FC236}">
                    <a16:creationId xmlns:a16="http://schemas.microsoft.com/office/drawing/2014/main" id="{7E926895-6CDA-41C4-B46A-98AD7636A4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66" y="2023"/>
                <a:ext cx="16" cy="9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8" name="Freeform 1327">
                <a:extLst>
                  <a:ext uri="{FF2B5EF4-FFF2-40B4-BE49-F238E27FC236}">
                    <a16:creationId xmlns:a16="http://schemas.microsoft.com/office/drawing/2014/main" id="{1B8E414C-6E48-4FBE-B528-05806DCFD7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93" y="2007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9" name="Freeform 1328">
                <a:extLst>
                  <a:ext uri="{FF2B5EF4-FFF2-40B4-BE49-F238E27FC236}">
                    <a16:creationId xmlns:a16="http://schemas.microsoft.com/office/drawing/2014/main" id="{15DD1CAE-9876-4DC6-92E9-7FDE96AF1C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0" y="1992"/>
                <a:ext cx="16" cy="8"/>
              </a:xfrm>
              <a:custGeom>
                <a:avLst/>
                <a:gdLst>
                  <a:gd name="T0" fmla="*/ 6 w 8"/>
                  <a:gd name="T1" fmla="*/ 1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1 h 4"/>
                  <a:gd name="T8" fmla="*/ 6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1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0" name="Freeform 1329">
                <a:extLst>
                  <a:ext uri="{FF2B5EF4-FFF2-40B4-BE49-F238E27FC236}">
                    <a16:creationId xmlns:a16="http://schemas.microsoft.com/office/drawing/2014/main" id="{AE1CCED5-0DFE-4330-BE82-4BBB0F52F7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47" y="1975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1" name="Freeform 1330">
                <a:extLst>
                  <a:ext uri="{FF2B5EF4-FFF2-40B4-BE49-F238E27FC236}">
                    <a16:creationId xmlns:a16="http://schemas.microsoft.com/office/drawing/2014/main" id="{B66D2662-F108-44DA-BEA2-7A8381F49C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74" y="1961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2" name="Freeform 1331">
                <a:extLst>
                  <a:ext uri="{FF2B5EF4-FFF2-40B4-BE49-F238E27FC236}">
                    <a16:creationId xmlns:a16="http://schemas.microsoft.com/office/drawing/2014/main" id="{A9BB9156-8762-4B57-8F69-2006EC9B55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1" y="1944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3" name="Freeform 1332">
                <a:extLst>
                  <a:ext uri="{FF2B5EF4-FFF2-40B4-BE49-F238E27FC236}">
                    <a16:creationId xmlns:a16="http://schemas.microsoft.com/office/drawing/2014/main" id="{B4A539B9-0E6B-4B5E-83F1-3A3648A9EA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28" y="1930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4" name="Freeform 1333">
                <a:extLst>
                  <a:ext uri="{FF2B5EF4-FFF2-40B4-BE49-F238E27FC236}">
                    <a16:creationId xmlns:a16="http://schemas.microsoft.com/office/drawing/2014/main" id="{3D910436-E3E5-44B2-9AC6-A7D234CB8D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5" y="1913"/>
                <a:ext cx="16" cy="11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5" name="Freeform 1334">
                <a:extLst>
                  <a:ext uri="{FF2B5EF4-FFF2-40B4-BE49-F238E27FC236}">
                    <a16:creationId xmlns:a16="http://schemas.microsoft.com/office/drawing/2014/main" id="{A812059E-2FB6-44E8-BEC4-1493AA2B66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2" y="1899"/>
                <a:ext cx="16" cy="8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6" name="Freeform 1335">
                <a:extLst>
                  <a:ext uri="{FF2B5EF4-FFF2-40B4-BE49-F238E27FC236}">
                    <a16:creationId xmlns:a16="http://schemas.microsoft.com/office/drawing/2014/main" id="{8B0C216A-FC30-49A5-9340-79602D96C6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9" y="1882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7" name="Freeform 1336">
                <a:extLst>
                  <a:ext uri="{FF2B5EF4-FFF2-40B4-BE49-F238E27FC236}">
                    <a16:creationId xmlns:a16="http://schemas.microsoft.com/office/drawing/2014/main" id="{8AB8B403-FB75-4EF2-A768-02F4885F8F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6" y="1867"/>
                <a:ext cx="16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8" name="Freeform 1337">
                <a:extLst>
                  <a:ext uri="{FF2B5EF4-FFF2-40B4-BE49-F238E27FC236}">
                    <a16:creationId xmlns:a16="http://schemas.microsoft.com/office/drawing/2014/main" id="{5C57E331-3F56-4262-AA80-68970F588F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63" y="1851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9" name="Freeform 1338">
                <a:extLst>
                  <a:ext uri="{FF2B5EF4-FFF2-40B4-BE49-F238E27FC236}">
                    <a16:creationId xmlns:a16="http://schemas.microsoft.com/office/drawing/2014/main" id="{BA8AB70E-6CEF-40EC-840A-C4C5AB1FE4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0" y="1836"/>
                <a:ext cx="17" cy="9"/>
              </a:xfrm>
              <a:custGeom>
                <a:avLst/>
                <a:gdLst>
                  <a:gd name="T0" fmla="*/ 6 w 8"/>
                  <a:gd name="T1" fmla="*/ 0 h 4"/>
                  <a:gd name="T2" fmla="*/ 6 w 8"/>
                  <a:gd name="T3" fmla="*/ 3 h 4"/>
                  <a:gd name="T4" fmla="*/ 1 w 8"/>
                  <a:gd name="T5" fmla="*/ 3 h 4"/>
                  <a:gd name="T6" fmla="*/ 1 w 8"/>
                  <a:gd name="T7" fmla="*/ 0 h 4"/>
                  <a:gd name="T8" fmla="*/ 6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6" y="0"/>
                    </a:moveTo>
                    <a:cubicBezTo>
                      <a:pt x="8" y="1"/>
                      <a:pt x="8" y="2"/>
                      <a:pt x="6" y="3"/>
                    </a:cubicBezTo>
                    <a:cubicBezTo>
                      <a:pt x="5" y="4"/>
                      <a:pt x="3" y="4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0" name="Freeform 1339">
                <a:extLst>
                  <a:ext uri="{FF2B5EF4-FFF2-40B4-BE49-F238E27FC236}">
                    <a16:creationId xmlns:a16="http://schemas.microsoft.com/office/drawing/2014/main" id="{2E7D7416-4DB8-4198-A892-7AED00F1F2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7" y="1820"/>
                <a:ext cx="17" cy="10"/>
              </a:xfrm>
              <a:custGeom>
                <a:avLst/>
                <a:gdLst>
                  <a:gd name="T0" fmla="*/ 6 w 8"/>
                  <a:gd name="T1" fmla="*/ 1 h 5"/>
                  <a:gd name="T2" fmla="*/ 6 w 8"/>
                  <a:gd name="T3" fmla="*/ 4 h 5"/>
                  <a:gd name="T4" fmla="*/ 1 w 8"/>
                  <a:gd name="T5" fmla="*/ 4 h 5"/>
                  <a:gd name="T6" fmla="*/ 1 w 8"/>
                  <a:gd name="T7" fmla="*/ 1 h 5"/>
                  <a:gd name="T8" fmla="*/ 6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1" name="Freeform 1340">
                <a:extLst>
                  <a:ext uri="{FF2B5EF4-FFF2-40B4-BE49-F238E27FC236}">
                    <a16:creationId xmlns:a16="http://schemas.microsoft.com/office/drawing/2014/main" id="{FBA6CD29-0727-4CDC-914E-3A50FDE5C8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99"/>
                <a:ext cx="17" cy="8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2" name="Freeform 1341">
                <a:extLst>
                  <a:ext uri="{FF2B5EF4-FFF2-40B4-BE49-F238E27FC236}">
                    <a16:creationId xmlns:a16="http://schemas.microsoft.com/office/drawing/2014/main" id="{C238A4A8-807B-4737-B94B-2EC2EAE3B0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882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3" name="Freeform 1342">
                <a:extLst>
                  <a:ext uri="{FF2B5EF4-FFF2-40B4-BE49-F238E27FC236}">
                    <a16:creationId xmlns:a16="http://schemas.microsoft.com/office/drawing/2014/main" id="{6FA98FFE-9000-4D4B-8A42-7A93792C99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867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4" name="Freeform 1343">
                <a:extLst>
                  <a:ext uri="{FF2B5EF4-FFF2-40B4-BE49-F238E27FC236}">
                    <a16:creationId xmlns:a16="http://schemas.microsoft.com/office/drawing/2014/main" id="{EE2E2472-A71F-46B8-BACB-9922D9EAC6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85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5" name="Freeform 1344">
                <a:extLst>
                  <a:ext uri="{FF2B5EF4-FFF2-40B4-BE49-F238E27FC236}">
                    <a16:creationId xmlns:a16="http://schemas.microsoft.com/office/drawing/2014/main" id="{DE3F2CC5-1A39-452D-B627-E4926B64AA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83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6" name="Freeform 1345">
                <a:extLst>
                  <a:ext uri="{FF2B5EF4-FFF2-40B4-BE49-F238E27FC236}">
                    <a16:creationId xmlns:a16="http://schemas.microsoft.com/office/drawing/2014/main" id="{869A9A71-0C4D-4E31-99D3-1EDF8E645A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7" name="Freeform 1346">
                <a:extLst>
                  <a:ext uri="{FF2B5EF4-FFF2-40B4-BE49-F238E27FC236}">
                    <a16:creationId xmlns:a16="http://schemas.microsoft.com/office/drawing/2014/main" id="{379C35E0-4C4A-417F-A762-43188EE15B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80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8" name="Freeform 1347">
                <a:extLst>
                  <a:ext uri="{FF2B5EF4-FFF2-40B4-BE49-F238E27FC236}">
                    <a16:creationId xmlns:a16="http://schemas.microsoft.com/office/drawing/2014/main" id="{AC08A14B-C1CC-48AE-87BD-D0B0994A67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9" name="Freeform 1348">
                <a:extLst>
                  <a:ext uri="{FF2B5EF4-FFF2-40B4-BE49-F238E27FC236}">
                    <a16:creationId xmlns:a16="http://schemas.microsoft.com/office/drawing/2014/main" id="{51A07B00-5C1A-479E-BEBF-3EAB0DDAED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0" name="Freeform 1349">
                <a:extLst>
                  <a:ext uri="{FF2B5EF4-FFF2-40B4-BE49-F238E27FC236}">
                    <a16:creationId xmlns:a16="http://schemas.microsoft.com/office/drawing/2014/main" id="{4C59B007-5FB2-419D-9F8E-4B30808B6C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882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1" name="Freeform 1350">
                <a:extLst>
                  <a:ext uri="{FF2B5EF4-FFF2-40B4-BE49-F238E27FC236}">
                    <a16:creationId xmlns:a16="http://schemas.microsoft.com/office/drawing/2014/main" id="{4DEEEF48-694F-4F3D-B5D7-BABC0BB833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67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2" name="Freeform 1351">
                <a:extLst>
                  <a:ext uri="{FF2B5EF4-FFF2-40B4-BE49-F238E27FC236}">
                    <a16:creationId xmlns:a16="http://schemas.microsoft.com/office/drawing/2014/main" id="{89979713-284E-493A-802D-FA173C3D64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85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3" name="Freeform 1352">
                <a:extLst>
                  <a:ext uri="{FF2B5EF4-FFF2-40B4-BE49-F238E27FC236}">
                    <a16:creationId xmlns:a16="http://schemas.microsoft.com/office/drawing/2014/main" id="{9628D157-C659-4C89-895D-132BFA389A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83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4" name="Freeform 1353">
                <a:extLst>
                  <a:ext uri="{FF2B5EF4-FFF2-40B4-BE49-F238E27FC236}">
                    <a16:creationId xmlns:a16="http://schemas.microsoft.com/office/drawing/2014/main" id="{A8561EFF-4D9F-404E-8B99-EF5ED545D5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5" name="Freeform 1354">
                <a:extLst>
                  <a:ext uri="{FF2B5EF4-FFF2-40B4-BE49-F238E27FC236}">
                    <a16:creationId xmlns:a16="http://schemas.microsoft.com/office/drawing/2014/main" id="{79292006-7AB2-43BA-9299-A8481702BA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80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6" name="Freeform 1355">
                <a:extLst>
                  <a:ext uri="{FF2B5EF4-FFF2-40B4-BE49-F238E27FC236}">
                    <a16:creationId xmlns:a16="http://schemas.microsoft.com/office/drawing/2014/main" id="{415E3402-7036-4818-BF2E-8CEF2F352F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7" name="Freeform 1356">
                <a:extLst>
                  <a:ext uri="{FF2B5EF4-FFF2-40B4-BE49-F238E27FC236}">
                    <a16:creationId xmlns:a16="http://schemas.microsoft.com/office/drawing/2014/main" id="{5FFCAD6C-5187-47F4-9324-F3B915D3F1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8" name="Freeform 1357">
                <a:extLst>
                  <a:ext uri="{FF2B5EF4-FFF2-40B4-BE49-F238E27FC236}">
                    <a16:creationId xmlns:a16="http://schemas.microsoft.com/office/drawing/2014/main" id="{EF28081F-F206-4E32-97E1-12B7EAC0B7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9" name="Freeform 1358">
                <a:extLst>
                  <a:ext uri="{FF2B5EF4-FFF2-40B4-BE49-F238E27FC236}">
                    <a16:creationId xmlns:a16="http://schemas.microsoft.com/office/drawing/2014/main" id="{6FEB779F-846D-477F-8F54-1ADED41095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0" name="Freeform 1359">
                <a:extLst>
                  <a:ext uri="{FF2B5EF4-FFF2-40B4-BE49-F238E27FC236}">
                    <a16:creationId xmlns:a16="http://schemas.microsoft.com/office/drawing/2014/main" id="{32E379AE-4E0B-46AC-A11F-CC5460186F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67"/>
                <a:ext cx="17" cy="9"/>
              </a:xfrm>
              <a:custGeom>
                <a:avLst/>
                <a:gdLst>
                  <a:gd name="T0" fmla="*/ 2 w 8"/>
                  <a:gd name="T1" fmla="*/ 1 h 4"/>
                  <a:gd name="T2" fmla="*/ 7 w 8"/>
                  <a:gd name="T3" fmla="*/ 1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1" name="Freeform 1360">
                <a:extLst>
                  <a:ext uri="{FF2B5EF4-FFF2-40B4-BE49-F238E27FC236}">
                    <a16:creationId xmlns:a16="http://schemas.microsoft.com/office/drawing/2014/main" id="{3AD25CC7-3124-4E96-BAC6-03C60ED42A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851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2" name="Freeform 1361">
                <a:extLst>
                  <a:ext uri="{FF2B5EF4-FFF2-40B4-BE49-F238E27FC236}">
                    <a16:creationId xmlns:a16="http://schemas.microsoft.com/office/drawing/2014/main" id="{B95DF097-E218-4708-8B47-445C9935BA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36"/>
                <a:ext cx="17" cy="9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3" name="Freeform 1362">
                <a:extLst>
                  <a:ext uri="{FF2B5EF4-FFF2-40B4-BE49-F238E27FC236}">
                    <a16:creationId xmlns:a16="http://schemas.microsoft.com/office/drawing/2014/main" id="{DF76509B-F9A5-43A9-8975-37B229467D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4" name="Freeform 1363">
                <a:extLst>
                  <a:ext uri="{FF2B5EF4-FFF2-40B4-BE49-F238E27FC236}">
                    <a16:creationId xmlns:a16="http://schemas.microsoft.com/office/drawing/2014/main" id="{941BE7BA-009C-4E91-B157-AD33D17A85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805"/>
                <a:ext cx="17" cy="8"/>
              </a:xfrm>
              <a:custGeom>
                <a:avLst/>
                <a:gdLst>
                  <a:gd name="T0" fmla="*/ 7 w 8"/>
                  <a:gd name="T1" fmla="*/ 1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1 h 4"/>
                  <a:gd name="T8" fmla="*/ 7 w 8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1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5" name="Freeform 1364">
                <a:extLst>
                  <a:ext uri="{FF2B5EF4-FFF2-40B4-BE49-F238E27FC236}">
                    <a16:creationId xmlns:a16="http://schemas.microsoft.com/office/drawing/2014/main" id="{94367B75-93FE-49E0-B7B3-FD05457218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6" name="Freeform 1365">
                <a:extLst>
                  <a:ext uri="{FF2B5EF4-FFF2-40B4-BE49-F238E27FC236}">
                    <a16:creationId xmlns:a16="http://schemas.microsoft.com/office/drawing/2014/main" id="{7B0CD497-0C5B-4437-965D-B099B51B4F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7" name="Freeform 1366">
                <a:extLst>
                  <a:ext uri="{FF2B5EF4-FFF2-40B4-BE49-F238E27FC236}">
                    <a16:creationId xmlns:a16="http://schemas.microsoft.com/office/drawing/2014/main" id="{9287E021-3A56-466D-A86F-BF83CCFD9C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8" name="Freeform 1367">
                <a:extLst>
                  <a:ext uri="{FF2B5EF4-FFF2-40B4-BE49-F238E27FC236}">
                    <a16:creationId xmlns:a16="http://schemas.microsoft.com/office/drawing/2014/main" id="{852EA1EE-2AC6-4827-9AA4-BF16CFDCAF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9" name="Freeform 1368">
                <a:extLst>
                  <a:ext uri="{FF2B5EF4-FFF2-40B4-BE49-F238E27FC236}">
                    <a16:creationId xmlns:a16="http://schemas.microsoft.com/office/drawing/2014/main" id="{779500B9-6362-4478-AC81-F5583BDB78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0" name="Freeform 1369">
                <a:extLst>
                  <a:ext uri="{FF2B5EF4-FFF2-40B4-BE49-F238E27FC236}">
                    <a16:creationId xmlns:a16="http://schemas.microsoft.com/office/drawing/2014/main" id="{F8644A0E-0016-4332-B630-1093A7B560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1" name="Freeform 1370">
                <a:extLst>
                  <a:ext uri="{FF2B5EF4-FFF2-40B4-BE49-F238E27FC236}">
                    <a16:creationId xmlns:a16="http://schemas.microsoft.com/office/drawing/2014/main" id="{C0BF127F-C0F2-4EB7-A29C-606252A0AD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851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7 w 8"/>
                  <a:gd name="T3" fmla="*/ 1 h 5"/>
                  <a:gd name="T4" fmla="*/ 7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2" name="Freeform 1371">
                <a:extLst>
                  <a:ext uri="{FF2B5EF4-FFF2-40B4-BE49-F238E27FC236}">
                    <a16:creationId xmlns:a16="http://schemas.microsoft.com/office/drawing/2014/main" id="{A74BFB38-D71D-4261-8373-78146F4F48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36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3" name="Freeform 1372">
                <a:extLst>
                  <a:ext uri="{FF2B5EF4-FFF2-40B4-BE49-F238E27FC236}">
                    <a16:creationId xmlns:a16="http://schemas.microsoft.com/office/drawing/2014/main" id="{6B4A6083-E369-4030-BA6E-5E7829188E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4" name="Freeform 1373">
                <a:extLst>
                  <a:ext uri="{FF2B5EF4-FFF2-40B4-BE49-F238E27FC236}">
                    <a16:creationId xmlns:a16="http://schemas.microsoft.com/office/drawing/2014/main" id="{B0F04D97-205F-4F94-9E53-D243546CB2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80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5" name="Freeform 1374">
                <a:extLst>
                  <a:ext uri="{FF2B5EF4-FFF2-40B4-BE49-F238E27FC236}">
                    <a16:creationId xmlns:a16="http://schemas.microsoft.com/office/drawing/2014/main" id="{684FB516-3F1E-4ABB-80FE-5BB7E071D0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6" name="Freeform 1375">
                <a:extLst>
                  <a:ext uri="{FF2B5EF4-FFF2-40B4-BE49-F238E27FC236}">
                    <a16:creationId xmlns:a16="http://schemas.microsoft.com/office/drawing/2014/main" id="{A2A26DE5-32BA-49C4-AECC-A05C903427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7" name="Freeform 1376">
                <a:extLst>
                  <a:ext uri="{FF2B5EF4-FFF2-40B4-BE49-F238E27FC236}">
                    <a16:creationId xmlns:a16="http://schemas.microsoft.com/office/drawing/2014/main" id="{D157BBE7-18EE-4AA7-A064-2A9B6B6202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8" name="Freeform 1377">
                <a:extLst>
                  <a:ext uri="{FF2B5EF4-FFF2-40B4-BE49-F238E27FC236}">
                    <a16:creationId xmlns:a16="http://schemas.microsoft.com/office/drawing/2014/main" id="{0454661A-1F2B-46FF-9A79-804E66B40A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9" name="Freeform 1378">
                <a:extLst>
                  <a:ext uri="{FF2B5EF4-FFF2-40B4-BE49-F238E27FC236}">
                    <a16:creationId xmlns:a16="http://schemas.microsoft.com/office/drawing/2014/main" id="{86A27481-62C1-49E5-B68B-A5599B70F6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0" name="Freeform 1379">
                <a:extLst>
                  <a:ext uri="{FF2B5EF4-FFF2-40B4-BE49-F238E27FC236}">
                    <a16:creationId xmlns:a16="http://schemas.microsoft.com/office/drawing/2014/main" id="{09966DD9-F3DE-4250-A74E-D44F58E57E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1" name="Freeform 1380">
                <a:extLst>
                  <a:ext uri="{FF2B5EF4-FFF2-40B4-BE49-F238E27FC236}">
                    <a16:creationId xmlns:a16="http://schemas.microsoft.com/office/drawing/2014/main" id="{A25D16E6-D191-49D4-90F6-2076C5701F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69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2" name="Freeform 1381">
                <a:extLst>
                  <a:ext uri="{FF2B5EF4-FFF2-40B4-BE49-F238E27FC236}">
                    <a16:creationId xmlns:a16="http://schemas.microsoft.com/office/drawing/2014/main" id="{FB6BCB78-AFA6-46AB-BC19-DAB826EBED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2" y="168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3" name="Freeform 1382">
                <a:extLst>
                  <a:ext uri="{FF2B5EF4-FFF2-40B4-BE49-F238E27FC236}">
                    <a16:creationId xmlns:a16="http://schemas.microsoft.com/office/drawing/2014/main" id="{1678E866-B5EE-404D-B160-4EF91484A0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36"/>
                <a:ext cx="17" cy="9"/>
              </a:xfrm>
              <a:custGeom>
                <a:avLst/>
                <a:gdLst>
                  <a:gd name="T0" fmla="*/ 2 w 8"/>
                  <a:gd name="T1" fmla="*/ 0 h 4"/>
                  <a:gd name="T2" fmla="*/ 6 w 8"/>
                  <a:gd name="T3" fmla="*/ 0 h 4"/>
                  <a:gd name="T4" fmla="*/ 7 w 8"/>
                  <a:gd name="T5" fmla="*/ 3 h 4"/>
                  <a:gd name="T6" fmla="*/ 2 w 8"/>
                  <a:gd name="T7" fmla="*/ 3 h 4"/>
                  <a:gd name="T8" fmla="*/ 2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4" name="Freeform 1383">
                <a:extLst>
                  <a:ext uri="{FF2B5EF4-FFF2-40B4-BE49-F238E27FC236}">
                    <a16:creationId xmlns:a16="http://schemas.microsoft.com/office/drawing/2014/main" id="{A09083E6-8E48-4CD7-865F-053C30F302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820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5" name="Freeform 1384">
                <a:extLst>
                  <a:ext uri="{FF2B5EF4-FFF2-40B4-BE49-F238E27FC236}">
                    <a16:creationId xmlns:a16="http://schemas.microsoft.com/office/drawing/2014/main" id="{6BCBCD29-1917-4B3F-8C36-BD1747420D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80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6" name="Freeform 1385">
                <a:extLst>
                  <a:ext uri="{FF2B5EF4-FFF2-40B4-BE49-F238E27FC236}">
                    <a16:creationId xmlns:a16="http://schemas.microsoft.com/office/drawing/2014/main" id="{A748DD82-18A1-4B28-99CD-63BD314DFD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7" name="Freeform 1386">
                <a:extLst>
                  <a:ext uri="{FF2B5EF4-FFF2-40B4-BE49-F238E27FC236}">
                    <a16:creationId xmlns:a16="http://schemas.microsoft.com/office/drawing/2014/main" id="{1762CF69-162F-49EB-8179-F41C7C252E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8" name="Freeform 1387">
                <a:extLst>
                  <a:ext uri="{FF2B5EF4-FFF2-40B4-BE49-F238E27FC236}">
                    <a16:creationId xmlns:a16="http://schemas.microsoft.com/office/drawing/2014/main" id="{60C21D0D-B9E3-4C28-9BA8-F1C921F4F6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9" name="Freeform 1388">
                <a:extLst>
                  <a:ext uri="{FF2B5EF4-FFF2-40B4-BE49-F238E27FC236}">
                    <a16:creationId xmlns:a16="http://schemas.microsoft.com/office/drawing/2014/main" id="{CC10AA2B-6870-4783-B880-D1F703D026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0" name="Freeform 1389">
                <a:extLst>
                  <a:ext uri="{FF2B5EF4-FFF2-40B4-BE49-F238E27FC236}">
                    <a16:creationId xmlns:a16="http://schemas.microsoft.com/office/drawing/2014/main" id="{FEF93957-6385-4537-8CCE-7AD3476154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1" name="Freeform 1390">
                <a:extLst>
                  <a:ext uri="{FF2B5EF4-FFF2-40B4-BE49-F238E27FC236}">
                    <a16:creationId xmlns:a16="http://schemas.microsoft.com/office/drawing/2014/main" id="{3DAAFABB-256E-4FF9-9067-DAF7C2B995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2" name="Freeform 1391">
                <a:extLst>
                  <a:ext uri="{FF2B5EF4-FFF2-40B4-BE49-F238E27FC236}">
                    <a16:creationId xmlns:a16="http://schemas.microsoft.com/office/drawing/2014/main" id="{1302FBD8-9D8F-4281-A921-57B584C57C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69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3" name="Freeform 1392">
                <a:extLst>
                  <a:ext uri="{FF2B5EF4-FFF2-40B4-BE49-F238E27FC236}">
                    <a16:creationId xmlns:a16="http://schemas.microsoft.com/office/drawing/2014/main" id="{B9CB9989-1BFC-4332-B429-D86970F5EC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68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4" name="Freeform 1393">
                <a:extLst>
                  <a:ext uri="{FF2B5EF4-FFF2-40B4-BE49-F238E27FC236}">
                    <a16:creationId xmlns:a16="http://schemas.microsoft.com/office/drawing/2014/main" id="{5B046243-99EE-4DDF-A3B2-D0B7C0A69C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5" y="166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5" name="Freeform 1394">
                <a:extLst>
                  <a:ext uri="{FF2B5EF4-FFF2-40B4-BE49-F238E27FC236}">
                    <a16:creationId xmlns:a16="http://schemas.microsoft.com/office/drawing/2014/main" id="{1CCA41DE-696E-49A8-AF70-20AA76F05D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820"/>
                <a:ext cx="17" cy="10"/>
              </a:xfrm>
              <a:custGeom>
                <a:avLst/>
                <a:gdLst>
                  <a:gd name="T0" fmla="*/ 2 w 8"/>
                  <a:gd name="T1" fmla="*/ 1 h 5"/>
                  <a:gd name="T2" fmla="*/ 6 w 8"/>
                  <a:gd name="T3" fmla="*/ 1 h 5"/>
                  <a:gd name="T4" fmla="*/ 6 w 8"/>
                  <a:gd name="T5" fmla="*/ 4 h 5"/>
                  <a:gd name="T6" fmla="*/ 2 w 8"/>
                  <a:gd name="T7" fmla="*/ 4 h 5"/>
                  <a:gd name="T8" fmla="*/ 2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2" y="1"/>
                    </a:moveTo>
                    <a:cubicBezTo>
                      <a:pt x="3" y="0"/>
                      <a:pt x="5" y="0"/>
                      <a:pt x="6" y="1"/>
                    </a:cubicBezTo>
                    <a:cubicBezTo>
                      <a:pt x="8" y="2"/>
                      <a:pt x="8" y="3"/>
                      <a:pt x="6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6" name="Freeform 1395">
                <a:extLst>
                  <a:ext uri="{FF2B5EF4-FFF2-40B4-BE49-F238E27FC236}">
                    <a16:creationId xmlns:a16="http://schemas.microsoft.com/office/drawing/2014/main" id="{5BB242A8-0666-4B6C-90D6-EC5F6D5F2B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805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3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7" name="Freeform 1396">
                <a:extLst>
                  <a:ext uri="{FF2B5EF4-FFF2-40B4-BE49-F238E27FC236}">
                    <a16:creationId xmlns:a16="http://schemas.microsoft.com/office/drawing/2014/main" id="{89DD6CC5-ED4C-4C89-A9CA-CBFCF69B62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8" name="Freeform 1397">
                <a:extLst>
                  <a:ext uri="{FF2B5EF4-FFF2-40B4-BE49-F238E27FC236}">
                    <a16:creationId xmlns:a16="http://schemas.microsoft.com/office/drawing/2014/main" id="{D0C8153C-19FB-4968-9186-40C0CAE521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9" name="Freeform 1398">
                <a:extLst>
                  <a:ext uri="{FF2B5EF4-FFF2-40B4-BE49-F238E27FC236}">
                    <a16:creationId xmlns:a16="http://schemas.microsoft.com/office/drawing/2014/main" id="{F6B2226A-7377-43FA-AFFC-F997192EA1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9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0" name="Freeform 1399">
                <a:extLst>
                  <a:ext uri="{FF2B5EF4-FFF2-40B4-BE49-F238E27FC236}">
                    <a16:creationId xmlns:a16="http://schemas.microsoft.com/office/drawing/2014/main" id="{EE884E15-BD53-405D-BF59-FF9F194329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6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1" name="Freeform 1400">
                <a:extLst>
                  <a:ext uri="{FF2B5EF4-FFF2-40B4-BE49-F238E27FC236}">
                    <a16:creationId xmlns:a16="http://schemas.microsoft.com/office/drawing/2014/main" id="{05439354-4024-4A9B-BB2F-D9D1D5E1C1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33" y="1726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2" name="Freeform 1401">
                <a:extLst>
                  <a:ext uri="{FF2B5EF4-FFF2-40B4-BE49-F238E27FC236}">
                    <a16:creationId xmlns:a16="http://schemas.microsoft.com/office/drawing/2014/main" id="{36BDBCC5-90FB-4DBD-8350-4339C24650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60" y="1712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3" name="Freeform 1402">
                <a:extLst>
                  <a:ext uri="{FF2B5EF4-FFF2-40B4-BE49-F238E27FC236}">
                    <a16:creationId xmlns:a16="http://schemas.microsoft.com/office/drawing/2014/main" id="{2D2A5A30-8551-4168-8995-FBDCE23869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7" y="1695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4" name="Freeform 1403">
                <a:extLst>
                  <a:ext uri="{FF2B5EF4-FFF2-40B4-BE49-F238E27FC236}">
                    <a16:creationId xmlns:a16="http://schemas.microsoft.com/office/drawing/2014/main" id="{F8C3B51A-A2C9-4771-B99E-FA8B91D12B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14" y="1680"/>
                <a:ext cx="17" cy="9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5" name="Freeform 1404">
                <a:extLst>
                  <a:ext uri="{FF2B5EF4-FFF2-40B4-BE49-F238E27FC236}">
                    <a16:creationId xmlns:a16="http://schemas.microsoft.com/office/drawing/2014/main" id="{4F7F8380-23B8-4182-AD94-79AE63B814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1" y="1664"/>
                <a:ext cx="17" cy="10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6" name="Freeform 1405">
                <a:extLst>
                  <a:ext uri="{FF2B5EF4-FFF2-40B4-BE49-F238E27FC236}">
                    <a16:creationId xmlns:a16="http://schemas.microsoft.com/office/drawing/2014/main" id="{51BF1C03-6EE0-40F0-ABFE-634458B2E6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8" y="1649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7" name="Freeform 1406">
                <a:extLst>
                  <a:ext uri="{FF2B5EF4-FFF2-40B4-BE49-F238E27FC236}">
                    <a16:creationId xmlns:a16="http://schemas.microsoft.com/office/drawing/2014/main" id="{286407C8-D89E-4F0C-BD04-97EB3AAE4C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44" y="1805"/>
                <a:ext cx="17" cy="8"/>
              </a:xfrm>
              <a:custGeom>
                <a:avLst/>
                <a:gdLst>
                  <a:gd name="T0" fmla="*/ 2 w 8"/>
                  <a:gd name="T1" fmla="*/ 0 h 4"/>
                  <a:gd name="T2" fmla="*/ 6 w 8"/>
                  <a:gd name="T3" fmla="*/ 0 h 4"/>
                  <a:gd name="T4" fmla="*/ 6 w 8"/>
                  <a:gd name="T5" fmla="*/ 3 h 4"/>
                  <a:gd name="T6" fmla="*/ 2 w 8"/>
                  <a:gd name="T7" fmla="*/ 3 h 4"/>
                  <a:gd name="T8" fmla="*/ 2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cubicBezTo>
                      <a:pt x="3" y="0"/>
                      <a:pt x="5" y="0"/>
                      <a:pt x="6" y="0"/>
                    </a:cubicBezTo>
                    <a:cubicBezTo>
                      <a:pt x="8" y="1"/>
                      <a:pt x="8" y="3"/>
                      <a:pt x="6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3"/>
                      <a:pt x="0" y="1"/>
                      <a:pt x="2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8" name="Freeform 1407">
                <a:extLst>
                  <a:ext uri="{FF2B5EF4-FFF2-40B4-BE49-F238E27FC236}">
                    <a16:creationId xmlns:a16="http://schemas.microsoft.com/office/drawing/2014/main" id="{E8B294EA-C26C-4AC9-ABF3-A47A531556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71" y="1788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9" name="Freeform 1408">
                <a:extLst>
                  <a:ext uri="{FF2B5EF4-FFF2-40B4-BE49-F238E27FC236}">
                    <a16:creationId xmlns:a16="http://schemas.microsoft.com/office/drawing/2014/main" id="{7F2832A3-A04B-40B7-8C9E-20DD38B2D8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98" y="1774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0" name="Freeform 1409">
                <a:extLst>
                  <a:ext uri="{FF2B5EF4-FFF2-40B4-BE49-F238E27FC236}">
                    <a16:creationId xmlns:a16="http://schemas.microsoft.com/office/drawing/2014/main" id="{1A551DD3-3791-43AE-9C45-CA7F3276EF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5" y="1757"/>
                <a:ext cx="17" cy="11"/>
              </a:xfrm>
              <a:custGeom>
                <a:avLst/>
                <a:gdLst>
                  <a:gd name="T0" fmla="*/ 7 w 8"/>
                  <a:gd name="T1" fmla="*/ 1 h 5"/>
                  <a:gd name="T2" fmla="*/ 7 w 8"/>
                  <a:gd name="T3" fmla="*/ 4 h 5"/>
                  <a:gd name="T4" fmla="*/ 2 w 8"/>
                  <a:gd name="T5" fmla="*/ 4 h 5"/>
                  <a:gd name="T6" fmla="*/ 2 w 8"/>
                  <a:gd name="T7" fmla="*/ 1 h 5"/>
                  <a:gd name="T8" fmla="*/ 7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7" y="1"/>
                    </a:moveTo>
                    <a:cubicBezTo>
                      <a:pt x="8" y="2"/>
                      <a:pt x="8" y="3"/>
                      <a:pt x="7" y="4"/>
                    </a:cubicBezTo>
                    <a:cubicBezTo>
                      <a:pt x="5" y="5"/>
                      <a:pt x="3" y="5"/>
                      <a:pt x="2" y="4"/>
                    </a:cubicBezTo>
                    <a:cubicBezTo>
                      <a:pt x="0" y="3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1" name="Freeform 1410">
                <a:extLst>
                  <a:ext uri="{FF2B5EF4-FFF2-40B4-BE49-F238E27FC236}">
                    <a16:creationId xmlns:a16="http://schemas.microsoft.com/office/drawing/2014/main" id="{39AF6830-FA2A-4B7F-8ED5-F2C202EAAB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" y="1743"/>
                <a:ext cx="17" cy="8"/>
              </a:xfrm>
              <a:custGeom>
                <a:avLst/>
                <a:gdLst>
                  <a:gd name="T0" fmla="*/ 7 w 8"/>
                  <a:gd name="T1" fmla="*/ 0 h 4"/>
                  <a:gd name="T2" fmla="*/ 7 w 8"/>
                  <a:gd name="T3" fmla="*/ 3 h 4"/>
                  <a:gd name="T4" fmla="*/ 2 w 8"/>
                  <a:gd name="T5" fmla="*/ 3 h 4"/>
                  <a:gd name="T6" fmla="*/ 2 w 8"/>
                  <a:gd name="T7" fmla="*/ 0 h 4"/>
                  <a:gd name="T8" fmla="*/ 7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7" y="0"/>
                    </a:moveTo>
                    <a:cubicBezTo>
                      <a:pt x="8" y="1"/>
                      <a:pt x="8" y="2"/>
                      <a:pt x="7" y="3"/>
                    </a:cubicBezTo>
                    <a:cubicBezTo>
                      <a:pt x="5" y="4"/>
                      <a:pt x="3" y="4"/>
                      <a:pt x="2" y="3"/>
                    </a:cubicBezTo>
                    <a:cubicBezTo>
                      <a:pt x="0" y="2"/>
                      <a:pt x="0" y="1"/>
                      <a:pt x="2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rgbClr val="1611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218" name="Freeform 1412">
              <a:extLst>
                <a:ext uri="{FF2B5EF4-FFF2-40B4-BE49-F238E27FC236}">
                  <a16:creationId xmlns:a16="http://schemas.microsoft.com/office/drawing/2014/main" id="{13197491-3F24-46F4-A4AB-330D340339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31329" y="3405751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9" name="Freeform 1413">
              <a:extLst>
                <a:ext uri="{FF2B5EF4-FFF2-40B4-BE49-F238E27FC236}">
                  <a16:creationId xmlns:a16="http://schemas.microsoft.com/office/drawing/2014/main" id="{92DFA0C0-A43E-42C9-9F09-419677FE20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88671" y="3376019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0" name="Freeform 1414">
              <a:extLst>
                <a:ext uri="{FF2B5EF4-FFF2-40B4-BE49-F238E27FC236}">
                  <a16:creationId xmlns:a16="http://schemas.microsoft.com/office/drawing/2014/main" id="{FC2E6938-BA2F-4F5F-AF48-E08BEDD6FF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6012" y="3339914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1" name="Freeform 1415">
              <a:extLst>
                <a:ext uri="{FF2B5EF4-FFF2-40B4-BE49-F238E27FC236}">
                  <a16:creationId xmlns:a16="http://schemas.microsoft.com/office/drawing/2014/main" id="{87BCC90C-36AF-4FC6-B565-DBA93043F8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03354" y="3308059"/>
              <a:ext cx="36104" cy="19114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2" name="Freeform 1416">
              <a:extLst>
                <a:ext uri="{FF2B5EF4-FFF2-40B4-BE49-F238E27FC236}">
                  <a16:creationId xmlns:a16="http://schemas.microsoft.com/office/drawing/2014/main" id="{EC903096-54DC-419E-9C80-44DCF2E6E4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60695" y="3274079"/>
              <a:ext cx="36104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3" name="Freeform 1417">
              <a:extLst>
                <a:ext uri="{FF2B5EF4-FFF2-40B4-BE49-F238E27FC236}">
                  <a16:creationId xmlns:a16="http://schemas.microsoft.com/office/drawing/2014/main" id="{353A5035-ED42-414D-8AB9-4DDE9354F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18037" y="3242222"/>
              <a:ext cx="36104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4" name="Freeform 1418">
              <a:extLst>
                <a:ext uri="{FF2B5EF4-FFF2-40B4-BE49-F238E27FC236}">
                  <a16:creationId xmlns:a16="http://schemas.microsoft.com/office/drawing/2014/main" id="{47CBD2EF-FD15-48E5-9785-FDC4FEB1DD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75377" y="3208242"/>
              <a:ext cx="36104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5" name="Freeform 1419">
              <a:extLst>
                <a:ext uri="{FF2B5EF4-FFF2-40B4-BE49-F238E27FC236}">
                  <a16:creationId xmlns:a16="http://schemas.microsoft.com/office/drawing/2014/main" id="{88097294-3752-4C90-93B6-3DB296FBC4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14004" y="1776832"/>
              <a:ext cx="6148265" cy="3699577"/>
            </a:xfrm>
            <a:custGeom>
              <a:avLst/>
              <a:gdLst>
                <a:gd name="T0" fmla="*/ 1355 w 1392"/>
                <a:gd name="T1" fmla="*/ 235 h 838"/>
                <a:gd name="T2" fmla="*/ 1355 w 1392"/>
                <a:gd name="T3" fmla="*/ 235 h 838"/>
                <a:gd name="T4" fmla="*/ 1354 w 1392"/>
                <a:gd name="T5" fmla="*/ 234 h 838"/>
                <a:gd name="T6" fmla="*/ 971 w 1392"/>
                <a:gd name="T7" fmla="*/ 12 h 838"/>
                <a:gd name="T8" fmla="*/ 895 w 1392"/>
                <a:gd name="T9" fmla="*/ 14 h 838"/>
                <a:gd name="T10" fmla="*/ 34 w 1392"/>
                <a:gd name="T11" fmla="*/ 510 h 838"/>
                <a:gd name="T12" fmla="*/ 30 w 1392"/>
                <a:gd name="T13" fmla="*/ 513 h 838"/>
                <a:gd name="T14" fmla="*/ 38 w 1392"/>
                <a:gd name="T15" fmla="*/ 604 h 838"/>
                <a:gd name="T16" fmla="*/ 39 w 1392"/>
                <a:gd name="T17" fmla="*/ 604 h 838"/>
                <a:gd name="T18" fmla="*/ 40 w 1392"/>
                <a:gd name="T19" fmla="*/ 605 h 838"/>
                <a:gd name="T20" fmla="*/ 422 w 1392"/>
                <a:gd name="T21" fmla="*/ 827 h 838"/>
                <a:gd name="T22" fmla="*/ 497 w 1392"/>
                <a:gd name="T23" fmla="*/ 824 h 838"/>
                <a:gd name="T24" fmla="*/ 1355 w 1392"/>
                <a:gd name="T25" fmla="*/ 330 h 838"/>
                <a:gd name="T26" fmla="*/ 1359 w 1392"/>
                <a:gd name="T27" fmla="*/ 327 h 838"/>
                <a:gd name="T28" fmla="*/ 1355 w 1392"/>
                <a:gd name="T29" fmla="*/ 23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2" h="838">
                  <a:moveTo>
                    <a:pt x="1355" y="235"/>
                  </a:moveTo>
                  <a:cubicBezTo>
                    <a:pt x="1355" y="235"/>
                    <a:pt x="1355" y="235"/>
                    <a:pt x="1355" y="235"/>
                  </a:cubicBezTo>
                  <a:cubicBezTo>
                    <a:pt x="1354" y="235"/>
                    <a:pt x="1354" y="234"/>
                    <a:pt x="1354" y="234"/>
                  </a:cubicBezTo>
                  <a:cubicBezTo>
                    <a:pt x="971" y="12"/>
                    <a:pt x="971" y="12"/>
                    <a:pt x="971" y="12"/>
                  </a:cubicBezTo>
                  <a:cubicBezTo>
                    <a:pt x="947" y="0"/>
                    <a:pt x="918" y="1"/>
                    <a:pt x="895" y="14"/>
                  </a:cubicBezTo>
                  <a:cubicBezTo>
                    <a:pt x="34" y="510"/>
                    <a:pt x="34" y="510"/>
                    <a:pt x="34" y="510"/>
                  </a:cubicBezTo>
                  <a:cubicBezTo>
                    <a:pt x="32" y="511"/>
                    <a:pt x="31" y="512"/>
                    <a:pt x="30" y="513"/>
                  </a:cubicBezTo>
                  <a:cubicBezTo>
                    <a:pt x="0" y="536"/>
                    <a:pt x="4" y="584"/>
                    <a:pt x="38" y="604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4"/>
                    <a:pt x="39" y="605"/>
                    <a:pt x="40" y="605"/>
                  </a:cubicBezTo>
                  <a:cubicBezTo>
                    <a:pt x="422" y="827"/>
                    <a:pt x="422" y="827"/>
                    <a:pt x="422" y="827"/>
                  </a:cubicBezTo>
                  <a:cubicBezTo>
                    <a:pt x="446" y="838"/>
                    <a:pt x="474" y="838"/>
                    <a:pt x="497" y="824"/>
                  </a:cubicBezTo>
                  <a:cubicBezTo>
                    <a:pt x="1355" y="330"/>
                    <a:pt x="1355" y="330"/>
                    <a:pt x="1355" y="330"/>
                  </a:cubicBezTo>
                  <a:cubicBezTo>
                    <a:pt x="1356" y="329"/>
                    <a:pt x="1358" y="328"/>
                    <a:pt x="1359" y="327"/>
                  </a:cubicBezTo>
                  <a:cubicBezTo>
                    <a:pt x="1392" y="305"/>
                    <a:pt x="1390" y="255"/>
                    <a:pt x="1355" y="23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6" name="Freeform 1420">
              <a:extLst>
                <a:ext uri="{FF2B5EF4-FFF2-40B4-BE49-F238E27FC236}">
                  <a16:creationId xmlns:a16="http://schemas.microsoft.com/office/drawing/2014/main" id="{C2EF9E9D-774D-4D55-A8C4-C50D8D596B5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45860" y="1768337"/>
              <a:ext cx="6084552" cy="3703825"/>
            </a:xfrm>
            <a:custGeom>
              <a:avLst/>
              <a:gdLst>
                <a:gd name="T0" fmla="*/ 1349 w 1378"/>
                <a:gd name="T1" fmla="*/ 235 h 839"/>
                <a:gd name="T2" fmla="*/ 1348 w 1378"/>
                <a:gd name="T3" fmla="*/ 237 h 839"/>
                <a:gd name="T4" fmla="*/ 1348 w 1378"/>
                <a:gd name="T5" fmla="*/ 237 h 839"/>
                <a:gd name="T6" fmla="*/ 1349 w 1378"/>
                <a:gd name="T7" fmla="*/ 235 h 839"/>
                <a:gd name="T8" fmla="*/ 1349 w 1378"/>
                <a:gd name="T9" fmla="*/ 235 h 839"/>
                <a:gd name="T10" fmla="*/ 1348 w 1378"/>
                <a:gd name="T11" fmla="*/ 234 h 839"/>
                <a:gd name="T12" fmla="*/ 965 w 1378"/>
                <a:gd name="T13" fmla="*/ 12 h 839"/>
                <a:gd name="T14" fmla="*/ 887 w 1378"/>
                <a:gd name="T15" fmla="*/ 14 h 839"/>
                <a:gd name="T16" fmla="*/ 26 w 1378"/>
                <a:gd name="T17" fmla="*/ 510 h 839"/>
                <a:gd name="T18" fmla="*/ 22 w 1378"/>
                <a:gd name="T19" fmla="*/ 514 h 839"/>
                <a:gd name="T20" fmla="*/ 1 w 1378"/>
                <a:gd name="T21" fmla="*/ 561 h 839"/>
                <a:gd name="T22" fmla="*/ 30 w 1378"/>
                <a:gd name="T23" fmla="*/ 608 h 839"/>
                <a:gd name="T24" fmla="*/ 31 w 1378"/>
                <a:gd name="T25" fmla="*/ 608 h 839"/>
                <a:gd name="T26" fmla="*/ 32 w 1378"/>
                <a:gd name="T27" fmla="*/ 609 h 839"/>
                <a:gd name="T28" fmla="*/ 414 w 1378"/>
                <a:gd name="T29" fmla="*/ 830 h 839"/>
                <a:gd name="T30" fmla="*/ 451 w 1378"/>
                <a:gd name="T31" fmla="*/ 839 h 839"/>
                <a:gd name="T32" fmla="*/ 491 w 1378"/>
                <a:gd name="T33" fmla="*/ 828 h 839"/>
                <a:gd name="T34" fmla="*/ 1349 w 1378"/>
                <a:gd name="T35" fmla="*/ 333 h 839"/>
                <a:gd name="T36" fmla="*/ 1353 w 1378"/>
                <a:gd name="T37" fmla="*/ 330 h 839"/>
                <a:gd name="T38" fmla="*/ 1377 w 1378"/>
                <a:gd name="T39" fmla="*/ 283 h 839"/>
                <a:gd name="T40" fmla="*/ 1349 w 1378"/>
                <a:gd name="T41" fmla="*/ 235 h 839"/>
                <a:gd name="T42" fmla="*/ 24 w 1378"/>
                <a:gd name="T43" fmla="*/ 517 h 839"/>
                <a:gd name="T44" fmla="*/ 28 w 1378"/>
                <a:gd name="T45" fmla="*/ 514 h 839"/>
                <a:gd name="T46" fmla="*/ 889 w 1378"/>
                <a:gd name="T47" fmla="*/ 18 h 839"/>
                <a:gd name="T48" fmla="*/ 928 w 1378"/>
                <a:gd name="T49" fmla="*/ 7 h 839"/>
                <a:gd name="T50" fmla="*/ 949 w 1378"/>
                <a:gd name="T51" fmla="*/ 10 h 839"/>
                <a:gd name="T52" fmla="*/ 909 w 1378"/>
                <a:gd name="T53" fmla="*/ 17 h 839"/>
                <a:gd name="T54" fmla="*/ 484 w 1378"/>
                <a:gd name="T55" fmla="*/ 725 h 839"/>
                <a:gd name="T56" fmla="*/ 486 w 1378"/>
                <a:gd name="T57" fmla="*/ 796 h 839"/>
                <a:gd name="T58" fmla="*/ 454 w 1378"/>
                <a:gd name="T59" fmla="*/ 824 h 839"/>
                <a:gd name="T60" fmla="*/ 415 w 1378"/>
                <a:gd name="T61" fmla="*/ 815 h 839"/>
                <a:gd name="T62" fmla="*/ 32 w 1378"/>
                <a:gd name="T63" fmla="*/ 594 h 839"/>
                <a:gd name="T64" fmla="*/ 31 w 1378"/>
                <a:gd name="T65" fmla="*/ 593 h 839"/>
                <a:gd name="T66" fmla="*/ 30 w 1378"/>
                <a:gd name="T67" fmla="*/ 593 h 839"/>
                <a:gd name="T68" fmla="*/ 5 w 1378"/>
                <a:gd name="T69" fmla="*/ 561 h 839"/>
                <a:gd name="T70" fmla="*/ 5 w 1378"/>
                <a:gd name="T71" fmla="*/ 560 h 839"/>
                <a:gd name="T72" fmla="*/ 24 w 1378"/>
                <a:gd name="T73" fmla="*/ 517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78" h="839">
                  <a:moveTo>
                    <a:pt x="1349" y="235"/>
                  </a:moveTo>
                  <a:cubicBezTo>
                    <a:pt x="1348" y="237"/>
                    <a:pt x="1348" y="237"/>
                    <a:pt x="1348" y="237"/>
                  </a:cubicBezTo>
                  <a:cubicBezTo>
                    <a:pt x="1348" y="237"/>
                    <a:pt x="1348" y="237"/>
                    <a:pt x="1348" y="237"/>
                  </a:cubicBezTo>
                  <a:cubicBezTo>
                    <a:pt x="1349" y="235"/>
                    <a:pt x="1349" y="235"/>
                    <a:pt x="1349" y="235"/>
                  </a:cubicBezTo>
                  <a:cubicBezTo>
                    <a:pt x="1349" y="235"/>
                    <a:pt x="1349" y="235"/>
                    <a:pt x="1349" y="235"/>
                  </a:cubicBezTo>
                  <a:cubicBezTo>
                    <a:pt x="1348" y="235"/>
                    <a:pt x="1348" y="235"/>
                    <a:pt x="1348" y="234"/>
                  </a:cubicBezTo>
                  <a:cubicBezTo>
                    <a:pt x="965" y="12"/>
                    <a:pt x="965" y="12"/>
                    <a:pt x="965" y="12"/>
                  </a:cubicBezTo>
                  <a:cubicBezTo>
                    <a:pt x="940" y="0"/>
                    <a:pt x="911" y="0"/>
                    <a:pt x="887" y="14"/>
                  </a:cubicBezTo>
                  <a:cubicBezTo>
                    <a:pt x="26" y="510"/>
                    <a:pt x="26" y="510"/>
                    <a:pt x="26" y="510"/>
                  </a:cubicBezTo>
                  <a:cubicBezTo>
                    <a:pt x="24" y="511"/>
                    <a:pt x="23" y="513"/>
                    <a:pt x="22" y="514"/>
                  </a:cubicBezTo>
                  <a:cubicBezTo>
                    <a:pt x="8" y="525"/>
                    <a:pt x="0" y="542"/>
                    <a:pt x="1" y="561"/>
                  </a:cubicBezTo>
                  <a:cubicBezTo>
                    <a:pt x="3" y="580"/>
                    <a:pt x="13" y="598"/>
                    <a:pt x="30" y="608"/>
                  </a:cubicBezTo>
                  <a:cubicBezTo>
                    <a:pt x="31" y="608"/>
                    <a:pt x="31" y="608"/>
                    <a:pt x="31" y="608"/>
                  </a:cubicBezTo>
                  <a:cubicBezTo>
                    <a:pt x="31" y="608"/>
                    <a:pt x="31" y="608"/>
                    <a:pt x="32" y="609"/>
                  </a:cubicBezTo>
                  <a:cubicBezTo>
                    <a:pt x="414" y="830"/>
                    <a:pt x="414" y="830"/>
                    <a:pt x="414" y="830"/>
                  </a:cubicBezTo>
                  <a:cubicBezTo>
                    <a:pt x="426" y="836"/>
                    <a:pt x="438" y="839"/>
                    <a:pt x="451" y="839"/>
                  </a:cubicBezTo>
                  <a:cubicBezTo>
                    <a:pt x="465" y="839"/>
                    <a:pt x="479" y="835"/>
                    <a:pt x="491" y="828"/>
                  </a:cubicBezTo>
                  <a:cubicBezTo>
                    <a:pt x="1349" y="333"/>
                    <a:pt x="1349" y="333"/>
                    <a:pt x="1349" y="333"/>
                  </a:cubicBezTo>
                  <a:cubicBezTo>
                    <a:pt x="1350" y="332"/>
                    <a:pt x="1352" y="331"/>
                    <a:pt x="1353" y="330"/>
                  </a:cubicBezTo>
                  <a:cubicBezTo>
                    <a:pt x="1369" y="320"/>
                    <a:pt x="1378" y="302"/>
                    <a:pt x="1377" y="283"/>
                  </a:cubicBezTo>
                  <a:cubicBezTo>
                    <a:pt x="1377" y="263"/>
                    <a:pt x="1366" y="245"/>
                    <a:pt x="1349" y="235"/>
                  </a:cubicBezTo>
                  <a:close/>
                  <a:moveTo>
                    <a:pt x="24" y="517"/>
                  </a:moveTo>
                  <a:cubicBezTo>
                    <a:pt x="25" y="516"/>
                    <a:pt x="27" y="515"/>
                    <a:pt x="28" y="514"/>
                  </a:cubicBezTo>
                  <a:cubicBezTo>
                    <a:pt x="889" y="18"/>
                    <a:pt x="889" y="18"/>
                    <a:pt x="889" y="18"/>
                  </a:cubicBezTo>
                  <a:cubicBezTo>
                    <a:pt x="901" y="11"/>
                    <a:pt x="914" y="7"/>
                    <a:pt x="928" y="7"/>
                  </a:cubicBezTo>
                  <a:cubicBezTo>
                    <a:pt x="935" y="7"/>
                    <a:pt x="942" y="8"/>
                    <a:pt x="949" y="10"/>
                  </a:cubicBezTo>
                  <a:cubicBezTo>
                    <a:pt x="933" y="8"/>
                    <a:pt x="917" y="10"/>
                    <a:pt x="909" y="17"/>
                  </a:cubicBezTo>
                  <a:cubicBezTo>
                    <a:pt x="484" y="725"/>
                    <a:pt x="484" y="725"/>
                    <a:pt x="484" y="725"/>
                  </a:cubicBezTo>
                  <a:cubicBezTo>
                    <a:pt x="484" y="725"/>
                    <a:pt x="495" y="773"/>
                    <a:pt x="486" y="796"/>
                  </a:cubicBezTo>
                  <a:cubicBezTo>
                    <a:pt x="477" y="820"/>
                    <a:pt x="454" y="824"/>
                    <a:pt x="454" y="824"/>
                  </a:cubicBezTo>
                  <a:cubicBezTo>
                    <a:pt x="440" y="824"/>
                    <a:pt x="427" y="822"/>
                    <a:pt x="415" y="815"/>
                  </a:cubicBezTo>
                  <a:cubicBezTo>
                    <a:pt x="32" y="594"/>
                    <a:pt x="32" y="594"/>
                    <a:pt x="32" y="594"/>
                  </a:cubicBezTo>
                  <a:cubicBezTo>
                    <a:pt x="32" y="593"/>
                    <a:pt x="31" y="593"/>
                    <a:pt x="31" y="593"/>
                  </a:cubicBezTo>
                  <a:cubicBezTo>
                    <a:pt x="30" y="593"/>
                    <a:pt x="30" y="593"/>
                    <a:pt x="30" y="593"/>
                  </a:cubicBezTo>
                  <a:cubicBezTo>
                    <a:pt x="18" y="585"/>
                    <a:pt x="9" y="574"/>
                    <a:pt x="5" y="561"/>
                  </a:cubicBezTo>
                  <a:cubicBezTo>
                    <a:pt x="5" y="561"/>
                    <a:pt x="5" y="561"/>
                    <a:pt x="5" y="560"/>
                  </a:cubicBezTo>
                  <a:cubicBezTo>
                    <a:pt x="4" y="543"/>
                    <a:pt x="11" y="527"/>
                    <a:pt x="24" y="517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7" name="Freeform 1421">
              <a:extLst>
                <a:ext uri="{FF2B5EF4-FFF2-40B4-BE49-F238E27FC236}">
                  <a16:creationId xmlns:a16="http://schemas.microsoft.com/office/drawing/2014/main" id="{E6471AE8-8179-4F57-BB97-C10CE2461E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7097" y="1782015"/>
              <a:ext cx="6027210" cy="3525430"/>
            </a:xfrm>
            <a:custGeom>
              <a:avLst/>
              <a:gdLst>
                <a:gd name="T0" fmla="*/ 21 w 1365"/>
                <a:gd name="T1" fmla="*/ 510 h 799"/>
                <a:gd name="T2" fmla="*/ 882 w 1365"/>
                <a:gd name="T3" fmla="*/ 14 h 799"/>
                <a:gd name="T4" fmla="*/ 958 w 1365"/>
                <a:gd name="T5" fmla="*/ 12 h 799"/>
                <a:gd name="T6" fmla="*/ 1341 w 1365"/>
                <a:gd name="T7" fmla="*/ 234 h 799"/>
                <a:gd name="T8" fmla="*/ 1343 w 1365"/>
                <a:gd name="T9" fmla="*/ 290 h 799"/>
                <a:gd name="T10" fmla="*/ 485 w 1365"/>
                <a:gd name="T11" fmla="*/ 784 h 799"/>
                <a:gd name="T12" fmla="*/ 410 w 1365"/>
                <a:gd name="T13" fmla="*/ 787 h 799"/>
                <a:gd name="T14" fmla="*/ 28 w 1365"/>
                <a:gd name="T15" fmla="*/ 565 h 799"/>
                <a:gd name="T16" fmla="*/ 21 w 1365"/>
                <a:gd name="T17" fmla="*/ 510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65" h="799">
                  <a:moveTo>
                    <a:pt x="21" y="510"/>
                  </a:moveTo>
                  <a:cubicBezTo>
                    <a:pt x="882" y="14"/>
                    <a:pt x="882" y="14"/>
                    <a:pt x="882" y="14"/>
                  </a:cubicBezTo>
                  <a:cubicBezTo>
                    <a:pt x="905" y="1"/>
                    <a:pt x="934" y="0"/>
                    <a:pt x="958" y="12"/>
                  </a:cubicBezTo>
                  <a:cubicBezTo>
                    <a:pt x="1341" y="234"/>
                    <a:pt x="1341" y="234"/>
                    <a:pt x="1341" y="234"/>
                  </a:cubicBezTo>
                  <a:cubicBezTo>
                    <a:pt x="1361" y="248"/>
                    <a:pt x="1365" y="277"/>
                    <a:pt x="1343" y="290"/>
                  </a:cubicBezTo>
                  <a:cubicBezTo>
                    <a:pt x="485" y="784"/>
                    <a:pt x="485" y="784"/>
                    <a:pt x="485" y="784"/>
                  </a:cubicBezTo>
                  <a:cubicBezTo>
                    <a:pt x="462" y="798"/>
                    <a:pt x="434" y="799"/>
                    <a:pt x="410" y="787"/>
                  </a:cubicBezTo>
                  <a:cubicBezTo>
                    <a:pt x="28" y="565"/>
                    <a:pt x="28" y="565"/>
                    <a:pt x="28" y="565"/>
                  </a:cubicBezTo>
                  <a:cubicBezTo>
                    <a:pt x="0" y="549"/>
                    <a:pt x="2" y="523"/>
                    <a:pt x="21" y="51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8" name="Freeform 1422">
              <a:extLst>
                <a:ext uri="{FF2B5EF4-FFF2-40B4-BE49-F238E27FC236}">
                  <a16:creationId xmlns:a16="http://schemas.microsoft.com/office/drawing/2014/main" id="{FACF26A1-93CB-4627-AB2D-91B921FC5ED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4707" y="1768337"/>
              <a:ext cx="5978365" cy="3527554"/>
            </a:xfrm>
            <a:custGeom>
              <a:avLst/>
              <a:gdLst>
                <a:gd name="T0" fmla="*/ 440 w 1354"/>
                <a:gd name="T1" fmla="*/ 798 h 799"/>
                <a:gd name="T2" fmla="*/ 404 w 1354"/>
                <a:gd name="T3" fmla="*/ 790 h 799"/>
                <a:gd name="T4" fmla="*/ 22 w 1354"/>
                <a:gd name="T5" fmla="*/ 568 h 799"/>
                <a:gd name="T6" fmla="*/ 0 w 1354"/>
                <a:gd name="T7" fmla="*/ 538 h 799"/>
                <a:gd name="T8" fmla="*/ 15 w 1354"/>
                <a:gd name="T9" fmla="*/ 511 h 799"/>
                <a:gd name="T10" fmla="*/ 15 w 1354"/>
                <a:gd name="T11" fmla="*/ 511 h 799"/>
                <a:gd name="T12" fmla="*/ 876 w 1354"/>
                <a:gd name="T13" fmla="*/ 15 h 799"/>
                <a:gd name="T14" fmla="*/ 953 w 1354"/>
                <a:gd name="T15" fmla="*/ 13 h 799"/>
                <a:gd name="T16" fmla="*/ 1336 w 1354"/>
                <a:gd name="T17" fmla="*/ 235 h 799"/>
                <a:gd name="T18" fmla="*/ 1353 w 1354"/>
                <a:gd name="T19" fmla="*/ 268 h 799"/>
                <a:gd name="T20" fmla="*/ 1338 w 1354"/>
                <a:gd name="T21" fmla="*/ 293 h 799"/>
                <a:gd name="T22" fmla="*/ 480 w 1354"/>
                <a:gd name="T23" fmla="*/ 787 h 799"/>
                <a:gd name="T24" fmla="*/ 440 w 1354"/>
                <a:gd name="T25" fmla="*/ 798 h 799"/>
                <a:gd name="T26" fmla="*/ 17 w 1354"/>
                <a:gd name="T27" fmla="*/ 513 h 799"/>
                <a:gd name="T28" fmla="*/ 3 w 1354"/>
                <a:gd name="T29" fmla="*/ 537 h 799"/>
                <a:gd name="T30" fmla="*/ 23 w 1354"/>
                <a:gd name="T31" fmla="*/ 566 h 799"/>
                <a:gd name="T32" fmla="*/ 406 w 1354"/>
                <a:gd name="T33" fmla="*/ 788 h 799"/>
                <a:gd name="T34" fmla="*/ 479 w 1354"/>
                <a:gd name="T35" fmla="*/ 785 h 799"/>
                <a:gd name="T36" fmla="*/ 1337 w 1354"/>
                <a:gd name="T37" fmla="*/ 291 h 799"/>
                <a:gd name="T38" fmla="*/ 1351 w 1354"/>
                <a:gd name="T39" fmla="*/ 268 h 799"/>
                <a:gd name="T40" fmla="*/ 1335 w 1354"/>
                <a:gd name="T41" fmla="*/ 237 h 799"/>
                <a:gd name="T42" fmla="*/ 952 w 1354"/>
                <a:gd name="T43" fmla="*/ 15 h 799"/>
                <a:gd name="T44" fmla="*/ 877 w 1354"/>
                <a:gd name="T45" fmla="*/ 17 h 799"/>
                <a:gd name="T46" fmla="*/ 17 w 1354"/>
                <a:gd name="T47" fmla="*/ 513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4" h="799">
                  <a:moveTo>
                    <a:pt x="440" y="798"/>
                  </a:moveTo>
                  <a:cubicBezTo>
                    <a:pt x="428" y="798"/>
                    <a:pt x="416" y="796"/>
                    <a:pt x="404" y="790"/>
                  </a:cubicBezTo>
                  <a:cubicBezTo>
                    <a:pt x="22" y="568"/>
                    <a:pt x="22" y="568"/>
                    <a:pt x="22" y="568"/>
                  </a:cubicBezTo>
                  <a:cubicBezTo>
                    <a:pt x="8" y="560"/>
                    <a:pt x="1" y="549"/>
                    <a:pt x="0" y="538"/>
                  </a:cubicBezTo>
                  <a:cubicBezTo>
                    <a:pt x="0" y="527"/>
                    <a:pt x="5" y="518"/>
                    <a:pt x="15" y="511"/>
                  </a:cubicBezTo>
                  <a:cubicBezTo>
                    <a:pt x="15" y="511"/>
                    <a:pt x="15" y="511"/>
                    <a:pt x="15" y="511"/>
                  </a:cubicBezTo>
                  <a:cubicBezTo>
                    <a:pt x="876" y="15"/>
                    <a:pt x="876" y="15"/>
                    <a:pt x="876" y="15"/>
                  </a:cubicBezTo>
                  <a:cubicBezTo>
                    <a:pt x="900" y="1"/>
                    <a:pt x="929" y="0"/>
                    <a:pt x="953" y="13"/>
                  </a:cubicBezTo>
                  <a:cubicBezTo>
                    <a:pt x="1336" y="235"/>
                    <a:pt x="1336" y="235"/>
                    <a:pt x="1336" y="235"/>
                  </a:cubicBezTo>
                  <a:cubicBezTo>
                    <a:pt x="1347" y="243"/>
                    <a:pt x="1354" y="256"/>
                    <a:pt x="1353" y="268"/>
                  </a:cubicBezTo>
                  <a:cubicBezTo>
                    <a:pt x="1353" y="279"/>
                    <a:pt x="1347" y="287"/>
                    <a:pt x="1338" y="293"/>
                  </a:cubicBezTo>
                  <a:cubicBezTo>
                    <a:pt x="480" y="787"/>
                    <a:pt x="480" y="787"/>
                    <a:pt x="480" y="787"/>
                  </a:cubicBezTo>
                  <a:cubicBezTo>
                    <a:pt x="468" y="795"/>
                    <a:pt x="454" y="798"/>
                    <a:pt x="440" y="798"/>
                  </a:cubicBezTo>
                  <a:close/>
                  <a:moveTo>
                    <a:pt x="17" y="513"/>
                  </a:moveTo>
                  <a:cubicBezTo>
                    <a:pt x="7" y="519"/>
                    <a:pt x="2" y="528"/>
                    <a:pt x="3" y="537"/>
                  </a:cubicBezTo>
                  <a:cubicBezTo>
                    <a:pt x="3" y="548"/>
                    <a:pt x="10" y="558"/>
                    <a:pt x="23" y="566"/>
                  </a:cubicBezTo>
                  <a:cubicBezTo>
                    <a:pt x="406" y="788"/>
                    <a:pt x="406" y="788"/>
                    <a:pt x="406" y="788"/>
                  </a:cubicBezTo>
                  <a:cubicBezTo>
                    <a:pt x="429" y="799"/>
                    <a:pt x="456" y="799"/>
                    <a:pt x="479" y="785"/>
                  </a:cubicBezTo>
                  <a:cubicBezTo>
                    <a:pt x="1337" y="291"/>
                    <a:pt x="1337" y="291"/>
                    <a:pt x="1337" y="291"/>
                  </a:cubicBezTo>
                  <a:cubicBezTo>
                    <a:pt x="1345" y="286"/>
                    <a:pt x="1350" y="278"/>
                    <a:pt x="1351" y="268"/>
                  </a:cubicBezTo>
                  <a:cubicBezTo>
                    <a:pt x="1351" y="257"/>
                    <a:pt x="1345" y="245"/>
                    <a:pt x="1335" y="237"/>
                  </a:cubicBezTo>
                  <a:cubicBezTo>
                    <a:pt x="952" y="15"/>
                    <a:pt x="952" y="15"/>
                    <a:pt x="952" y="15"/>
                  </a:cubicBezTo>
                  <a:cubicBezTo>
                    <a:pt x="928" y="3"/>
                    <a:pt x="900" y="4"/>
                    <a:pt x="877" y="17"/>
                  </a:cubicBezTo>
                  <a:lnTo>
                    <a:pt x="17" y="513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9" name="Freeform 1423">
              <a:extLst>
                <a:ext uri="{FF2B5EF4-FFF2-40B4-BE49-F238E27FC236}">
                  <a16:creationId xmlns:a16="http://schemas.microsoft.com/office/drawing/2014/main" id="{FDF9B66B-0696-444C-8B2A-B2B64276BD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28319" y="1866030"/>
              <a:ext cx="5617327" cy="3274827"/>
            </a:xfrm>
            <a:custGeom>
              <a:avLst/>
              <a:gdLst>
                <a:gd name="T0" fmla="*/ 1256 w 1272"/>
                <a:gd name="T1" fmla="*/ 222 h 742"/>
                <a:gd name="T2" fmla="*/ 885 w 1272"/>
                <a:gd name="T3" fmla="*/ 9 h 742"/>
                <a:gd name="T4" fmla="*/ 832 w 1272"/>
                <a:gd name="T5" fmla="*/ 11 h 742"/>
                <a:gd name="T6" fmla="*/ 15 w 1272"/>
                <a:gd name="T7" fmla="*/ 482 h 742"/>
                <a:gd name="T8" fmla="*/ 19 w 1272"/>
                <a:gd name="T9" fmla="*/ 520 h 742"/>
                <a:gd name="T10" fmla="*/ 390 w 1272"/>
                <a:gd name="T11" fmla="*/ 734 h 742"/>
                <a:gd name="T12" fmla="*/ 442 w 1272"/>
                <a:gd name="T13" fmla="*/ 732 h 742"/>
                <a:gd name="T14" fmla="*/ 1257 w 1272"/>
                <a:gd name="T15" fmla="*/ 261 h 742"/>
                <a:gd name="T16" fmla="*/ 1256 w 1272"/>
                <a:gd name="T17" fmla="*/ 22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2" h="742">
                  <a:moveTo>
                    <a:pt x="1256" y="222"/>
                  </a:moveTo>
                  <a:cubicBezTo>
                    <a:pt x="885" y="9"/>
                    <a:pt x="885" y="9"/>
                    <a:pt x="885" y="9"/>
                  </a:cubicBezTo>
                  <a:cubicBezTo>
                    <a:pt x="868" y="0"/>
                    <a:pt x="848" y="1"/>
                    <a:pt x="832" y="11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1" y="491"/>
                    <a:pt x="0" y="509"/>
                    <a:pt x="19" y="520"/>
                  </a:cubicBezTo>
                  <a:cubicBezTo>
                    <a:pt x="390" y="734"/>
                    <a:pt x="390" y="734"/>
                    <a:pt x="390" y="734"/>
                  </a:cubicBezTo>
                  <a:cubicBezTo>
                    <a:pt x="406" y="742"/>
                    <a:pt x="426" y="741"/>
                    <a:pt x="442" y="732"/>
                  </a:cubicBezTo>
                  <a:cubicBezTo>
                    <a:pt x="1257" y="261"/>
                    <a:pt x="1257" y="261"/>
                    <a:pt x="1257" y="261"/>
                  </a:cubicBezTo>
                  <a:cubicBezTo>
                    <a:pt x="1272" y="253"/>
                    <a:pt x="1272" y="230"/>
                    <a:pt x="1256" y="22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0" name="Freeform 1424">
              <a:extLst>
                <a:ext uri="{FF2B5EF4-FFF2-40B4-BE49-F238E27FC236}">
                  <a16:creationId xmlns:a16="http://schemas.microsoft.com/office/drawing/2014/main" id="{201E00F7-75B2-4D42-AC58-AA67EF5780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5341" y="3537424"/>
              <a:ext cx="114683" cy="133797"/>
            </a:xfrm>
            <a:custGeom>
              <a:avLst/>
              <a:gdLst>
                <a:gd name="T0" fmla="*/ 19 w 26"/>
                <a:gd name="T1" fmla="*/ 20 h 30"/>
                <a:gd name="T2" fmla="*/ 6 w 26"/>
                <a:gd name="T3" fmla="*/ 27 h 30"/>
                <a:gd name="T4" fmla="*/ 0 w 26"/>
                <a:gd name="T5" fmla="*/ 22 h 30"/>
                <a:gd name="T6" fmla="*/ 0 w 26"/>
                <a:gd name="T7" fmla="*/ 22 h 30"/>
                <a:gd name="T8" fmla="*/ 6 w 26"/>
                <a:gd name="T9" fmla="*/ 9 h 30"/>
                <a:gd name="T10" fmla="*/ 19 w 26"/>
                <a:gd name="T11" fmla="*/ 2 h 30"/>
                <a:gd name="T12" fmla="*/ 26 w 26"/>
                <a:gd name="T13" fmla="*/ 7 h 30"/>
                <a:gd name="T14" fmla="*/ 26 w 26"/>
                <a:gd name="T15" fmla="*/ 7 h 30"/>
                <a:gd name="T16" fmla="*/ 19 w 26"/>
                <a:gd name="T17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0">
                  <a:moveTo>
                    <a:pt x="19" y="20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3" y="30"/>
                    <a:pt x="0" y="27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7"/>
                    <a:pt x="3" y="12"/>
                    <a:pt x="6" y="9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3" y="0"/>
                    <a:pt x="26" y="2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12"/>
                    <a:pt x="23" y="18"/>
                    <a:pt x="19" y="2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1" name="Freeform 1425">
              <a:extLst>
                <a:ext uri="{FF2B5EF4-FFF2-40B4-BE49-F238E27FC236}">
                  <a16:creationId xmlns:a16="http://schemas.microsoft.com/office/drawing/2014/main" id="{B3CD88CC-D9DB-4692-9B6C-536AFAFE9F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5341" y="3541672"/>
              <a:ext cx="97693" cy="106188"/>
            </a:xfrm>
            <a:custGeom>
              <a:avLst/>
              <a:gdLst>
                <a:gd name="T0" fmla="*/ 6 w 22"/>
                <a:gd name="T1" fmla="*/ 8 h 24"/>
                <a:gd name="T2" fmla="*/ 0 w 22"/>
                <a:gd name="T3" fmla="*/ 21 h 24"/>
                <a:gd name="T4" fmla="*/ 0 w 22"/>
                <a:gd name="T5" fmla="*/ 24 h 24"/>
                <a:gd name="T6" fmla="*/ 2 w 22"/>
                <a:gd name="T7" fmla="*/ 24 h 24"/>
                <a:gd name="T8" fmla="*/ 15 w 22"/>
                <a:gd name="T9" fmla="*/ 16 h 24"/>
                <a:gd name="T10" fmla="*/ 22 w 22"/>
                <a:gd name="T11" fmla="*/ 3 h 24"/>
                <a:gd name="T12" fmla="*/ 21 w 22"/>
                <a:gd name="T13" fmla="*/ 0 h 24"/>
                <a:gd name="T14" fmla="*/ 19 w 22"/>
                <a:gd name="T15" fmla="*/ 1 h 24"/>
                <a:gd name="T16" fmla="*/ 6 w 22"/>
                <a:gd name="T1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4">
                  <a:moveTo>
                    <a:pt x="6" y="8"/>
                  </a:moveTo>
                  <a:cubicBezTo>
                    <a:pt x="3" y="11"/>
                    <a:pt x="0" y="16"/>
                    <a:pt x="0" y="21"/>
                  </a:cubicBezTo>
                  <a:cubicBezTo>
                    <a:pt x="0" y="23"/>
                    <a:pt x="0" y="24"/>
                    <a:pt x="0" y="24"/>
                  </a:cubicBezTo>
                  <a:cubicBezTo>
                    <a:pt x="1" y="24"/>
                    <a:pt x="1" y="24"/>
                    <a:pt x="2" y="24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9" y="14"/>
                    <a:pt x="22" y="8"/>
                    <a:pt x="22" y="3"/>
                  </a:cubicBezTo>
                  <a:cubicBezTo>
                    <a:pt x="22" y="2"/>
                    <a:pt x="21" y="1"/>
                    <a:pt x="21" y="0"/>
                  </a:cubicBezTo>
                  <a:cubicBezTo>
                    <a:pt x="21" y="1"/>
                    <a:pt x="20" y="1"/>
                    <a:pt x="19" y="1"/>
                  </a:cubicBezTo>
                  <a:lnTo>
                    <a:pt x="6" y="8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2" name="Freeform 1426">
              <a:extLst>
                <a:ext uri="{FF2B5EF4-FFF2-40B4-BE49-F238E27FC236}">
                  <a16:creationId xmlns:a16="http://schemas.microsoft.com/office/drawing/2014/main" id="{4442A407-68AA-4BEA-AA9D-D83BB560E0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181094" y="3537424"/>
              <a:ext cx="106188" cy="121055"/>
            </a:xfrm>
            <a:custGeom>
              <a:avLst/>
              <a:gdLst>
                <a:gd name="T0" fmla="*/ 1 w 24"/>
                <a:gd name="T1" fmla="*/ 27 h 27"/>
                <a:gd name="T2" fmla="*/ 0 w 24"/>
                <a:gd name="T3" fmla="*/ 26 h 27"/>
                <a:gd name="T4" fmla="*/ 0 w 24"/>
                <a:gd name="T5" fmla="*/ 22 h 27"/>
                <a:gd name="T6" fmla="*/ 7 w 24"/>
                <a:gd name="T7" fmla="*/ 9 h 27"/>
                <a:gd name="T8" fmla="*/ 7 w 24"/>
                <a:gd name="T9" fmla="*/ 9 h 27"/>
                <a:gd name="T10" fmla="*/ 20 w 24"/>
                <a:gd name="T11" fmla="*/ 1 h 27"/>
                <a:gd name="T12" fmla="*/ 22 w 24"/>
                <a:gd name="T13" fmla="*/ 0 h 27"/>
                <a:gd name="T14" fmla="*/ 23 w 24"/>
                <a:gd name="T15" fmla="*/ 0 h 27"/>
                <a:gd name="T16" fmla="*/ 23 w 24"/>
                <a:gd name="T17" fmla="*/ 1 h 27"/>
                <a:gd name="T18" fmla="*/ 24 w 24"/>
                <a:gd name="T19" fmla="*/ 4 h 27"/>
                <a:gd name="T20" fmla="*/ 16 w 24"/>
                <a:gd name="T21" fmla="*/ 18 h 27"/>
                <a:gd name="T22" fmla="*/ 3 w 24"/>
                <a:gd name="T23" fmla="*/ 26 h 27"/>
                <a:gd name="T24" fmla="*/ 2 w 24"/>
                <a:gd name="T25" fmla="*/ 26 h 27"/>
                <a:gd name="T26" fmla="*/ 1 w 24"/>
                <a:gd name="T27" fmla="*/ 27 h 27"/>
                <a:gd name="T28" fmla="*/ 8 w 24"/>
                <a:gd name="T29" fmla="*/ 10 h 27"/>
                <a:gd name="T30" fmla="*/ 2 w 24"/>
                <a:gd name="T31" fmla="*/ 22 h 27"/>
                <a:gd name="T32" fmla="*/ 2 w 24"/>
                <a:gd name="T33" fmla="*/ 24 h 27"/>
                <a:gd name="T34" fmla="*/ 2 w 24"/>
                <a:gd name="T35" fmla="*/ 24 h 27"/>
                <a:gd name="T36" fmla="*/ 15 w 24"/>
                <a:gd name="T37" fmla="*/ 17 h 27"/>
                <a:gd name="T38" fmla="*/ 22 w 24"/>
                <a:gd name="T39" fmla="*/ 4 h 27"/>
                <a:gd name="T40" fmla="*/ 21 w 24"/>
                <a:gd name="T41" fmla="*/ 3 h 27"/>
                <a:gd name="T42" fmla="*/ 21 w 24"/>
                <a:gd name="T43" fmla="*/ 3 h 27"/>
                <a:gd name="T44" fmla="*/ 8 w 24"/>
                <a:gd name="T4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27">
                  <a:moveTo>
                    <a:pt x="1" y="27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4"/>
                    <a:pt x="0" y="22"/>
                  </a:cubicBezTo>
                  <a:cubicBezTo>
                    <a:pt x="0" y="17"/>
                    <a:pt x="3" y="11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1"/>
                    <a:pt x="21" y="1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2"/>
                    <a:pt x="24" y="3"/>
                    <a:pt x="24" y="4"/>
                  </a:cubicBezTo>
                  <a:cubicBezTo>
                    <a:pt x="24" y="10"/>
                    <a:pt x="20" y="16"/>
                    <a:pt x="16" y="18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2" y="26"/>
                    <a:pt x="2" y="26"/>
                  </a:cubicBezTo>
                  <a:lnTo>
                    <a:pt x="1" y="27"/>
                  </a:lnTo>
                  <a:close/>
                  <a:moveTo>
                    <a:pt x="8" y="10"/>
                  </a:moveTo>
                  <a:cubicBezTo>
                    <a:pt x="5" y="12"/>
                    <a:pt x="2" y="18"/>
                    <a:pt x="2" y="22"/>
                  </a:cubicBezTo>
                  <a:cubicBezTo>
                    <a:pt x="2" y="23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9" y="15"/>
                    <a:pt x="22" y="9"/>
                    <a:pt x="22" y="4"/>
                  </a:cubicBezTo>
                  <a:cubicBezTo>
                    <a:pt x="22" y="4"/>
                    <a:pt x="22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lnTo>
                    <a:pt x="8" y="10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3" name="Freeform 1427">
              <a:extLst>
                <a:ext uri="{FF2B5EF4-FFF2-40B4-BE49-F238E27FC236}">
                  <a16:creationId xmlns:a16="http://schemas.microsoft.com/office/drawing/2014/main" id="{7EAE144D-176C-4264-A6E0-778870A3F7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66044" y="3560785"/>
              <a:ext cx="61589" cy="97693"/>
            </a:xfrm>
            <a:custGeom>
              <a:avLst/>
              <a:gdLst>
                <a:gd name="T0" fmla="*/ 7 w 14"/>
                <a:gd name="T1" fmla="*/ 20 h 22"/>
                <a:gd name="T2" fmla="*/ 7 w 14"/>
                <a:gd name="T3" fmla="*/ 20 h 22"/>
                <a:gd name="T4" fmla="*/ 0 w 14"/>
                <a:gd name="T5" fmla="*/ 15 h 22"/>
                <a:gd name="T6" fmla="*/ 0 w 14"/>
                <a:gd name="T7" fmla="*/ 15 h 22"/>
                <a:gd name="T8" fmla="*/ 7 w 14"/>
                <a:gd name="T9" fmla="*/ 2 h 22"/>
                <a:gd name="T10" fmla="*/ 7 w 14"/>
                <a:gd name="T11" fmla="*/ 2 h 22"/>
                <a:gd name="T12" fmla="*/ 14 w 14"/>
                <a:gd name="T13" fmla="*/ 7 h 22"/>
                <a:gd name="T14" fmla="*/ 14 w 14"/>
                <a:gd name="T15" fmla="*/ 7 h 22"/>
                <a:gd name="T16" fmla="*/ 7 w 14"/>
                <a:gd name="T17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2">
                  <a:moveTo>
                    <a:pt x="7" y="20"/>
                  </a:moveTo>
                  <a:cubicBezTo>
                    <a:pt x="7" y="20"/>
                    <a:pt x="7" y="20"/>
                    <a:pt x="7" y="20"/>
                  </a:cubicBezTo>
                  <a:cubicBezTo>
                    <a:pt x="3" y="22"/>
                    <a:pt x="0" y="20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0"/>
                    <a:pt x="3" y="4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1" y="0"/>
                    <a:pt x="14" y="2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2"/>
                    <a:pt x="11" y="18"/>
                    <a:pt x="7" y="2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4" name="Freeform 1428">
              <a:extLst>
                <a:ext uri="{FF2B5EF4-FFF2-40B4-BE49-F238E27FC236}">
                  <a16:creationId xmlns:a16="http://schemas.microsoft.com/office/drawing/2014/main" id="{7D34379F-F0FB-4B66-BB97-8860E1174E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259673" y="3556537"/>
              <a:ext cx="72208" cy="101940"/>
            </a:xfrm>
            <a:custGeom>
              <a:avLst/>
              <a:gdLst>
                <a:gd name="T0" fmla="*/ 6 w 16"/>
                <a:gd name="T1" fmla="*/ 23 h 23"/>
                <a:gd name="T2" fmla="*/ 3 w 16"/>
                <a:gd name="T3" fmla="*/ 22 h 23"/>
                <a:gd name="T4" fmla="*/ 0 w 16"/>
                <a:gd name="T5" fmla="*/ 16 h 23"/>
                <a:gd name="T6" fmla="*/ 8 w 16"/>
                <a:gd name="T7" fmla="*/ 2 h 23"/>
                <a:gd name="T8" fmla="*/ 13 w 16"/>
                <a:gd name="T9" fmla="*/ 1 h 23"/>
                <a:gd name="T10" fmla="*/ 16 w 16"/>
                <a:gd name="T11" fmla="*/ 8 h 23"/>
                <a:gd name="T12" fmla="*/ 9 w 16"/>
                <a:gd name="T13" fmla="*/ 22 h 23"/>
                <a:gd name="T14" fmla="*/ 9 w 16"/>
                <a:gd name="T15" fmla="*/ 22 h 23"/>
                <a:gd name="T16" fmla="*/ 6 w 16"/>
                <a:gd name="T17" fmla="*/ 23 h 23"/>
                <a:gd name="T18" fmla="*/ 11 w 16"/>
                <a:gd name="T19" fmla="*/ 3 h 23"/>
                <a:gd name="T20" fmla="*/ 9 w 16"/>
                <a:gd name="T21" fmla="*/ 4 h 23"/>
                <a:gd name="T22" fmla="*/ 3 w 16"/>
                <a:gd name="T23" fmla="*/ 16 h 23"/>
                <a:gd name="T24" fmla="*/ 4 w 16"/>
                <a:gd name="T25" fmla="*/ 20 h 23"/>
                <a:gd name="T26" fmla="*/ 8 w 16"/>
                <a:gd name="T27" fmla="*/ 20 h 23"/>
                <a:gd name="T28" fmla="*/ 8 w 16"/>
                <a:gd name="T29" fmla="*/ 20 h 23"/>
                <a:gd name="T30" fmla="*/ 14 w 16"/>
                <a:gd name="T31" fmla="*/ 8 h 23"/>
                <a:gd name="T32" fmla="*/ 12 w 16"/>
                <a:gd name="T33" fmla="*/ 3 h 23"/>
                <a:gd name="T34" fmla="*/ 11 w 16"/>
                <a:gd name="T3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3">
                  <a:moveTo>
                    <a:pt x="6" y="23"/>
                  </a:moveTo>
                  <a:cubicBezTo>
                    <a:pt x="5" y="23"/>
                    <a:pt x="4" y="23"/>
                    <a:pt x="3" y="22"/>
                  </a:cubicBezTo>
                  <a:cubicBezTo>
                    <a:pt x="1" y="21"/>
                    <a:pt x="0" y="19"/>
                    <a:pt x="0" y="16"/>
                  </a:cubicBezTo>
                  <a:cubicBezTo>
                    <a:pt x="0" y="10"/>
                    <a:pt x="3" y="4"/>
                    <a:pt x="8" y="2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5" y="2"/>
                    <a:pt x="16" y="5"/>
                    <a:pt x="16" y="8"/>
                  </a:cubicBezTo>
                  <a:cubicBezTo>
                    <a:pt x="16" y="13"/>
                    <a:pt x="13" y="19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7" y="23"/>
                    <a:pt x="6" y="23"/>
                  </a:cubicBezTo>
                  <a:close/>
                  <a:moveTo>
                    <a:pt x="11" y="3"/>
                  </a:moveTo>
                  <a:cubicBezTo>
                    <a:pt x="10" y="3"/>
                    <a:pt x="9" y="3"/>
                    <a:pt x="9" y="4"/>
                  </a:cubicBezTo>
                  <a:cubicBezTo>
                    <a:pt x="5" y="6"/>
                    <a:pt x="3" y="11"/>
                    <a:pt x="3" y="16"/>
                  </a:cubicBezTo>
                  <a:cubicBezTo>
                    <a:pt x="3" y="18"/>
                    <a:pt x="3" y="19"/>
                    <a:pt x="4" y="20"/>
                  </a:cubicBezTo>
                  <a:cubicBezTo>
                    <a:pt x="5" y="21"/>
                    <a:pt x="7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1" y="18"/>
                    <a:pt x="14" y="12"/>
                    <a:pt x="14" y="8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2" y="3"/>
                    <a:pt x="11" y="3"/>
                    <a:pt x="11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5" name="Freeform 1429">
              <a:extLst>
                <a:ext uri="{FF2B5EF4-FFF2-40B4-BE49-F238E27FC236}">
                  <a16:creationId xmlns:a16="http://schemas.microsoft.com/office/drawing/2014/main" id="{DF249845-2A68-4BB2-8647-5A861D69B9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42683" y="3541672"/>
              <a:ext cx="74332" cy="106188"/>
            </a:xfrm>
            <a:custGeom>
              <a:avLst/>
              <a:gdLst>
                <a:gd name="T0" fmla="*/ 6 w 17"/>
                <a:gd name="T1" fmla="*/ 19 h 24"/>
                <a:gd name="T2" fmla="*/ 12 w 17"/>
                <a:gd name="T3" fmla="*/ 6 h 24"/>
                <a:gd name="T4" fmla="*/ 17 w 17"/>
                <a:gd name="T5" fmla="*/ 5 h 24"/>
                <a:gd name="T6" fmla="*/ 17 w 17"/>
                <a:gd name="T7" fmla="*/ 5 h 24"/>
                <a:gd name="T8" fmla="*/ 12 w 17"/>
                <a:gd name="T9" fmla="*/ 2 h 24"/>
                <a:gd name="T10" fmla="*/ 11 w 17"/>
                <a:gd name="T11" fmla="*/ 1 h 24"/>
                <a:gd name="T12" fmla="*/ 11 w 17"/>
                <a:gd name="T13" fmla="*/ 1 h 24"/>
                <a:gd name="T14" fmla="*/ 11 w 17"/>
                <a:gd name="T15" fmla="*/ 1 h 24"/>
                <a:gd name="T16" fmla="*/ 7 w 17"/>
                <a:gd name="T17" fmla="*/ 2 h 24"/>
                <a:gd name="T18" fmla="*/ 0 w 17"/>
                <a:gd name="T19" fmla="*/ 14 h 24"/>
                <a:gd name="T20" fmla="*/ 2 w 17"/>
                <a:gd name="T21" fmla="*/ 20 h 24"/>
                <a:gd name="T22" fmla="*/ 1 w 17"/>
                <a:gd name="T23" fmla="*/ 19 h 24"/>
                <a:gd name="T24" fmla="*/ 2 w 17"/>
                <a:gd name="T25" fmla="*/ 20 h 24"/>
                <a:gd name="T26" fmla="*/ 2 w 17"/>
                <a:gd name="T27" fmla="*/ 20 h 24"/>
                <a:gd name="T28" fmla="*/ 7 w 17"/>
                <a:gd name="T29" fmla="*/ 24 h 24"/>
                <a:gd name="T30" fmla="*/ 6 w 17"/>
                <a:gd name="T31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" h="24">
                  <a:moveTo>
                    <a:pt x="6" y="19"/>
                  </a:moveTo>
                  <a:cubicBezTo>
                    <a:pt x="6" y="14"/>
                    <a:pt x="9" y="8"/>
                    <a:pt x="12" y="6"/>
                  </a:cubicBezTo>
                  <a:cubicBezTo>
                    <a:pt x="14" y="5"/>
                    <a:pt x="15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9" y="0"/>
                    <a:pt x="8" y="1"/>
                    <a:pt x="7" y="2"/>
                  </a:cubicBezTo>
                  <a:cubicBezTo>
                    <a:pt x="3" y="4"/>
                    <a:pt x="0" y="9"/>
                    <a:pt x="0" y="14"/>
                  </a:cubicBezTo>
                  <a:cubicBezTo>
                    <a:pt x="0" y="17"/>
                    <a:pt x="1" y="19"/>
                    <a:pt x="2" y="2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6" y="23"/>
                    <a:pt x="6" y="21"/>
                    <a:pt x="6" y="1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6" name="Freeform 1430">
              <a:extLst>
                <a:ext uri="{FF2B5EF4-FFF2-40B4-BE49-F238E27FC236}">
                  <a16:creationId xmlns:a16="http://schemas.microsoft.com/office/drawing/2014/main" id="{A3AD5D34-2F02-446D-A6DF-2DDBC52416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238436" y="3537424"/>
              <a:ext cx="84950" cy="114683"/>
            </a:xfrm>
            <a:custGeom>
              <a:avLst/>
              <a:gdLst>
                <a:gd name="T0" fmla="*/ 8 w 19"/>
                <a:gd name="T1" fmla="*/ 26 h 26"/>
                <a:gd name="T2" fmla="*/ 2 w 19"/>
                <a:gd name="T3" fmla="*/ 22 h 26"/>
                <a:gd name="T4" fmla="*/ 2 w 19"/>
                <a:gd name="T5" fmla="*/ 22 h 26"/>
                <a:gd name="T6" fmla="*/ 2 w 19"/>
                <a:gd name="T7" fmla="*/ 21 h 26"/>
                <a:gd name="T8" fmla="*/ 0 w 19"/>
                <a:gd name="T9" fmla="*/ 15 h 26"/>
                <a:gd name="T10" fmla="*/ 7 w 19"/>
                <a:gd name="T11" fmla="*/ 1 h 26"/>
                <a:gd name="T12" fmla="*/ 12 w 19"/>
                <a:gd name="T13" fmla="*/ 1 h 26"/>
                <a:gd name="T14" fmla="*/ 13 w 19"/>
                <a:gd name="T15" fmla="*/ 1 h 26"/>
                <a:gd name="T16" fmla="*/ 14 w 19"/>
                <a:gd name="T17" fmla="*/ 2 h 26"/>
                <a:gd name="T18" fmla="*/ 19 w 19"/>
                <a:gd name="T19" fmla="*/ 6 h 26"/>
                <a:gd name="T20" fmla="*/ 18 w 19"/>
                <a:gd name="T21" fmla="*/ 8 h 26"/>
                <a:gd name="T22" fmla="*/ 17 w 19"/>
                <a:gd name="T23" fmla="*/ 7 h 26"/>
                <a:gd name="T24" fmla="*/ 14 w 19"/>
                <a:gd name="T25" fmla="*/ 8 h 26"/>
                <a:gd name="T26" fmla="*/ 8 w 19"/>
                <a:gd name="T27" fmla="*/ 20 h 26"/>
                <a:gd name="T28" fmla="*/ 9 w 19"/>
                <a:gd name="T29" fmla="*/ 24 h 26"/>
                <a:gd name="T30" fmla="*/ 8 w 19"/>
                <a:gd name="T31" fmla="*/ 26 h 26"/>
                <a:gd name="T32" fmla="*/ 3 w 19"/>
                <a:gd name="T33" fmla="*/ 20 h 26"/>
                <a:gd name="T34" fmla="*/ 4 w 19"/>
                <a:gd name="T35" fmla="*/ 20 h 26"/>
                <a:gd name="T36" fmla="*/ 6 w 19"/>
                <a:gd name="T37" fmla="*/ 21 h 26"/>
                <a:gd name="T38" fmla="*/ 5 w 19"/>
                <a:gd name="T39" fmla="*/ 20 h 26"/>
                <a:gd name="T40" fmla="*/ 13 w 19"/>
                <a:gd name="T41" fmla="*/ 6 h 26"/>
                <a:gd name="T42" fmla="*/ 14 w 19"/>
                <a:gd name="T43" fmla="*/ 5 h 26"/>
                <a:gd name="T44" fmla="*/ 12 w 19"/>
                <a:gd name="T45" fmla="*/ 4 h 26"/>
                <a:gd name="T46" fmla="*/ 12 w 19"/>
                <a:gd name="T47" fmla="*/ 4 h 26"/>
                <a:gd name="T48" fmla="*/ 11 w 19"/>
                <a:gd name="T49" fmla="*/ 3 h 26"/>
                <a:gd name="T50" fmla="*/ 8 w 19"/>
                <a:gd name="T51" fmla="*/ 4 h 26"/>
                <a:gd name="T52" fmla="*/ 2 w 19"/>
                <a:gd name="T53" fmla="*/ 15 h 26"/>
                <a:gd name="T54" fmla="*/ 3 w 19"/>
                <a:gd name="T55" fmla="*/ 19 h 26"/>
                <a:gd name="T56" fmla="*/ 3 w 19"/>
                <a:gd name="T5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" h="26">
                  <a:moveTo>
                    <a:pt x="8" y="26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0"/>
                    <a:pt x="0" y="18"/>
                    <a:pt x="0" y="15"/>
                  </a:cubicBezTo>
                  <a:cubicBezTo>
                    <a:pt x="0" y="10"/>
                    <a:pt x="3" y="4"/>
                    <a:pt x="7" y="1"/>
                  </a:cubicBezTo>
                  <a:cubicBezTo>
                    <a:pt x="8" y="1"/>
                    <a:pt x="10" y="0"/>
                    <a:pt x="12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7"/>
                    <a:pt x="15" y="7"/>
                    <a:pt x="14" y="8"/>
                  </a:cubicBezTo>
                  <a:cubicBezTo>
                    <a:pt x="11" y="10"/>
                    <a:pt x="8" y="15"/>
                    <a:pt x="8" y="20"/>
                  </a:cubicBezTo>
                  <a:cubicBezTo>
                    <a:pt x="8" y="22"/>
                    <a:pt x="8" y="23"/>
                    <a:pt x="9" y="24"/>
                  </a:cubicBezTo>
                  <a:lnTo>
                    <a:pt x="8" y="26"/>
                  </a:lnTo>
                  <a:close/>
                  <a:moveTo>
                    <a:pt x="3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5" y="20"/>
                    <a:pt x="5" y="20"/>
                  </a:cubicBezTo>
                  <a:cubicBezTo>
                    <a:pt x="5" y="14"/>
                    <a:pt x="9" y="8"/>
                    <a:pt x="13" y="6"/>
                  </a:cubicBezTo>
                  <a:cubicBezTo>
                    <a:pt x="13" y="5"/>
                    <a:pt x="14" y="5"/>
                    <a:pt x="14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0" y="3"/>
                    <a:pt x="8" y="4"/>
                  </a:cubicBezTo>
                  <a:cubicBezTo>
                    <a:pt x="5" y="5"/>
                    <a:pt x="2" y="11"/>
                    <a:pt x="2" y="15"/>
                  </a:cubicBezTo>
                  <a:cubicBezTo>
                    <a:pt x="2" y="17"/>
                    <a:pt x="2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7" name="Freeform 1431">
              <a:extLst>
                <a:ext uri="{FF2B5EF4-FFF2-40B4-BE49-F238E27FC236}">
                  <a16:creationId xmlns:a16="http://schemas.microsoft.com/office/drawing/2014/main" id="{679ED596-096B-4155-B077-73F8CBFEF5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11928" y="3785902"/>
              <a:ext cx="250603" cy="208128"/>
            </a:xfrm>
            <a:custGeom>
              <a:avLst/>
              <a:gdLst>
                <a:gd name="T0" fmla="*/ 7 w 57"/>
                <a:gd name="T1" fmla="*/ 42 h 47"/>
                <a:gd name="T2" fmla="*/ 14 w 57"/>
                <a:gd name="T3" fmla="*/ 29 h 47"/>
                <a:gd name="T4" fmla="*/ 53 w 57"/>
                <a:gd name="T5" fmla="*/ 6 h 47"/>
                <a:gd name="T6" fmla="*/ 57 w 57"/>
                <a:gd name="T7" fmla="*/ 6 h 47"/>
                <a:gd name="T8" fmla="*/ 51 w 57"/>
                <a:gd name="T9" fmla="*/ 2 h 47"/>
                <a:gd name="T10" fmla="*/ 50 w 57"/>
                <a:gd name="T11" fmla="*/ 1 h 47"/>
                <a:gd name="T12" fmla="*/ 45 w 57"/>
                <a:gd name="T13" fmla="*/ 1 h 47"/>
                <a:gd name="T14" fmla="*/ 7 w 57"/>
                <a:gd name="T15" fmla="*/ 24 h 47"/>
                <a:gd name="T16" fmla="*/ 0 w 57"/>
                <a:gd name="T17" fmla="*/ 36 h 47"/>
                <a:gd name="T18" fmla="*/ 1 w 57"/>
                <a:gd name="T19" fmla="*/ 41 h 47"/>
                <a:gd name="T20" fmla="*/ 2 w 57"/>
                <a:gd name="T21" fmla="*/ 42 h 47"/>
                <a:gd name="T22" fmla="*/ 2 w 57"/>
                <a:gd name="T23" fmla="*/ 42 h 47"/>
                <a:gd name="T24" fmla="*/ 2 w 57"/>
                <a:gd name="T25" fmla="*/ 42 h 47"/>
                <a:gd name="T26" fmla="*/ 9 w 57"/>
                <a:gd name="T27" fmla="*/ 47 h 47"/>
                <a:gd name="T28" fmla="*/ 7 w 57"/>
                <a:gd name="T29" fmla="*/ 4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7">
                  <a:moveTo>
                    <a:pt x="7" y="42"/>
                  </a:moveTo>
                  <a:cubicBezTo>
                    <a:pt x="7" y="37"/>
                    <a:pt x="10" y="31"/>
                    <a:pt x="14" y="29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4" y="5"/>
                    <a:pt x="56" y="5"/>
                    <a:pt x="57" y="6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49" y="0"/>
                    <a:pt x="47" y="0"/>
                    <a:pt x="45" y="1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3" y="26"/>
                    <a:pt x="0" y="32"/>
                    <a:pt x="0" y="36"/>
                  </a:cubicBezTo>
                  <a:cubicBezTo>
                    <a:pt x="0" y="39"/>
                    <a:pt x="0" y="40"/>
                    <a:pt x="1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8" y="46"/>
                    <a:pt x="7" y="44"/>
                    <a:pt x="7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8" name="Freeform 1432">
              <a:extLst>
                <a:ext uri="{FF2B5EF4-FFF2-40B4-BE49-F238E27FC236}">
                  <a16:creationId xmlns:a16="http://schemas.microsoft.com/office/drawing/2014/main" id="{01937B4B-7D6A-4845-B56A-D2B0C0BF756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607680" y="3781655"/>
              <a:ext cx="259098" cy="216623"/>
            </a:xfrm>
            <a:custGeom>
              <a:avLst/>
              <a:gdLst>
                <a:gd name="T0" fmla="*/ 9 w 59"/>
                <a:gd name="T1" fmla="*/ 49 h 49"/>
                <a:gd name="T2" fmla="*/ 2 w 59"/>
                <a:gd name="T3" fmla="*/ 43 h 49"/>
                <a:gd name="T4" fmla="*/ 0 w 59"/>
                <a:gd name="T5" fmla="*/ 37 h 49"/>
                <a:gd name="T6" fmla="*/ 7 w 59"/>
                <a:gd name="T7" fmla="*/ 24 h 49"/>
                <a:gd name="T8" fmla="*/ 46 w 59"/>
                <a:gd name="T9" fmla="*/ 1 h 49"/>
                <a:gd name="T10" fmla="*/ 52 w 59"/>
                <a:gd name="T11" fmla="*/ 1 h 49"/>
                <a:gd name="T12" fmla="*/ 59 w 59"/>
                <a:gd name="T13" fmla="*/ 6 h 49"/>
                <a:gd name="T14" fmla="*/ 59 w 59"/>
                <a:gd name="T15" fmla="*/ 6 h 49"/>
                <a:gd name="T16" fmla="*/ 59 w 59"/>
                <a:gd name="T17" fmla="*/ 6 h 49"/>
                <a:gd name="T18" fmla="*/ 58 w 59"/>
                <a:gd name="T19" fmla="*/ 8 h 49"/>
                <a:gd name="T20" fmla="*/ 58 w 59"/>
                <a:gd name="T21" fmla="*/ 8 h 49"/>
                <a:gd name="T22" fmla="*/ 58 w 59"/>
                <a:gd name="T23" fmla="*/ 8 h 49"/>
                <a:gd name="T24" fmla="*/ 54 w 59"/>
                <a:gd name="T25" fmla="*/ 8 h 49"/>
                <a:gd name="T26" fmla="*/ 16 w 59"/>
                <a:gd name="T27" fmla="*/ 31 h 49"/>
                <a:gd name="T28" fmla="*/ 9 w 59"/>
                <a:gd name="T29" fmla="*/ 43 h 49"/>
                <a:gd name="T30" fmla="*/ 11 w 59"/>
                <a:gd name="T31" fmla="*/ 47 h 49"/>
                <a:gd name="T32" fmla="*/ 9 w 59"/>
                <a:gd name="T33" fmla="*/ 49 h 49"/>
                <a:gd name="T34" fmla="*/ 49 w 59"/>
                <a:gd name="T35" fmla="*/ 3 h 49"/>
                <a:gd name="T36" fmla="*/ 47 w 59"/>
                <a:gd name="T37" fmla="*/ 3 h 49"/>
                <a:gd name="T38" fmla="*/ 8 w 59"/>
                <a:gd name="T39" fmla="*/ 26 h 49"/>
                <a:gd name="T40" fmla="*/ 2 w 59"/>
                <a:gd name="T41" fmla="*/ 37 h 49"/>
                <a:gd name="T42" fmla="*/ 3 w 59"/>
                <a:gd name="T43" fmla="*/ 41 h 49"/>
                <a:gd name="T44" fmla="*/ 3 w 59"/>
                <a:gd name="T45" fmla="*/ 42 h 49"/>
                <a:gd name="T46" fmla="*/ 7 w 59"/>
                <a:gd name="T47" fmla="*/ 44 h 49"/>
                <a:gd name="T48" fmla="*/ 7 w 59"/>
                <a:gd name="T49" fmla="*/ 43 h 49"/>
                <a:gd name="T50" fmla="*/ 14 w 59"/>
                <a:gd name="T51" fmla="*/ 29 h 49"/>
                <a:gd name="T52" fmla="*/ 53 w 59"/>
                <a:gd name="T53" fmla="*/ 6 h 49"/>
                <a:gd name="T54" fmla="*/ 54 w 59"/>
                <a:gd name="T55" fmla="*/ 6 h 49"/>
                <a:gd name="T56" fmla="*/ 51 w 59"/>
                <a:gd name="T57" fmla="*/ 3 h 49"/>
                <a:gd name="T58" fmla="*/ 49 w 59"/>
                <a:gd name="T59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" h="49">
                  <a:moveTo>
                    <a:pt x="9" y="49"/>
                  </a:moveTo>
                  <a:cubicBezTo>
                    <a:pt x="2" y="43"/>
                    <a:pt x="2" y="43"/>
                    <a:pt x="2" y="43"/>
                  </a:cubicBezTo>
                  <a:cubicBezTo>
                    <a:pt x="0" y="42"/>
                    <a:pt x="0" y="40"/>
                    <a:pt x="0" y="37"/>
                  </a:cubicBezTo>
                  <a:cubicBezTo>
                    <a:pt x="0" y="32"/>
                    <a:pt x="3" y="26"/>
                    <a:pt x="7" y="24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9" y="0"/>
                    <a:pt x="51" y="0"/>
                    <a:pt x="52" y="1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6" y="7"/>
                    <a:pt x="55" y="8"/>
                    <a:pt x="54" y="8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2" y="33"/>
                    <a:pt x="9" y="38"/>
                    <a:pt x="9" y="43"/>
                  </a:cubicBezTo>
                  <a:cubicBezTo>
                    <a:pt x="9" y="45"/>
                    <a:pt x="10" y="46"/>
                    <a:pt x="11" y="47"/>
                  </a:cubicBezTo>
                  <a:lnTo>
                    <a:pt x="9" y="49"/>
                  </a:lnTo>
                  <a:close/>
                  <a:moveTo>
                    <a:pt x="49" y="3"/>
                  </a:moveTo>
                  <a:cubicBezTo>
                    <a:pt x="48" y="3"/>
                    <a:pt x="48" y="3"/>
                    <a:pt x="47" y="3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5" y="28"/>
                    <a:pt x="2" y="33"/>
                    <a:pt x="2" y="37"/>
                  </a:cubicBezTo>
                  <a:cubicBezTo>
                    <a:pt x="2" y="40"/>
                    <a:pt x="2" y="41"/>
                    <a:pt x="3" y="4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7" y="44"/>
                    <a:pt x="7" y="43"/>
                    <a:pt x="7" y="43"/>
                  </a:cubicBezTo>
                  <a:cubicBezTo>
                    <a:pt x="7" y="37"/>
                    <a:pt x="10" y="31"/>
                    <a:pt x="14" y="29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4" y="6"/>
                    <a:pt x="54" y="6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0" y="3"/>
                    <a:pt x="50" y="3"/>
                    <a:pt x="49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9" name="Freeform 1433">
              <a:extLst>
                <a:ext uri="{FF2B5EF4-FFF2-40B4-BE49-F238E27FC236}">
                  <a16:creationId xmlns:a16="http://schemas.microsoft.com/office/drawing/2014/main" id="{AA3A7B48-99E6-4B59-80C9-D0518836B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1661" y="3802892"/>
              <a:ext cx="229365" cy="199633"/>
            </a:xfrm>
            <a:custGeom>
              <a:avLst/>
              <a:gdLst>
                <a:gd name="T0" fmla="*/ 46 w 52"/>
                <a:gd name="T1" fmla="*/ 20 h 45"/>
                <a:gd name="T2" fmla="*/ 7 w 52"/>
                <a:gd name="T3" fmla="*/ 43 h 45"/>
                <a:gd name="T4" fmla="*/ 0 w 52"/>
                <a:gd name="T5" fmla="*/ 38 h 45"/>
                <a:gd name="T6" fmla="*/ 0 w 52"/>
                <a:gd name="T7" fmla="*/ 38 h 45"/>
                <a:gd name="T8" fmla="*/ 7 w 52"/>
                <a:gd name="T9" fmla="*/ 25 h 45"/>
                <a:gd name="T10" fmla="*/ 46 w 52"/>
                <a:gd name="T11" fmla="*/ 2 h 45"/>
                <a:gd name="T12" fmla="*/ 52 w 52"/>
                <a:gd name="T13" fmla="*/ 7 h 45"/>
                <a:gd name="T14" fmla="*/ 52 w 52"/>
                <a:gd name="T15" fmla="*/ 7 h 45"/>
                <a:gd name="T16" fmla="*/ 46 w 52"/>
                <a:gd name="T17" fmla="*/ 2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45">
                  <a:moveTo>
                    <a:pt x="46" y="20"/>
                  </a:moveTo>
                  <a:cubicBezTo>
                    <a:pt x="7" y="43"/>
                    <a:pt x="7" y="43"/>
                    <a:pt x="7" y="43"/>
                  </a:cubicBezTo>
                  <a:cubicBezTo>
                    <a:pt x="3" y="45"/>
                    <a:pt x="0" y="43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3"/>
                    <a:pt x="3" y="27"/>
                    <a:pt x="7" y="25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9" y="0"/>
                    <a:pt x="52" y="3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12"/>
                    <a:pt x="49" y="18"/>
                    <a:pt x="46" y="2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0" name="Freeform 1434">
              <a:extLst>
                <a:ext uri="{FF2B5EF4-FFF2-40B4-BE49-F238E27FC236}">
                  <a16:creationId xmlns:a16="http://schemas.microsoft.com/office/drawing/2014/main" id="{CC7715EB-9561-4209-9FB6-06816821F9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637413" y="3802892"/>
              <a:ext cx="244232" cy="199633"/>
            </a:xfrm>
            <a:custGeom>
              <a:avLst/>
              <a:gdLst>
                <a:gd name="T0" fmla="*/ 5 w 55"/>
                <a:gd name="T1" fmla="*/ 45 h 45"/>
                <a:gd name="T2" fmla="*/ 3 w 55"/>
                <a:gd name="T3" fmla="*/ 44 h 45"/>
                <a:gd name="T4" fmla="*/ 0 w 55"/>
                <a:gd name="T5" fmla="*/ 38 h 45"/>
                <a:gd name="T6" fmla="*/ 7 w 55"/>
                <a:gd name="T7" fmla="*/ 24 h 45"/>
                <a:gd name="T8" fmla="*/ 46 w 55"/>
                <a:gd name="T9" fmla="*/ 1 h 45"/>
                <a:gd name="T10" fmla="*/ 52 w 55"/>
                <a:gd name="T11" fmla="*/ 1 h 45"/>
                <a:gd name="T12" fmla="*/ 55 w 55"/>
                <a:gd name="T13" fmla="*/ 7 h 45"/>
                <a:gd name="T14" fmla="*/ 47 w 55"/>
                <a:gd name="T15" fmla="*/ 21 h 45"/>
                <a:gd name="T16" fmla="*/ 9 w 55"/>
                <a:gd name="T17" fmla="*/ 44 h 45"/>
                <a:gd name="T18" fmla="*/ 5 w 55"/>
                <a:gd name="T19" fmla="*/ 45 h 45"/>
                <a:gd name="T20" fmla="*/ 49 w 55"/>
                <a:gd name="T21" fmla="*/ 3 h 45"/>
                <a:gd name="T22" fmla="*/ 47 w 55"/>
                <a:gd name="T23" fmla="*/ 3 h 45"/>
                <a:gd name="T24" fmla="*/ 9 w 55"/>
                <a:gd name="T25" fmla="*/ 26 h 45"/>
                <a:gd name="T26" fmla="*/ 2 w 55"/>
                <a:gd name="T27" fmla="*/ 38 h 45"/>
                <a:gd name="T28" fmla="*/ 4 w 55"/>
                <a:gd name="T29" fmla="*/ 42 h 45"/>
                <a:gd name="T30" fmla="*/ 7 w 55"/>
                <a:gd name="T31" fmla="*/ 42 h 45"/>
                <a:gd name="T32" fmla="*/ 46 w 55"/>
                <a:gd name="T33" fmla="*/ 19 h 45"/>
                <a:gd name="T34" fmla="*/ 52 w 55"/>
                <a:gd name="T35" fmla="*/ 7 h 45"/>
                <a:gd name="T36" fmla="*/ 50 w 55"/>
                <a:gd name="T37" fmla="*/ 3 h 45"/>
                <a:gd name="T38" fmla="*/ 49 w 55"/>
                <a:gd name="T39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5" h="45">
                  <a:moveTo>
                    <a:pt x="5" y="45"/>
                  </a:moveTo>
                  <a:cubicBezTo>
                    <a:pt x="4" y="45"/>
                    <a:pt x="4" y="45"/>
                    <a:pt x="3" y="44"/>
                  </a:cubicBezTo>
                  <a:cubicBezTo>
                    <a:pt x="1" y="43"/>
                    <a:pt x="0" y="41"/>
                    <a:pt x="0" y="38"/>
                  </a:cubicBezTo>
                  <a:cubicBezTo>
                    <a:pt x="0" y="32"/>
                    <a:pt x="3" y="26"/>
                    <a:pt x="7" y="24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0"/>
                    <a:pt x="50" y="0"/>
                    <a:pt x="52" y="1"/>
                  </a:cubicBezTo>
                  <a:cubicBezTo>
                    <a:pt x="54" y="2"/>
                    <a:pt x="55" y="4"/>
                    <a:pt x="55" y="7"/>
                  </a:cubicBezTo>
                  <a:cubicBezTo>
                    <a:pt x="55" y="13"/>
                    <a:pt x="51" y="19"/>
                    <a:pt x="47" y="21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7" y="44"/>
                    <a:pt x="6" y="45"/>
                    <a:pt x="5" y="45"/>
                  </a:cubicBezTo>
                  <a:close/>
                  <a:moveTo>
                    <a:pt x="49" y="3"/>
                  </a:moveTo>
                  <a:cubicBezTo>
                    <a:pt x="49" y="3"/>
                    <a:pt x="48" y="3"/>
                    <a:pt x="47" y="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5" y="28"/>
                    <a:pt x="2" y="33"/>
                    <a:pt x="2" y="38"/>
                  </a:cubicBezTo>
                  <a:cubicBezTo>
                    <a:pt x="2" y="40"/>
                    <a:pt x="3" y="41"/>
                    <a:pt x="4" y="42"/>
                  </a:cubicBezTo>
                  <a:cubicBezTo>
                    <a:pt x="5" y="43"/>
                    <a:pt x="6" y="42"/>
                    <a:pt x="7" y="42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9" y="17"/>
                    <a:pt x="52" y="12"/>
                    <a:pt x="52" y="7"/>
                  </a:cubicBezTo>
                  <a:cubicBezTo>
                    <a:pt x="52" y="5"/>
                    <a:pt x="52" y="4"/>
                    <a:pt x="50" y="3"/>
                  </a:cubicBezTo>
                  <a:cubicBezTo>
                    <a:pt x="50" y="3"/>
                    <a:pt x="50" y="3"/>
                    <a:pt x="49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1" name="Freeform 1435">
              <a:extLst>
                <a:ext uri="{FF2B5EF4-FFF2-40B4-BE49-F238E27FC236}">
                  <a16:creationId xmlns:a16="http://schemas.microsoft.com/office/drawing/2014/main" id="{C65895A8-5866-47B1-B14C-9A4867D01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0140" y="3622374"/>
              <a:ext cx="250603" cy="208128"/>
            </a:xfrm>
            <a:custGeom>
              <a:avLst/>
              <a:gdLst>
                <a:gd name="T0" fmla="*/ 7 w 57"/>
                <a:gd name="T1" fmla="*/ 42 h 47"/>
                <a:gd name="T2" fmla="*/ 14 w 57"/>
                <a:gd name="T3" fmla="*/ 29 h 47"/>
                <a:gd name="T4" fmla="*/ 52 w 57"/>
                <a:gd name="T5" fmla="*/ 7 h 47"/>
                <a:gd name="T6" fmla="*/ 57 w 57"/>
                <a:gd name="T7" fmla="*/ 7 h 47"/>
                <a:gd name="T8" fmla="*/ 51 w 57"/>
                <a:gd name="T9" fmla="*/ 2 h 47"/>
                <a:gd name="T10" fmla="*/ 50 w 57"/>
                <a:gd name="T11" fmla="*/ 2 h 47"/>
                <a:gd name="T12" fmla="*/ 45 w 57"/>
                <a:gd name="T13" fmla="*/ 2 h 47"/>
                <a:gd name="T14" fmla="*/ 6 w 57"/>
                <a:gd name="T15" fmla="*/ 24 h 47"/>
                <a:gd name="T16" fmla="*/ 0 w 57"/>
                <a:gd name="T17" fmla="*/ 37 h 47"/>
                <a:gd name="T18" fmla="*/ 1 w 57"/>
                <a:gd name="T19" fmla="*/ 42 h 47"/>
                <a:gd name="T20" fmla="*/ 1 w 57"/>
                <a:gd name="T21" fmla="*/ 42 h 47"/>
                <a:gd name="T22" fmla="*/ 2 w 57"/>
                <a:gd name="T23" fmla="*/ 42 h 47"/>
                <a:gd name="T24" fmla="*/ 2 w 57"/>
                <a:gd name="T25" fmla="*/ 42 h 47"/>
                <a:gd name="T26" fmla="*/ 9 w 57"/>
                <a:gd name="T27" fmla="*/ 47 h 47"/>
                <a:gd name="T28" fmla="*/ 7 w 57"/>
                <a:gd name="T29" fmla="*/ 4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7">
                  <a:moveTo>
                    <a:pt x="7" y="42"/>
                  </a:moveTo>
                  <a:cubicBezTo>
                    <a:pt x="7" y="37"/>
                    <a:pt x="10" y="31"/>
                    <a:pt x="14" y="29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4" y="6"/>
                    <a:pt x="56" y="6"/>
                    <a:pt x="57" y="7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1"/>
                    <a:pt x="47" y="0"/>
                    <a:pt x="45" y="2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3" y="26"/>
                    <a:pt x="0" y="32"/>
                    <a:pt x="0" y="37"/>
                  </a:cubicBezTo>
                  <a:cubicBezTo>
                    <a:pt x="0" y="39"/>
                    <a:pt x="0" y="41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8" y="46"/>
                    <a:pt x="7" y="45"/>
                    <a:pt x="7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2" name="Freeform 1436">
              <a:extLst>
                <a:ext uri="{FF2B5EF4-FFF2-40B4-BE49-F238E27FC236}">
                  <a16:creationId xmlns:a16="http://schemas.microsoft.com/office/drawing/2014/main" id="{56C9C118-EB1F-4F97-858D-F14BBD3D9B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1645" y="3618127"/>
              <a:ext cx="263345" cy="216623"/>
            </a:xfrm>
            <a:custGeom>
              <a:avLst/>
              <a:gdLst>
                <a:gd name="T0" fmla="*/ 10 w 60"/>
                <a:gd name="T1" fmla="*/ 49 h 49"/>
                <a:gd name="T2" fmla="*/ 2 w 60"/>
                <a:gd name="T3" fmla="*/ 44 h 49"/>
                <a:gd name="T4" fmla="*/ 0 w 60"/>
                <a:gd name="T5" fmla="*/ 38 h 49"/>
                <a:gd name="T6" fmla="*/ 8 w 60"/>
                <a:gd name="T7" fmla="*/ 24 h 49"/>
                <a:gd name="T8" fmla="*/ 46 w 60"/>
                <a:gd name="T9" fmla="*/ 2 h 49"/>
                <a:gd name="T10" fmla="*/ 53 w 60"/>
                <a:gd name="T11" fmla="*/ 2 h 49"/>
                <a:gd name="T12" fmla="*/ 60 w 60"/>
                <a:gd name="T13" fmla="*/ 7 h 49"/>
                <a:gd name="T14" fmla="*/ 60 w 60"/>
                <a:gd name="T15" fmla="*/ 7 h 49"/>
                <a:gd name="T16" fmla="*/ 60 w 60"/>
                <a:gd name="T17" fmla="*/ 7 h 49"/>
                <a:gd name="T18" fmla="*/ 58 w 60"/>
                <a:gd name="T19" fmla="*/ 9 h 49"/>
                <a:gd name="T20" fmla="*/ 58 w 60"/>
                <a:gd name="T21" fmla="*/ 9 h 49"/>
                <a:gd name="T22" fmla="*/ 58 w 60"/>
                <a:gd name="T23" fmla="*/ 9 h 49"/>
                <a:gd name="T24" fmla="*/ 55 w 60"/>
                <a:gd name="T25" fmla="*/ 9 h 49"/>
                <a:gd name="T26" fmla="*/ 16 w 60"/>
                <a:gd name="T27" fmla="*/ 31 h 49"/>
                <a:gd name="T28" fmla="*/ 10 w 60"/>
                <a:gd name="T29" fmla="*/ 43 h 49"/>
                <a:gd name="T30" fmla="*/ 12 w 60"/>
                <a:gd name="T31" fmla="*/ 47 h 49"/>
                <a:gd name="T32" fmla="*/ 10 w 60"/>
                <a:gd name="T33" fmla="*/ 49 h 49"/>
                <a:gd name="T34" fmla="*/ 50 w 60"/>
                <a:gd name="T35" fmla="*/ 3 h 49"/>
                <a:gd name="T36" fmla="*/ 48 w 60"/>
                <a:gd name="T37" fmla="*/ 4 h 49"/>
                <a:gd name="T38" fmla="*/ 9 w 60"/>
                <a:gd name="T39" fmla="*/ 26 h 49"/>
                <a:gd name="T40" fmla="*/ 3 w 60"/>
                <a:gd name="T41" fmla="*/ 38 h 49"/>
                <a:gd name="T42" fmla="*/ 4 w 60"/>
                <a:gd name="T43" fmla="*/ 42 h 49"/>
                <a:gd name="T44" fmla="*/ 4 w 60"/>
                <a:gd name="T45" fmla="*/ 42 h 49"/>
                <a:gd name="T46" fmla="*/ 8 w 60"/>
                <a:gd name="T47" fmla="*/ 45 h 49"/>
                <a:gd name="T48" fmla="*/ 8 w 60"/>
                <a:gd name="T49" fmla="*/ 43 h 49"/>
                <a:gd name="T50" fmla="*/ 15 w 60"/>
                <a:gd name="T51" fmla="*/ 29 h 49"/>
                <a:gd name="T52" fmla="*/ 54 w 60"/>
                <a:gd name="T53" fmla="*/ 7 h 49"/>
                <a:gd name="T54" fmla="*/ 55 w 60"/>
                <a:gd name="T55" fmla="*/ 6 h 49"/>
                <a:gd name="T56" fmla="*/ 51 w 60"/>
                <a:gd name="T57" fmla="*/ 4 h 49"/>
                <a:gd name="T58" fmla="*/ 50 w 60"/>
                <a:gd name="T59" fmla="*/ 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0" h="49">
                  <a:moveTo>
                    <a:pt x="10" y="49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2"/>
                    <a:pt x="0" y="40"/>
                    <a:pt x="0" y="38"/>
                  </a:cubicBezTo>
                  <a:cubicBezTo>
                    <a:pt x="0" y="32"/>
                    <a:pt x="4" y="26"/>
                    <a:pt x="8" y="24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9" y="0"/>
                    <a:pt x="52" y="1"/>
                    <a:pt x="53" y="2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7" y="8"/>
                    <a:pt x="56" y="8"/>
                    <a:pt x="55" y="9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3" y="33"/>
                    <a:pt x="10" y="39"/>
                    <a:pt x="10" y="43"/>
                  </a:cubicBezTo>
                  <a:cubicBezTo>
                    <a:pt x="10" y="45"/>
                    <a:pt x="11" y="47"/>
                    <a:pt x="12" y="47"/>
                  </a:cubicBezTo>
                  <a:lnTo>
                    <a:pt x="10" y="49"/>
                  </a:lnTo>
                  <a:close/>
                  <a:moveTo>
                    <a:pt x="50" y="3"/>
                  </a:moveTo>
                  <a:cubicBezTo>
                    <a:pt x="49" y="3"/>
                    <a:pt x="48" y="3"/>
                    <a:pt x="48" y="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8"/>
                    <a:pt x="3" y="33"/>
                    <a:pt x="3" y="38"/>
                  </a:cubicBezTo>
                  <a:cubicBezTo>
                    <a:pt x="3" y="40"/>
                    <a:pt x="3" y="41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4"/>
                    <a:pt x="8" y="44"/>
                    <a:pt x="8" y="43"/>
                  </a:cubicBezTo>
                  <a:cubicBezTo>
                    <a:pt x="8" y="38"/>
                    <a:pt x="11" y="31"/>
                    <a:pt x="15" y="29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5" y="6"/>
                    <a:pt x="55" y="6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3"/>
                    <a:pt x="50" y="3"/>
                    <a:pt x="50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3" name="Freeform 1437">
              <a:extLst>
                <a:ext uri="{FF2B5EF4-FFF2-40B4-BE49-F238E27FC236}">
                  <a16:creationId xmlns:a16="http://schemas.microsoft.com/office/drawing/2014/main" id="{1D38DA6F-12C1-438B-9E72-AF3F7A666D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9873" y="3643612"/>
              <a:ext cx="229365" cy="195385"/>
            </a:xfrm>
            <a:custGeom>
              <a:avLst/>
              <a:gdLst>
                <a:gd name="T0" fmla="*/ 45 w 52"/>
                <a:gd name="T1" fmla="*/ 20 h 44"/>
                <a:gd name="T2" fmla="*/ 7 w 52"/>
                <a:gd name="T3" fmla="*/ 42 h 44"/>
                <a:gd name="T4" fmla="*/ 0 w 52"/>
                <a:gd name="T5" fmla="*/ 37 h 44"/>
                <a:gd name="T6" fmla="*/ 0 w 52"/>
                <a:gd name="T7" fmla="*/ 37 h 44"/>
                <a:gd name="T8" fmla="*/ 7 w 52"/>
                <a:gd name="T9" fmla="*/ 24 h 44"/>
                <a:gd name="T10" fmla="*/ 45 w 52"/>
                <a:gd name="T11" fmla="*/ 2 h 44"/>
                <a:gd name="T12" fmla="*/ 52 w 52"/>
                <a:gd name="T13" fmla="*/ 7 h 44"/>
                <a:gd name="T14" fmla="*/ 52 w 52"/>
                <a:gd name="T15" fmla="*/ 7 h 44"/>
                <a:gd name="T16" fmla="*/ 45 w 52"/>
                <a:gd name="T17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44">
                  <a:moveTo>
                    <a:pt x="45" y="20"/>
                  </a:moveTo>
                  <a:cubicBezTo>
                    <a:pt x="7" y="42"/>
                    <a:pt x="7" y="42"/>
                    <a:pt x="7" y="42"/>
                  </a:cubicBezTo>
                  <a:cubicBezTo>
                    <a:pt x="3" y="44"/>
                    <a:pt x="0" y="42"/>
                    <a:pt x="0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2"/>
                    <a:pt x="3" y="26"/>
                    <a:pt x="7" y="24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9" y="0"/>
                    <a:pt x="52" y="2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12"/>
                    <a:pt x="49" y="18"/>
                    <a:pt x="45" y="2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4" name="Freeform 1438">
              <a:extLst>
                <a:ext uri="{FF2B5EF4-FFF2-40B4-BE49-F238E27FC236}">
                  <a16:creationId xmlns:a16="http://schemas.microsoft.com/office/drawing/2014/main" id="{59AFA723-5D57-4606-BA62-B875CAA681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915625" y="3639364"/>
              <a:ext cx="239985" cy="199633"/>
            </a:xfrm>
            <a:custGeom>
              <a:avLst/>
              <a:gdLst>
                <a:gd name="T0" fmla="*/ 5 w 54"/>
                <a:gd name="T1" fmla="*/ 45 h 45"/>
                <a:gd name="T2" fmla="*/ 3 w 54"/>
                <a:gd name="T3" fmla="*/ 45 h 45"/>
                <a:gd name="T4" fmla="*/ 0 w 54"/>
                <a:gd name="T5" fmla="*/ 38 h 45"/>
                <a:gd name="T6" fmla="*/ 7 w 54"/>
                <a:gd name="T7" fmla="*/ 24 h 45"/>
                <a:gd name="T8" fmla="*/ 46 w 54"/>
                <a:gd name="T9" fmla="*/ 2 h 45"/>
                <a:gd name="T10" fmla="*/ 52 w 54"/>
                <a:gd name="T11" fmla="*/ 1 h 45"/>
                <a:gd name="T12" fmla="*/ 54 w 54"/>
                <a:gd name="T13" fmla="*/ 8 h 45"/>
                <a:gd name="T14" fmla="*/ 47 w 54"/>
                <a:gd name="T15" fmla="*/ 22 h 45"/>
                <a:gd name="T16" fmla="*/ 8 w 54"/>
                <a:gd name="T17" fmla="*/ 44 h 45"/>
                <a:gd name="T18" fmla="*/ 5 w 54"/>
                <a:gd name="T19" fmla="*/ 45 h 45"/>
                <a:gd name="T20" fmla="*/ 49 w 54"/>
                <a:gd name="T21" fmla="*/ 3 h 45"/>
                <a:gd name="T22" fmla="*/ 47 w 54"/>
                <a:gd name="T23" fmla="*/ 4 h 45"/>
                <a:gd name="T24" fmla="*/ 8 w 54"/>
                <a:gd name="T25" fmla="*/ 26 h 45"/>
                <a:gd name="T26" fmla="*/ 2 w 54"/>
                <a:gd name="T27" fmla="*/ 38 h 45"/>
                <a:gd name="T28" fmla="*/ 4 w 54"/>
                <a:gd name="T29" fmla="*/ 42 h 45"/>
                <a:gd name="T30" fmla="*/ 7 w 54"/>
                <a:gd name="T31" fmla="*/ 42 h 45"/>
                <a:gd name="T32" fmla="*/ 46 w 54"/>
                <a:gd name="T33" fmla="*/ 20 h 45"/>
                <a:gd name="T34" fmla="*/ 52 w 54"/>
                <a:gd name="T35" fmla="*/ 8 h 45"/>
                <a:gd name="T36" fmla="*/ 50 w 54"/>
                <a:gd name="T37" fmla="*/ 3 h 45"/>
                <a:gd name="T38" fmla="*/ 49 w 54"/>
                <a:gd name="T39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45">
                  <a:moveTo>
                    <a:pt x="5" y="45"/>
                  </a:moveTo>
                  <a:cubicBezTo>
                    <a:pt x="4" y="45"/>
                    <a:pt x="3" y="45"/>
                    <a:pt x="3" y="45"/>
                  </a:cubicBezTo>
                  <a:cubicBezTo>
                    <a:pt x="1" y="43"/>
                    <a:pt x="0" y="41"/>
                    <a:pt x="0" y="38"/>
                  </a:cubicBezTo>
                  <a:cubicBezTo>
                    <a:pt x="0" y="33"/>
                    <a:pt x="3" y="26"/>
                    <a:pt x="7" y="24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8" y="1"/>
                    <a:pt x="50" y="0"/>
                    <a:pt x="52" y="1"/>
                  </a:cubicBezTo>
                  <a:cubicBezTo>
                    <a:pt x="53" y="2"/>
                    <a:pt x="54" y="5"/>
                    <a:pt x="54" y="8"/>
                  </a:cubicBezTo>
                  <a:cubicBezTo>
                    <a:pt x="54" y="13"/>
                    <a:pt x="51" y="19"/>
                    <a:pt x="47" y="22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7" y="45"/>
                    <a:pt x="6" y="45"/>
                    <a:pt x="5" y="45"/>
                  </a:cubicBezTo>
                  <a:close/>
                  <a:moveTo>
                    <a:pt x="49" y="3"/>
                  </a:moveTo>
                  <a:cubicBezTo>
                    <a:pt x="48" y="3"/>
                    <a:pt x="48" y="3"/>
                    <a:pt x="47" y="4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5" y="28"/>
                    <a:pt x="2" y="34"/>
                    <a:pt x="2" y="38"/>
                  </a:cubicBezTo>
                  <a:cubicBezTo>
                    <a:pt x="2" y="40"/>
                    <a:pt x="3" y="42"/>
                    <a:pt x="4" y="42"/>
                  </a:cubicBezTo>
                  <a:cubicBezTo>
                    <a:pt x="5" y="43"/>
                    <a:pt x="6" y="43"/>
                    <a:pt x="7" y="42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9" y="18"/>
                    <a:pt x="52" y="12"/>
                    <a:pt x="52" y="8"/>
                  </a:cubicBezTo>
                  <a:cubicBezTo>
                    <a:pt x="52" y="6"/>
                    <a:pt x="51" y="4"/>
                    <a:pt x="50" y="3"/>
                  </a:cubicBezTo>
                  <a:cubicBezTo>
                    <a:pt x="50" y="3"/>
                    <a:pt x="50" y="3"/>
                    <a:pt x="49" y="3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5" name="Freeform 1439">
              <a:extLst>
                <a:ext uri="{FF2B5EF4-FFF2-40B4-BE49-F238E27FC236}">
                  <a16:creationId xmlns:a16="http://schemas.microsoft.com/office/drawing/2014/main" id="{15F1DA08-D1B0-4E4E-974F-13ECF4C732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963896" y="2713408"/>
              <a:ext cx="1599186" cy="921709"/>
            </a:xfrm>
            <a:custGeom>
              <a:avLst/>
              <a:gdLst>
                <a:gd name="T0" fmla="*/ 100 w 362"/>
                <a:gd name="T1" fmla="*/ 33 h 209"/>
                <a:gd name="T2" fmla="*/ 305 w 362"/>
                <a:gd name="T3" fmla="*/ 33 h 209"/>
                <a:gd name="T4" fmla="*/ 305 w 362"/>
                <a:gd name="T5" fmla="*/ 152 h 209"/>
                <a:gd name="T6" fmla="*/ 242 w 362"/>
                <a:gd name="T7" fmla="*/ 173 h 209"/>
                <a:gd name="T8" fmla="*/ 226 w 362"/>
                <a:gd name="T9" fmla="*/ 189 h 209"/>
                <a:gd name="T10" fmla="*/ 134 w 362"/>
                <a:gd name="T11" fmla="*/ 189 h 209"/>
                <a:gd name="T12" fmla="*/ 112 w 362"/>
                <a:gd name="T13" fmla="*/ 202 h 209"/>
                <a:gd name="T14" fmla="*/ 70 w 362"/>
                <a:gd name="T15" fmla="*/ 202 h 209"/>
                <a:gd name="T16" fmla="*/ 12 w 362"/>
                <a:gd name="T17" fmla="*/ 169 h 209"/>
                <a:gd name="T18" fmla="*/ 12 w 362"/>
                <a:gd name="T19" fmla="*/ 144 h 209"/>
                <a:gd name="T20" fmla="*/ 34 w 362"/>
                <a:gd name="T21" fmla="*/ 131 h 209"/>
                <a:gd name="T22" fmla="*/ 34 w 362"/>
                <a:gd name="T23" fmla="*/ 78 h 209"/>
                <a:gd name="T24" fmla="*/ 63 w 362"/>
                <a:gd name="T25" fmla="*/ 69 h 209"/>
                <a:gd name="T26" fmla="*/ 100 w 362"/>
                <a:gd name="T27" fmla="*/ 33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2" h="209">
                  <a:moveTo>
                    <a:pt x="100" y="33"/>
                  </a:moveTo>
                  <a:cubicBezTo>
                    <a:pt x="157" y="0"/>
                    <a:pt x="249" y="0"/>
                    <a:pt x="305" y="33"/>
                  </a:cubicBezTo>
                  <a:cubicBezTo>
                    <a:pt x="362" y="66"/>
                    <a:pt x="362" y="119"/>
                    <a:pt x="305" y="152"/>
                  </a:cubicBezTo>
                  <a:cubicBezTo>
                    <a:pt x="287" y="163"/>
                    <a:pt x="265" y="170"/>
                    <a:pt x="242" y="173"/>
                  </a:cubicBezTo>
                  <a:cubicBezTo>
                    <a:pt x="239" y="179"/>
                    <a:pt x="234" y="185"/>
                    <a:pt x="226" y="189"/>
                  </a:cubicBezTo>
                  <a:cubicBezTo>
                    <a:pt x="201" y="204"/>
                    <a:pt x="159" y="204"/>
                    <a:pt x="134" y="189"/>
                  </a:cubicBezTo>
                  <a:cubicBezTo>
                    <a:pt x="112" y="202"/>
                    <a:pt x="112" y="202"/>
                    <a:pt x="112" y="202"/>
                  </a:cubicBezTo>
                  <a:cubicBezTo>
                    <a:pt x="100" y="209"/>
                    <a:pt x="81" y="209"/>
                    <a:pt x="70" y="202"/>
                  </a:cubicBezTo>
                  <a:cubicBezTo>
                    <a:pt x="12" y="169"/>
                    <a:pt x="12" y="169"/>
                    <a:pt x="12" y="169"/>
                  </a:cubicBezTo>
                  <a:cubicBezTo>
                    <a:pt x="0" y="162"/>
                    <a:pt x="0" y="151"/>
                    <a:pt x="12" y="144"/>
                  </a:cubicBezTo>
                  <a:cubicBezTo>
                    <a:pt x="34" y="131"/>
                    <a:pt x="34" y="131"/>
                    <a:pt x="34" y="131"/>
                  </a:cubicBezTo>
                  <a:cubicBezTo>
                    <a:pt x="9" y="117"/>
                    <a:pt x="9" y="93"/>
                    <a:pt x="34" y="78"/>
                  </a:cubicBezTo>
                  <a:cubicBezTo>
                    <a:pt x="43" y="74"/>
                    <a:pt x="53" y="70"/>
                    <a:pt x="63" y="69"/>
                  </a:cubicBezTo>
                  <a:cubicBezTo>
                    <a:pt x="70" y="56"/>
                    <a:pt x="82" y="43"/>
                    <a:pt x="100" y="33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6" name="Freeform 1440">
              <a:extLst>
                <a:ext uri="{FF2B5EF4-FFF2-40B4-BE49-F238E27FC236}">
                  <a16:creationId xmlns:a16="http://schemas.microsoft.com/office/drawing/2014/main" id="{416FA4C4-DEB4-4D3A-8C36-C9E10ED117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63896" y="2602973"/>
              <a:ext cx="1550339" cy="945071"/>
            </a:xfrm>
            <a:custGeom>
              <a:avLst/>
              <a:gdLst>
                <a:gd name="T0" fmla="*/ 91 w 351"/>
                <a:gd name="T1" fmla="*/ 214 h 214"/>
                <a:gd name="T2" fmla="*/ 114 w 351"/>
                <a:gd name="T3" fmla="*/ 208 h 214"/>
                <a:gd name="T4" fmla="*/ 134 w 351"/>
                <a:gd name="T5" fmla="*/ 196 h 214"/>
                <a:gd name="T6" fmla="*/ 228 w 351"/>
                <a:gd name="T7" fmla="*/ 195 h 214"/>
                <a:gd name="T8" fmla="*/ 244 w 351"/>
                <a:gd name="T9" fmla="*/ 180 h 214"/>
                <a:gd name="T10" fmla="*/ 307 w 351"/>
                <a:gd name="T11" fmla="*/ 158 h 214"/>
                <a:gd name="T12" fmla="*/ 351 w 351"/>
                <a:gd name="T13" fmla="*/ 95 h 214"/>
                <a:gd name="T14" fmla="*/ 307 w 351"/>
                <a:gd name="T15" fmla="*/ 33 h 214"/>
                <a:gd name="T16" fmla="*/ 98 w 351"/>
                <a:gd name="T17" fmla="*/ 33 h 214"/>
                <a:gd name="T18" fmla="*/ 98 w 351"/>
                <a:gd name="T19" fmla="*/ 33 h 214"/>
                <a:gd name="T20" fmla="*/ 61 w 351"/>
                <a:gd name="T21" fmla="*/ 68 h 214"/>
                <a:gd name="T22" fmla="*/ 33 w 351"/>
                <a:gd name="T23" fmla="*/ 78 h 214"/>
                <a:gd name="T24" fmla="*/ 12 w 351"/>
                <a:gd name="T25" fmla="*/ 108 h 214"/>
                <a:gd name="T26" fmla="*/ 28 w 351"/>
                <a:gd name="T27" fmla="*/ 134 h 214"/>
                <a:gd name="T28" fmla="*/ 10 w 351"/>
                <a:gd name="T29" fmla="*/ 144 h 214"/>
                <a:gd name="T30" fmla="*/ 0 w 351"/>
                <a:gd name="T31" fmla="*/ 159 h 214"/>
                <a:gd name="T32" fmla="*/ 10 w 351"/>
                <a:gd name="T33" fmla="*/ 175 h 214"/>
                <a:gd name="T34" fmla="*/ 68 w 351"/>
                <a:gd name="T35" fmla="*/ 208 h 214"/>
                <a:gd name="T36" fmla="*/ 91 w 351"/>
                <a:gd name="T37" fmla="*/ 214 h 214"/>
                <a:gd name="T38" fmla="*/ 134 w 351"/>
                <a:gd name="T39" fmla="*/ 188 h 214"/>
                <a:gd name="T40" fmla="*/ 110 w 351"/>
                <a:gd name="T41" fmla="*/ 202 h 214"/>
                <a:gd name="T42" fmla="*/ 72 w 351"/>
                <a:gd name="T43" fmla="*/ 202 h 214"/>
                <a:gd name="T44" fmla="*/ 14 w 351"/>
                <a:gd name="T45" fmla="*/ 168 h 214"/>
                <a:gd name="T46" fmla="*/ 7 w 351"/>
                <a:gd name="T47" fmla="*/ 159 h 214"/>
                <a:gd name="T48" fmla="*/ 14 w 351"/>
                <a:gd name="T49" fmla="*/ 150 h 214"/>
                <a:gd name="T50" fmla="*/ 41 w 351"/>
                <a:gd name="T51" fmla="*/ 134 h 214"/>
                <a:gd name="T52" fmla="*/ 36 w 351"/>
                <a:gd name="T53" fmla="*/ 131 h 214"/>
                <a:gd name="T54" fmla="*/ 19 w 351"/>
                <a:gd name="T55" fmla="*/ 108 h 214"/>
                <a:gd name="T56" fmla="*/ 36 w 351"/>
                <a:gd name="T57" fmla="*/ 84 h 214"/>
                <a:gd name="T58" fmla="*/ 64 w 351"/>
                <a:gd name="T59" fmla="*/ 75 h 214"/>
                <a:gd name="T60" fmla="*/ 66 w 351"/>
                <a:gd name="T61" fmla="*/ 75 h 214"/>
                <a:gd name="T62" fmla="*/ 66 w 351"/>
                <a:gd name="T63" fmla="*/ 73 h 214"/>
                <a:gd name="T64" fmla="*/ 102 w 351"/>
                <a:gd name="T65" fmla="*/ 39 h 214"/>
                <a:gd name="T66" fmla="*/ 102 w 351"/>
                <a:gd name="T67" fmla="*/ 39 h 214"/>
                <a:gd name="T68" fmla="*/ 304 w 351"/>
                <a:gd name="T69" fmla="*/ 39 h 214"/>
                <a:gd name="T70" fmla="*/ 344 w 351"/>
                <a:gd name="T71" fmla="*/ 95 h 214"/>
                <a:gd name="T72" fmla="*/ 304 w 351"/>
                <a:gd name="T73" fmla="*/ 152 h 214"/>
                <a:gd name="T74" fmla="*/ 242 w 351"/>
                <a:gd name="T75" fmla="*/ 173 h 214"/>
                <a:gd name="T76" fmla="*/ 240 w 351"/>
                <a:gd name="T77" fmla="*/ 173 h 214"/>
                <a:gd name="T78" fmla="*/ 239 w 351"/>
                <a:gd name="T79" fmla="*/ 175 h 214"/>
                <a:gd name="T80" fmla="*/ 224 w 351"/>
                <a:gd name="T81" fmla="*/ 189 h 214"/>
                <a:gd name="T82" fmla="*/ 136 w 351"/>
                <a:gd name="T83" fmla="*/ 189 h 214"/>
                <a:gd name="T84" fmla="*/ 134 w 351"/>
                <a:gd name="T85" fmla="*/ 188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1" h="214">
                  <a:moveTo>
                    <a:pt x="91" y="214"/>
                  </a:moveTo>
                  <a:cubicBezTo>
                    <a:pt x="99" y="214"/>
                    <a:pt x="107" y="212"/>
                    <a:pt x="114" y="208"/>
                  </a:cubicBezTo>
                  <a:cubicBezTo>
                    <a:pt x="134" y="196"/>
                    <a:pt x="134" y="196"/>
                    <a:pt x="134" y="196"/>
                  </a:cubicBezTo>
                  <a:cubicBezTo>
                    <a:pt x="161" y="210"/>
                    <a:pt x="202" y="210"/>
                    <a:pt x="228" y="195"/>
                  </a:cubicBezTo>
                  <a:cubicBezTo>
                    <a:pt x="235" y="191"/>
                    <a:pt x="241" y="185"/>
                    <a:pt x="244" y="180"/>
                  </a:cubicBezTo>
                  <a:cubicBezTo>
                    <a:pt x="268" y="176"/>
                    <a:pt x="290" y="168"/>
                    <a:pt x="307" y="158"/>
                  </a:cubicBezTo>
                  <a:cubicBezTo>
                    <a:pt x="336" y="141"/>
                    <a:pt x="351" y="119"/>
                    <a:pt x="351" y="95"/>
                  </a:cubicBezTo>
                  <a:cubicBezTo>
                    <a:pt x="351" y="72"/>
                    <a:pt x="336" y="50"/>
                    <a:pt x="307" y="33"/>
                  </a:cubicBezTo>
                  <a:cubicBezTo>
                    <a:pt x="249" y="0"/>
                    <a:pt x="156" y="0"/>
                    <a:pt x="98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81" y="43"/>
                    <a:pt x="68" y="55"/>
                    <a:pt x="61" y="68"/>
                  </a:cubicBezTo>
                  <a:cubicBezTo>
                    <a:pt x="50" y="70"/>
                    <a:pt x="40" y="74"/>
                    <a:pt x="33" y="78"/>
                  </a:cubicBezTo>
                  <a:cubicBezTo>
                    <a:pt x="19" y="86"/>
                    <a:pt x="12" y="96"/>
                    <a:pt x="12" y="108"/>
                  </a:cubicBezTo>
                  <a:cubicBezTo>
                    <a:pt x="12" y="118"/>
                    <a:pt x="17" y="127"/>
                    <a:pt x="28" y="134"/>
                  </a:cubicBezTo>
                  <a:cubicBezTo>
                    <a:pt x="10" y="144"/>
                    <a:pt x="10" y="144"/>
                    <a:pt x="10" y="144"/>
                  </a:cubicBezTo>
                  <a:cubicBezTo>
                    <a:pt x="4" y="148"/>
                    <a:pt x="0" y="153"/>
                    <a:pt x="0" y="159"/>
                  </a:cubicBezTo>
                  <a:cubicBezTo>
                    <a:pt x="0" y="165"/>
                    <a:pt x="4" y="171"/>
                    <a:pt x="10" y="175"/>
                  </a:cubicBezTo>
                  <a:cubicBezTo>
                    <a:pt x="68" y="208"/>
                    <a:pt x="68" y="208"/>
                    <a:pt x="68" y="208"/>
                  </a:cubicBezTo>
                  <a:cubicBezTo>
                    <a:pt x="74" y="212"/>
                    <a:pt x="83" y="214"/>
                    <a:pt x="91" y="214"/>
                  </a:cubicBezTo>
                  <a:close/>
                  <a:moveTo>
                    <a:pt x="134" y="188"/>
                  </a:moveTo>
                  <a:cubicBezTo>
                    <a:pt x="110" y="202"/>
                    <a:pt x="110" y="202"/>
                    <a:pt x="110" y="202"/>
                  </a:cubicBezTo>
                  <a:cubicBezTo>
                    <a:pt x="100" y="208"/>
                    <a:pt x="82" y="208"/>
                    <a:pt x="72" y="202"/>
                  </a:cubicBezTo>
                  <a:cubicBezTo>
                    <a:pt x="14" y="168"/>
                    <a:pt x="14" y="168"/>
                    <a:pt x="14" y="168"/>
                  </a:cubicBezTo>
                  <a:cubicBezTo>
                    <a:pt x="9" y="166"/>
                    <a:pt x="7" y="163"/>
                    <a:pt x="7" y="159"/>
                  </a:cubicBezTo>
                  <a:cubicBezTo>
                    <a:pt x="7" y="156"/>
                    <a:pt x="9" y="153"/>
                    <a:pt x="14" y="150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36" y="131"/>
                    <a:pt x="36" y="131"/>
                    <a:pt x="36" y="131"/>
                  </a:cubicBezTo>
                  <a:cubicBezTo>
                    <a:pt x="25" y="125"/>
                    <a:pt x="19" y="116"/>
                    <a:pt x="19" y="108"/>
                  </a:cubicBezTo>
                  <a:cubicBezTo>
                    <a:pt x="19" y="99"/>
                    <a:pt x="25" y="91"/>
                    <a:pt x="36" y="84"/>
                  </a:cubicBezTo>
                  <a:cubicBezTo>
                    <a:pt x="44" y="80"/>
                    <a:pt x="53" y="77"/>
                    <a:pt x="64" y="75"/>
                  </a:cubicBezTo>
                  <a:cubicBezTo>
                    <a:pt x="66" y="75"/>
                    <a:pt x="66" y="75"/>
                    <a:pt x="66" y="75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3" y="61"/>
                    <a:pt x="85" y="49"/>
                    <a:pt x="102" y="39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57" y="7"/>
                    <a:pt x="248" y="7"/>
                    <a:pt x="304" y="39"/>
                  </a:cubicBezTo>
                  <a:cubicBezTo>
                    <a:pt x="330" y="54"/>
                    <a:pt x="344" y="74"/>
                    <a:pt x="344" y="95"/>
                  </a:cubicBezTo>
                  <a:cubicBezTo>
                    <a:pt x="344" y="117"/>
                    <a:pt x="330" y="137"/>
                    <a:pt x="304" y="152"/>
                  </a:cubicBezTo>
                  <a:cubicBezTo>
                    <a:pt x="286" y="162"/>
                    <a:pt x="265" y="169"/>
                    <a:pt x="242" y="173"/>
                  </a:cubicBezTo>
                  <a:cubicBezTo>
                    <a:pt x="240" y="173"/>
                    <a:pt x="240" y="173"/>
                    <a:pt x="240" y="173"/>
                  </a:cubicBezTo>
                  <a:cubicBezTo>
                    <a:pt x="239" y="175"/>
                    <a:pt x="239" y="175"/>
                    <a:pt x="239" y="175"/>
                  </a:cubicBezTo>
                  <a:cubicBezTo>
                    <a:pt x="236" y="180"/>
                    <a:pt x="231" y="185"/>
                    <a:pt x="224" y="189"/>
                  </a:cubicBezTo>
                  <a:cubicBezTo>
                    <a:pt x="200" y="203"/>
                    <a:pt x="160" y="203"/>
                    <a:pt x="136" y="189"/>
                  </a:cubicBezTo>
                  <a:lnTo>
                    <a:pt x="134" y="188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7" name="Freeform 1441">
              <a:extLst>
                <a:ext uri="{FF2B5EF4-FFF2-40B4-BE49-F238E27FC236}">
                  <a16:creationId xmlns:a16="http://schemas.microsoft.com/office/drawing/2014/main" id="{780B1FE7-81DF-4781-A047-3915B998A8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75354" y="3176386"/>
              <a:ext cx="392895" cy="229365"/>
            </a:xfrm>
            <a:custGeom>
              <a:avLst/>
              <a:gdLst>
                <a:gd name="T0" fmla="*/ 16 w 89"/>
                <a:gd name="T1" fmla="*/ 10 h 52"/>
                <a:gd name="T2" fmla="*/ 16 w 89"/>
                <a:gd name="T3" fmla="*/ 43 h 52"/>
                <a:gd name="T4" fmla="*/ 73 w 89"/>
                <a:gd name="T5" fmla="*/ 43 h 52"/>
                <a:gd name="T6" fmla="*/ 73 w 89"/>
                <a:gd name="T7" fmla="*/ 10 h 52"/>
                <a:gd name="T8" fmla="*/ 16 w 89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52">
                  <a:moveTo>
                    <a:pt x="16" y="10"/>
                  </a:moveTo>
                  <a:cubicBezTo>
                    <a:pt x="0" y="19"/>
                    <a:pt x="0" y="34"/>
                    <a:pt x="16" y="43"/>
                  </a:cubicBezTo>
                  <a:cubicBezTo>
                    <a:pt x="32" y="52"/>
                    <a:pt x="57" y="52"/>
                    <a:pt x="73" y="43"/>
                  </a:cubicBezTo>
                  <a:cubicBezTo>
                    <a:pt x="89" y="34"/>
                    <a:pt x="89" y="19"/>
                    <a:pt x="73" y="10"/>
                  </a:cubicBezTo>
                  <a:cubicBezTo>
                    <a:pt x="57" y="0"/>
                    <a:pt x="32" y="0"/>
                    <a:pt x="16" y="1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8" name="Freeform 1442">
              <a:extLst>
                <a:ext uri="{FF2B5EF4-FFF2-40B4-BE49-F238E27FC236}">
                  <a16:creationId xmlns:a16="http://schemas.microsoft.com/office/drawing/2014/main" id="{2E3799DF-AB8B-4E65-8891-F229ED7DCE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79601" y="3091436"/>
              <a:ext cx="392895" cy="252727"/>
            </a:xfrm>
            <a:custGeom>
              <a:avLst/>
              <a:gdLst>
                <a:gd name="T0" fmla="*/ 44 w 89"/>
                <a:gd name="T1" fmla="*/ 57 h 57"/>
                <a:gd name="T2" fmla="*/ 75 w 89"/>
                <a:gd name="T3" fmla="*/ 49 h 57"/>
                <a:gd name="T4" fmla="*/ 89 w 89"/>
                <a:gd name="T5" fmla="*/ 29 h 57"/>
                <a:gd name="T6" fmla="*/ 75 w 89"/>
                <a:gd name="T7" fmla="*/ 10 h 57"/>
                <a:gd name="T8" fmla="*/ 14 w 89"/>
                <a:gd name="T9" fmla="*/ 10 h 57"/>
                <a:gd name="T10" fmla="*/ 14 w 89"/>
                <a:gd name="T11" fmla="*/ 10 h 57"/>
                <a:gd name="T12" fmla="*/ 0 w 89"/>
                <a:gd name="T13" fmla="*/ 29 h 57"/>
                <a:gd name="T14" fmla="*/ 14 w 89"/>
                <a:gd name="T15" fmla="*/ 49 h 57"/>
                <a:gd name="T16" fmla="*/ 44 w 89"/>
                <a:gd name="T17" fmla="*/ 57 h 57"/>
                <a:gd name="T18" fmla="*/ 44 w 89"/>
                <a:gd name="T19" fmla="*/ 9 h 57"/>
                <a:gd name="T20" fmla="*/ 71 w 89"/>
                <a:gd name="T21" fmla="*/ 16 h 57"/>
                <a:gd name="T22" fmla="*/ 82 w 89"/>
                <a:gd name="T23" fmla="*/ 29 h 57"/>
                <a:gd name="T24" fmla="*/ 71 w 89"/>
                <a:gd name="T25" fmla="*/ 43 h 57"/>
                <a:gd name="T26" fmla="*/ 17 w 89"/>
                <a:gd name="T27" fmla="*/ 43 h 57"/>
                <a:gd name="T28" fmla="*/ 7 w 89"/>
                <a:gd name="T29" fmla="*/ 29 h 57"/>
                <a:gd name="T30" fmla="*/ 17 w 89"/>
                <a:gd name="T31" fmla="*/ 16 h 57"/>
                <a:gd name="T32" fmla="*/ 44 w 89"/>
                <a:gd name="T33" fmla="*/ 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57">
                  <a:moveTo>
                    <a:pt x="44" y="57"/>
                  </a:moveTo>
                  <a:cubicBezTo>
                    <a:pt x="55" y="57"/>
                    <a:pt x="66" y="54"/>
                    <a:pt x="75" y="49"/>
                  </a:cubicBezTo>
                  <a:cubicBezTo>
                    <a:pt x="84" y="44"/>
                    <a:pt x="89" y="37"/>
                    <a:pt x="89" y="29"/>
                  </a:cubicBezTo>
                  <a:cubicBezTo>
                    <a:pt x="89" y="22"/>
                    <a:pt x="84" y="15"/>
                    <a:pt x="75" y="10"/>
                  </a:cubicBezTo>
                  <a:cubicBezTo>
                    <a:pt x="58" y="0"/>
                    <a:pt x="31" y="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5" y="15"/>
                    <a:pt x="0" y="22"/>
                    <a:pt x="0" y="29"/>
                  </a:cubicBezTo>
                  <a:cubicBezTo>
                    <a:pt x="0" y="37"/>
                    <a:pt x="5" y="44"/>
                    <a:pt x="14" y="49"/>
                  </a:cubicBezTo>
                  <a:cubicBezTo>
                    <a:pt x="22" y="54"/>
                    <a:pt x="33" y="57"/>
                    <a:pt x="44" y="57"/>
                  </a:cubicBezTo>
                  <a:close/>
                  <a:moveTo>
                    <a:pt x="44" y="9"/>
                  </a:moveTo>
                  <a:cubicBezTo>
                    <a:pt x="54" y="9"/>
                    <a:pt x="64" y="11"/>
                    <a:pt x="71" y="16"/>
                  </a:cubicBezTo>
                  <a:cubicBezTo>
                    <a:pt x="78" y="19"/>
                    <a:pt x="82" y="24"/>
                    <a:pt x="82" y="29"/>
                  </a:cubicBezTo>
                  <a:cubicBezTo>
                    <a:pt x="82" y="34"/>
                    <a:pt x="78" y="39"/>
                    <a:pt x="71" y="43"/>
                  </a:cubicBezTo>
                  <a:cubicBezTo>
                    <a:pt x="56" y="52"/>
                    <a:pt x="32" y="52"/>
                    <a:pt x="17" y="43"/>
                  </a:cubicBezTo>
                  <a:cubicBezTo>
                    <a:pt x="11" y="39"/>
                    <a:pt x="7" y="34"/>
                    <a:pt x="7" y="29"/>
                  </a:cubicBezTo>
                  <a:cubicBezTo>
                    <a:pt x="7" y="24"/>
                    <a:pt x="11" y="19"/>
                    <a:pt x="17" y="16"/>
                  </a:cubicBezTo>
                  <a:cubicBezTo>
                    <a:pt x="25" y="11"/>
                    <a:pt x="35" y="9"/>
                    <a:pt x="44" y="9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9" name="Freeform 1443">
              <a:extLst>
                <a:ext uri="{FF2B5EF4-FFF2-40B4-BE49-F238E27FC236}">
                  <a16:creationId xmlns:a16="http://schemas.microsoft.com/office/drawing/2014/main" id="{32BEB638-A385-48CF-9FF8-69757A5F2D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03696" y="2964011"/>
              <a:ext cx="397142" cy="229365"/>
            </a:xfrm>
            <a:custGeom>
              <a:avLst/>
              <a:gdLst>
                <a:gd name="T0" fmla="*/ 16 w 90"/>
                <a:gd name="T1" fmla="*/ 10 h 52"/>
                <a:gd name="T2" fmla="*/ 16 w 90"/>
                <a:gd name="T3" fmla="*/ 43 h 52"/>
                <a:gd name="T4" fmla="*/ 74 w 90"/>
                <a:gd name="T5" fmla="*/ 43 h 52"/>
                <a:gd name="T6" fmla="*/ 74 w 90"/>
                <a:gd name="T7" fmla="*/ 10 h 52"/>
                <a:gd name="T8" fmla="*/ 16 w 90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52">
                  <a:moveTo>
                    <a:pt x="16" y="10"/>
                  </a:moveTo>
                  <a:cubicBezTo>
                    <a:pt x="0" y="19"/>
                    <a:pt x="0" y="34"/>
                    <a:pt x="16" y="43"/>
                  </a:cubicBezTo>
                  <a:cubicBezTo>
                    <a:pt x="32" y="52"/>
                    <a:pt x="58" y="52"/>
                    <a:pt x="74" y="43"/>
                  </a:cubicBezTo>
                  <a:cubicBezTo>
                    <a:pt x="90" y="34"/>
                    <a:pt x="90" y="19"/>
                    <a:pt x="74" y="10"/>
                  </a:cubicBezTo>
                  <a:cubicBezTo>
                    <a:pt x="58" y="0"/>
                    <a:pt x="32" y="0"/>
                    <a:pt x="16" y="1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0" name="Freeform 1444">
              <a:extLst>
                <a:ext uri="{FF2B5EF4-FFF2-40B4-BE49-F238E27FC236}">
                  <a16:creationId xmlns:a16="http://schemas.microsoft.com/office/drawing/2014/main" id="{0D7E02E6-F376-42F5-B5A3-6D1CC75D38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12191" y="2876936"/>
              <a:ext cx="388647" cy="250603"/>
            </a:xfrm>
            <a:custGeom>
              <a:avLst/>
              <a:gdLst>
                <a:gd name="T0" fmla="*/ 44 w 88"/>
                <a:gd name="T1" fmla="*/ 57 h 57"/>
                <a:gd name="T2" fmla="*/ 75 w 88"/>
                <a:gd name="T3" fmla="*/ 50 h 57"/>
                <a:gd name="T4" fmla="*/ 88 w 88"/>
                <a:gd name="T5" fmla="*/ 30 h 57"/>
                <a:gd name="T6" fmla="*/ 75 w 88"/>
                <a:gd name="T7" fmla="*/ 10 h 57"/>
                <a:gd name="T8" fmla="*/ 13 w 88"/>
                <a:gd name="T9" fmla="*/ 10 h 57"/>
                <a:gd name="T10" fmla="*/ 13 w 88"/>
                <a:gd name="T11" fmla="*/ 10 h 57"/>
                <a:gd name="T12" fmla="*/ 0 w 88"/>
                <a:gd name="T13" fmla="*/ 30 h 57"/>
                <a:gd name="T14" fmla="*/ 13 w 88"/>
                <a:gd name="T15" fmla="*/ 50 h 57"/>
                <a:gd name="T16" fmla="*/ 44 w 88"/>
                <a:gd name="T17" fmla="*/ 57 h 57"/>
                <a:gd name="T18" fmla="*/ 44 w 88"/>
                <a:gd name="T19" fmla="*/ 10 h 57"/>
                <a:gd name="T20" fmla="*/ 71 w 88"/>
                <a:gd name="T21" fmla="*/ 17 h 57"/>
                <a:gd name="T22" fmla="*/ 81 w 88"/>
                <a:gd name="T23" fmla="*/ 30 h 57"/>
                <a:gd name="T24" fmla="*/ 71 w 88"/>
                <a:gd name="T25" fmla="*/ 44 h 57"/>
                <a:gd name="T26" fmla="*/ 17 w 88"/>
                <a:gd name="T27" fmla="*/ 44 h 57"/>
                <a:gd name="T28" fmla="*/ 7 w 88"/>
                <a:gd name="T29" fmla="*/ 30 h 57"/>
                <a:gd name="T30" fmla="*/ 17 w 88"/>
                <a:gd name="T31" fmla="*/ 17 h 57"/>
                <a:gd name="T32" fmla="*/ 44 w 88"/>
                <a:gd name="T33" fmla="*/ 1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57">
                  <a:moveTo>
                    <a:pt x="44" y="57"/>
                  </a:moveTo>
                  <a:cubicBezTo>
                    <a:pt x="55" y="57"/>
                    <a:pt x="66" y="55"/>
                    <a:pt x="75" y="50"/>
                  </a:cubicBezTo>
                  <a:cubicBezTo>
                    <a:pt x="84" y="45"/>
                    <a:pt x="88" y="38"/>
                    <a:pt x="88" y="30"/>
                  </a:cubicBezTo>
                  <a:cubicBezTo>
                    <a:pt x="88" y="22"/>
                    <a:pt x="84" y="15"/>
                    <a:pt x="75" y="10"/>
                  </a:cubicBezTo>
                  <a:cubicBezTo>
                    <a:pt x="57" y="0"/>
                    <a:pt x="31" y="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5" y="15"/>
                    <a:pt x="0" y="22"/>
                    <a:pt x="0" y="30"/>
                  </a:cubicBezTo>
                  <a:cubicBezTo>
                    <a:pt x="0" y="38"/>
                    <a:pt x="5" y="45"/>
                    <a:pt x="13" y="50"/>
                  </a:cubicBezTo>
                  <a:cubicBezTo>
                    <a:pt x="22" y="55"/>
                    <a:pt x="33" y="57"/>
                    <a:pt x="44" y="57"/>
                  </a:cubicBezTo>
                  <a:close/>
                  <a:moveTo>
                    <a:pt x="44" y="10"/>
                  </a:moveTo>
                  <a:cubicBezTo>
                    <a:pt x="54" y="10"/>
                    <a:pt x="64" y="12"/>
                    <a:pt x="71" y="17"/>
                  </a:cubicBezTo>
                  <a:cubicBezTo>
                    <a:pt x="78" y="20"/>
                    <a:pt x="81" y="25"/>
                    <a:pt x="81" y="30"/>
                  </a:cubicBezTo>
                  <a:cubicBezTo>
                    <a:pt x="81" y="35"/>
                    <a:pt x="78" y="40"/>
                    <a:pt x="71" y="44"/>
                  </a:cubicBezTo>
                  <a:cubicBezTo>
                    <a:pt x="56" y="52"/>
                    <a:pt x="32" y="52"/>
                    <a:pt x="17" y="44"/>
                  </a:cubicBezTo>
                  <a:cubicBezTo>
                    <a:pt x="10" y="40"/>
                    <a:pt x="7" y="35"/>
                    <a:pt x="7" y="30"/>
                  </a:cubicBezTo>
                  <a:cubicBezTo>
                    <a:pt x="7" y="25"/>
                    <a:pt x="10" y="20"/>
                    <a:pt x="17" y="17"/>
                  </a:cubicBezTo>
                  <a:cubicBezTo>
                    <a:pt x="24" y="12"/>
                    <a:pt x="34" y="10"/>
                    <a:pt x="44" y="1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1" name="Freeform 1445">
              <a:extLst>
                <a:ext uri="{FF2B5EF4-FFF2-40B4-BE49-F238E27FC236}">
                  <a16:creationId xmlns:a16="http://schemas.microsoft.com/office/drawing/2014/main" id="{73B30A22-83CD-4D68-A6F3-CFAC206F2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12191" y="3278326"/>
              <a:ext cx="235737" cy="127425"/>
            </a:xfrm>
            <a:custGeom>
              <a:avLst/>
              <a:gdLst>
                <a:gd name="T0" fmla="*/ 50 w 53"/>
                <a:gd name="T1" fmla="*/ 8 h 29"/>
                <a:gd name="T2" fmla="*/ 43 w 53"/>
                <a:gd name="T3" fmla="*/ 24 h 29"/>
                <a:gd name="T4" fmla="*/ 25 w 53"/>
                <a:gd name="T5" fmla="*/ 26 h 29"/>
                <a:gd name="T6" fmla="*/ 6 w 53"/>
                <a:gd name="T7" fmla="*/ 15 h 29"/>
                <a:gd name="T8" fmla="*/ 11 w 53"/>
                <a:gd name="T9" fmla="*/ 5 h 29"/>
                <a:gd name="T10" fmla="*/ 38 w 53"/>
                <a:gd name="T11" fmla="*/ 1 h 29"/>
                <a:gd name="T12" fmla="*/ 50 w 53"/>
                <a:gd name="T1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29">
                  <a:moveTo>
                    <a:pt x="50" y="8"/>
                  </a:moveTo>
                  <a:cubicBezTo>
                    <a:pt x="43" y="24"/>
                    <a:pt x="43" y="24"/>
                    <a:pt x="43" y="24"/>
                  </a:cubicBezTo>
                  <a:cubicBezTo>
                    <a:pt x="40" y="28"/>
                    <a:pt x="31" y="29"/>
                    <a:pt x="25" y="2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0" y="12"/>
                    <a:pt x="3" y="6"/>
                    <a:pt x="11" y="5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6" y="0"/>
                    <a:pt x="53" y="4"/>
                    <a:pt x="50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2" name="Freeform 1446">
              <a:extLst>
                <a:ext uri="{FF2B5EF4-FFF2-40B4-BE49-F238E27FC236}">
                  <a16:creationId xmlns:a16="http://schemas.microsoft.com/office/drawing/2014/main" id="{2052F045-60E1-4919-8E08-63249F430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12191" y="3189129"/>
              <a:ext cx="248480" cy="155035"/>
            </a:xfrm>
            <a:custGeom>
              <a:avLst/>
              <a:gdLst>
                <a:gd name="T0" fmla="*/ 34 w 56"/>
                <a:gd name="T1" fmla="*/ 35 h 35"/>
                <a:gd name="T2" fmla="*/ 39 w 56"/>
                <a:gd name="T3" fmla="*/ 35 h 35"/>
                <a:gd name="T4" fmla="*/ 47 w 56"/>
                <a:gd name="T5" fmla="*/ 29 h 35"/>
                <a:gd name="T6" fmla="*/ 54 w 56"/>
                <a:gd name="T7" fmla="*/ 14 h 35"/>
                <a:gd name="T8" fmla="*/ 54 w 56"/>
                <a:gd name="T9" fmla="*/ 6 h 35"/>
                <a:gd name="T10" fmla="*/ 38 w 56"/>
                <a:gd name="T11" fmla="*/ 1 h 35"/>
                <a:gd name="T12" fmla="*/ 11 w 56"/>
                <a:gd name="T13" fmla="*/ 5 h 35"/>
                <a:gd name="T14" fmla="*/ 0 w 56"/>
                <a:gd name="T15" fmla="*/ 13 h 35"/>
                <a:gd name="T16" fmla="*/ 5 w 56"/>
                <a:gd name="T17" fmla="*/ 22 h 35"/>
                <a:gd name="T18" fmla="*/ 24 w 56"/>
                <a:gd name="T19" fmla="*/ 33 h 35"/>
                <a:gd name="T20" fmla="*/ 34 w 56"/>
                <a:gd name="T21" fmla="*/ 35 h 35"/>
                <a:gd name="T22" fmla="*/ 41 w 56"/>
                <a:gd name="T23" fmla="*/ 8 h 35"/>
                <a:gd name="T24" fmla="*/ 48 w 56"/>
                <a:gd name="T25" fmla="*/ 10 h 35"/>
                <a:gd name="T26" fmla="*/ 48 w 56"/>
                <a:gd name="T27" fmla="*/ 11 h 35"/>
                <a:gd name="T28" fmla="*/ 40 w 56"/>
                <a:gd name="T29" fmla="*/ 26 h 35"/>
                <a:gd name="T30" fmla="*/ 37 w 56"/>
                <a:gd name="T31" fmla="*/ 28 h 35"/>
                <a:gd name="T32" fmla="*/ 28 w 56"/>
                <a:gd name="T33" fmla="*/ 27 h 35"/>
                <a:gd name="T34" fmla="*/ 9 w 56"/>
                <a:gd name="T35" fmla="*/ 16 h 35"/>
                <a:gd name="T36" fmla="*/ 7 w 56"/>
                <a:gd name="T37" fmla="*/ 15 h 35"/>
                <a:gd name="T38" fmla="*/ 12 w 56"/>
                <a:gd name="T39" fmla="*/ 12 h 35"/>
                <a:gd name="T40" fmla="*/ 39 w 56"/>
                <a:gd name="T41" fmla="*/ 8 h 35"/>
                <a:gd name="T42" fmla="*/ 41 w 56"/>
                <a:gd name="T43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35">
                  <a:moveTo>
                    <a:pt x="34" y="35"/>
                  </a:moveTo>
                  <a:cubicBezTo>
                    <a:pt x="35" y="35"/>
                    <a:pt x="37" y="35"/>
                    <a:pt x="39" y="35"/>
                  </a:cubicBezTo>
                  <a:cubicBezTo>
                    <a:pt x="43" y="34"/>
                    <a:pt x="45" y="32"/>
                    <a:pt x="47" y="29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6" y="11"/>
                    <a:pt x="55" y="8"/>
                    <a:pt x="54" y="6"/>
                  </a:cubicBezTo>
                  <a:cubicBezTo>
                    <a:pt x="51" y="2"/>
                    <a:pt x="44" y="0"/>
                    <a:pt x="38" y="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6"/>
                    <a:pt x="1" y="9"/>
                    <a:pt x="0" y="13"/>
                  </a:cubicBezTo>
                  <a:cubicBezTo>
                    <a:pt x="0" y="17"/>
                    <a:pt x="2" y="20"/>
                    <a:pt x="5" y="2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7" y="35"/>
                    <a:pt x="30" y="35"/>
                    <a:pt x="34" y="35"/>
                  </a:cubicBezTo>
                  <a:close/>
                  <a:moveTo>
                    <a:pt x="41" y="8"/>
                  </a:moveTo>
                  <a:cubicBezTo>
                    <a:pt x="45" y="8"/>
                    <a:pt x="48" y="10"/>
                    <a:pt x="48" y="10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39" y="27"/>
                    <a:pt x="37" y="28"/>
                  </a:cubicBezTo>
                  <a:cubicBezTo>
                    <a:pt x="34" y="29"/>
                    <a:pt x="30" y="28"/>
                    <a:pt x="28" y="2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5"/>
                    <a:pt x="7" y="15"/>
                    <a:pt x="7" y="15"/>
                  </a:cubicBezTo>
                  <a:cubicBezTo>
                    <a:pt x="7" y="14"/>
                    <a:pt x="9" y="13"/>
                    <a:pt x="12" y="12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8"/>
                    <a:pt x="41" y="8"/>
                    <a:pt x="41" y="8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3" name="Freeform 1447">
              <a:extLst>
                <a:ext uri="{FF2B5EF4-FFF2-40B4-BE49-F238E27FC236}">
                  <a16:creationId xmlns:a16="http://schemas.microsoft.com/office/drawing/2014/main" id="{5E7503BD-29CA-4904-A305-9E562A22D0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95649" y="3376019"/>
              <a:ext cx="1919872" cy="651993"/>
            </a:xfrm>
            <a:custGeom>
              <a:avLst/>
              <a:gdLst>
                <a:gd name="T0" fmla="*/ 24 w 435"/>
                <a:gd name="T1" fmla="*/ 19 h 148"/>
                <a:gd name="T2" fmla="*/ 77 w 435"/>
                <a:gd name="T3" fmla="*/ 4 h 148"/>
                <a:gd name="T4" fmla="*/ 102 w 435"/>
                <a:gd name="T5" fmla="*/ 35 h 148"/>
                <a:gd name="T6" fmla="*/ 350 w 435"/>
                <a:gd name="T7" fmla="*/ 87 h 148"/>
                <a:gd name="T8" fmla="*/ 403 w 435"/>
                <a:gd name="T9" fmla="*/ 73 h 148"/>
                <a:gd name="T10" fmla="*/ 428 w 435"/>
                <a:gd name="T11" fmla="*/ 103 h 148"/>
                <a:gd name="T12" fmla="*/ 412 w 435"/>
                <a:gd name="T13" fmla="*/ 115 h 148"/>
                <a:gd name="T14" fmla="*/ 411 w 435"/>
                <a:gd name="T15" fmla="*/ 129 h 148"/>
                <a:gd name="T16" fmla="*/ 359 w 435"/>
                <a:gd name="T17" fmla="*/ 143 h 148"/>
                <a:gd name="T18" fmla="*/ 333 w 435"/>
                <a:gd name="T19" fmla="*/ 115 h 148"/>
                <a:gd name="T20" fmla="*/ 83 w 435"/>
                <a:gd name="T21" fmla="*/ 63 h 148"/>
                <a:gd name="T22" fmla="*/ 33 w 435"/>
                <a:gd name="T23" fmla="*/ 75 h 148"/>
                <a:gd name="T24" fmla="*/ 8 w 435"/>
                <a:gd name="T25" fmla="*/ 44 h 148"/>
                <a:gd name="T26" fmla="*/ 23 w 435"/>
                <a:gd name="T27" fmla="*/ 33 h 148"/>
                <a:gd name="T28" fmla="*/ 24 w 435"/>
                <a:gd name="T29" fmla="*/ 1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5" h="148">
                  <a:moveTo>
                    <a:pt x="24" y="19"/>
                  </a:moveTo>
                  <a:cubicBezTo>
                    <a:pt x="32" y="6"/>
                    <a:pt x="56" y="0"/>
                    <a:pt x="77" y="4"/>
                  </a:cubicBezTo>
                  <a:cubicBezTo>
                    <a:pt x="98" y="9"/>
                    <a:pt x="109" y="22"/>
                    <a:pt x="102" y="35"/>
                  </a:cubicBezTo>
                  <a:cubicBezTo>
                    <a:pt x="350" y="87"/>
                    <a:pt x="350" y="87"/>
                    <a:pt x="350" y="87"/>
                  </a:cubicBezTo>
                  <a:cubicBezTo>
                    <a:pt x="358" y="75"/>
                    <a:pt x="382" y="68"/>
                    <a:pt x="403" y="73"/>
                  </a:cubicBezTo>
                  <a:cubicBezTo>
                    <a:pt x="424" y="77"/>
                    <a:pt x="435" y="91"/>
                    <a:pt x="428" y="103"/>
                  </a:cubicBezTo>
                  <a:cubicBezTo>
                    <a:pt x="425" y="108"/>
                    <a:pt x="419" y="112"/>
                    <a:pt x="412" y="115"/>
                  </a:cubicBezTo>
                  <a:cubicBezTo>
                    <a:pt x="415" y="119"/>
                    <a:pt x="414" y="124"/>
                    <a:pt x="411" y="129"/>
                  </a:cubicBezTo>
                  <a:cubicBezTo>
                    <a:pt x="404" y="141"/>
                    <a:pt x="380" y="148"/>
                    <a:pt x="359" y="143"/>
                  </a:cubicBezTo>
                  <a:cubicBezTo>
                    <a:pt x="339" y="139"/>
                    <a:pt x="328" y="127"/>
                    <a:pt x="333" y="115"/>
                  </a:cubicBezTo>
                  <a:cubicBezTo>
                    <a:pt x="83" y="63"/>
                    <a:pt x="83" y="63"/>
                    <a:pt x="83" y="63"/>
                  </a:cubicBezTo>
                  <a:cubicBezTo>
                    <a:pt x="74" y="74"/>
                    <a:pt x="52" y="79"/>
                    <a:pt x="33" y="75"/>
                  </a:cubicBezTo>
                  <a:cubicBezTo>
                    <a:pt x="11" y="70"/>
                    <a:pt x="0" y="57"/>
                    <a:pt x="8" y="44"/>
                  </a:cubicBezTo>
                  <a:cubicBezTo>
                    <a:pt x="11" y="39"/>
                    <a:pt x="16" y="36"/>
                    <a:pt x="23" y="33"/>
                  </a:cubicBezTo>
                  <a:cubicBezTo>
                    <a:pt x="21" y="28"/>
                    <a:pt x="21" y="23"/>
                    <a:pt x="24" y="19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4" name="Freeform 1448">
              <a:extLst>
                <a:ext uri="{FF2B5EF4-FFF2-40B4-BE49-F238E27FC236}">
                  <a16:creationId xmlns:a16="http://schemas.microsoft.com/office/drawing/2014/main" id="{6BF67695-A309-4082-905B-6FE77E034CB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899896" y="3259212"/>
              <a:ext cx="1915625" cy="671106"/>
            </a:xfrm>
            <a:custGeom>
              <a:avLst/>
              <a:gdLst>
                <a:gd name="T0" fmla="*/ 372 w 434"/>
                <a:gd name="T1" fmla="*/ 152 h 152"/>
                <a:gd name="T2" fmla="*/ 413 w 434"/>
                <a:gd name="T3" fmla="*/ 135 h 152"/>
                <a:gd name="T4" fmla="*/ 416 w 434"/>
                <a:gd name="T5" fmla="*/ 121 h 152"/>
                <a:gd name="T6" fmla="*/ 430 w 434"/>
                <a:gd name="T7" fmla="*/ 109 h 152"/>
                <a:gd name="T8" fmla="*/ 431 w 434"/>
                <a:gd name="T9" fmla="*/ 92 h 152"/>
                <a:gd name="T10" fmla="*/ 403 w 434"/>
                <a:gd name="T11" fmla="*/ 73 h 152"/>
                <a:gd name="T12" fmla="*/ 348 w 434"/>
                <a:gd name="T13" fmla="*/ 87 h 152"/>
                <a:gd name="T14" fmla="*/ 106 w 434"/>
                <a:gd name="T15" fmla="*/ 36 h 152"/>
                <a:gd name="T16" fmla="*/ 105 w 434"/>
                <a:gd name="T17" fmla="*/ 24 h 152"/>
                <a:gd name="T18" fmla="*/ 77 w 434"/>
                <a:gd name="T19" fmla="*/ 5 h 152"/>
                <a:gd name="T20" fmla="*/ 20 w 434"/>
                <a:gd name="T21" fmla="*/ 21 h 152"/>
                <a:gd name="T22" fmla="*/ 20 w 434"/>
                <a:gd name="T23" fmla="*/ 21 h 152"/>
                <a:gd name="T24" fmla="*/ 18 w 434"/>
                <a:gd name="T25" fmla="*/ 35 h 152"/>
                <a:gd name="T26" fmla="*/ 4 w 434"/>
                <a:gd name="T27" fmla="*/ 46 h 152"/>
                <a:gd name="T28" fmla="*/ 2 w 434"/>
                <a:gd name="T29" fmla="*/ 63 h 152"/>
                <a:gd name="T30" fmla="*/ 31 w 434"/>
                <a:gd name="T31" fmla="*/ 82 h 152"/>
                <a:gd name="T32" fmla="*/ 84 w 434"/>
                <a:gd name="T33" fmla="*/ 71 h 152"/>
                <a:gd name="T34" fmla="*/ 327 w 434"/>
                <a:gd name="T35" fmla="*/ 122 h 152"/>
                <a:gd name="T36" fmla="*/ 329 w 434"/>
                <a:gd name="T37" fmla="*/ 134 h 152"/>
                <a:gd name="T38" fmla="*/ 357 w 434"/>
                <a:gd name="T39" fmla="*/ 151 h 152"/>
                <a:gd name="T40" fmla="*/ 372 w 434"/>
                <a:gd name="T41" fmla="*/ 152 h 152"/>
                <a:gd name="T42" fmla="*/ 388 w 434"/>
                <a:gd name="T43" fmla="*/ 79 h 152"/>
                <a:gd name="T44" fmla="*/ 401 w 434"/>
                <a:gd name="T45" fmla="*/ 80 h 152"/>
                <a:gd name="T46" fmla="*/ 425 w 434"/>
                <a:gd name="T47" fmla="*/ 95 h 152"/>
                <a:gd name="T48" fmla="*/ 424 w 434"/>
                <a:gd name="T49" fmla="*/ 105 h 152"/>
                <a:gd name="T50" fmla="*/ 410 w 434"/>
                <a:gd name="T51" fmla="*/ 115 h 152"/>
                <a:gd name="T52" fmla="*/ 407 w 434"/>
                <a:gd name="T53" fmla="*/ 117 h 152"/>
                <a:gd name="T54" fmla="*/ 408 w 434"/>
                <a:gd name="T55" fmla="*/ 120 h 152"/>
                <a:gd name="T56" fmla="*/ 407 w 434"/>
                <a:gd name="T57" fmla="*/ 131 h 152"/>
                <a:gd name="T58" fmla="*/ 358 w 434"/>
                <a:gd name="T59" fmla="*/ 144 h 152"/>
                <a:gd name="T60" fmla="*/ 336 w 434"/>
                <a:gd name="T61" fmla="*/ 130 h 152"/>
                <a:gd name="T62" fmla="*/ 335 w 434"/>
                <a:gd name="T63" fmla="*/ 121 h 152"/>
                <a:gd name="T64" fmla="*/ 337 w 434"/>
                <a:gd name="T65" fmla="*/ 117 h 152"/>
                <a:gd name="T66" fmla="*/ 81 w 434"/>
                <a:gd name="T67" fmla="*/ 63 h 152"/>
                <a:gd name="T68" fmla="*/ 80 w 434"/>
                <a:gd name="T69" fmla="*/ 65 h 152"/>
                <a:gd name="T70" fmla="*/ 32 w 434"/>
                <a:gd name="T71" fmla="*/ 75 h 152"/>
                <a:gd name="T72" fmla="*/ 9 w 434"/>
                <a:gd name="T73" fmla="*/ 61 h 152"/>
                <a:gd name="T74" fmla="*/ 10 w 434"/>
                <a:gd name="T75" fmla="*/ 50 h 152"/>
                <a:gd name="T76" fmla="*/ 23 w 434"/>
                <a:gd name="T77" fmla="*/ 40 h 152"/>
                <a:gd name="T78" fmla="*/ 27 w 434"/>
                <a:gd name="T79" fmla="*/ 39 h 152"/>
                <a:gd name="T80" fmla="*/ 25 w 434"/>
                <a:gd name="T81" fmla="*/ 35 h 152"/>
                <a:gd name="T82" fmla="*/ 26 w 434"/>
                <a:gd name="T83" fmla="*/ 24 h 152"/>
                <a:gd name="T84" fmla="*/ 26 w 434"/>
                <a:gd name="T85" fmla="*/ 24 h 152"/>
                <a:gd name="T86" fmla="*/ 75 w 434"/>
                <a:gd name="T87" fmla="*/ 12 h 152"/>
                <a:gd name="T88" fmla="*/ 99 w 434"/>
                <a:gd name="T89" fmla="*/ 26 h 152"/>
                <a:gd name="T90" fmla="*/ 98 w 434"/>
                <a:gd name="T91" fmla="*/ 37 h 152"/>
                <a:gd name="T92" fmla="*/ 95 w 434"/>
                <a:gd name="T93" fmla="*/ 41 h 152"/>
                <a:gd name="T94" fmla="*/ 351 w 434"/>
                <a:gd name="T95" fmla="*/ 95 h 152"/>
                <a:gd name="T96" fmla="*/ 352 w 434"/>
                <a:gd name="T97" fmla="*/ 93 h 152"/>
                <a:gd name="T98" fmla="*/ 388 w 434"/>
                <a:gd name="T99" fmla="*/ 7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4" h="152">
                  <a:moveTo>
                    <a:pt x="372" y="152"/>
                  </a:moveTo>
                  <a:cubicBezTo>
                    <a:pt x="390" y="152"/>
                    <a:pt x="407" y="146"/>
                    <a:pt x="413" y="135"/>
                  </a:cubicBezTo>
                  <a:cubicBezTo>
                    <a:pt x="416" y="130"/>
                    <a:pt x="417" y="125"/>
                    <a:pt x="416" y="121"/>
                  </a:cubicBezTo>
                  <a:cubicBezTo>
                    <a:pt x="422" y="118"/>
                    <a:pt x="427" y="114"/>
                    <a:pt x="430" y="109"/>
                  </a:cubicBezTo>
                  <a:cubicBezTo>
                    <a:pt x="433" y="104"/>
                    <a:pt x="434" y="98"/>
                    <a:pt x="431" y="92"/>
                  </a:cubicBezTo>
                  <a:cubicBezTo>
                    <a:pt x="427" y="83"/>
                    <a:pt x="417" y="76"/>
                    <a:pt x="403" y="73"/>
                  </a:cubicBezTo>
                  <a:cubicBezTo>
                    <a:pt x="381" y="69"/>
                    <a:pt x="357" y="75"/>
                    <a:pt x="348" y="87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7" y="32"/>
                    <a:pt x="107" y="28"/>
                    <a:pt x="105" y="24"/>
                  </a:cubicBezTo>
                  <a:cubicBezTo>
                    <a:pt x="101" y="15"/>
                    <a:pt x="91" y="8"/>
                    <a:pt x="77" y="5"/>
                  </a:cubicBezTo>
                  <a:cubicBezTo>
                    <a:pt x="54" y="0"/>
                    <a:pt x="29" y="7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17" y="25"/>
                    <a:pt x="16" y="30"/>
                    <a:pt x="18" y="35"/>
                  </a:cubicBezTo>
                  <a:cubicBezTo>
                    <a:pt x="12" y="38"/>
                    <a:pt x="7" y="42"/>
                    <a:pt x="4" y="46"/>
                  </a:cubicBezTo>
                  <a:cubicBezTo>
                    <a:pt x="1" y="52"/>
                    <a:pt x="0" y="58"/>
                    <a:pt x="2" y="63"/>
                  </a:cubicBezTo>
                  <a:cubicBezTo>
                    <a:pt x="6" y="72"/>
                    <a:pt x="17" y="79"/>
                    <a:pt x="31" y="82"/>
                  </a:cubicBezTo>
                  <a:cubicBezTo>
                    <a:pt x="51" y="86"/>
                    <a:pt x="73" y="82"/>
                    <a:pt x="84" y="71"/>
                  </a:cubicBezTo>
                  <a:cubicBezTo>
                    <a:pt x="327" y="122"/>
                    <a:pt x="327" y="122"/>
                    <a:pt x="327" y="122"/>
                  </a:cubicBezTo>
                  <a:cubicBezTo>
                    <a:pt x="327" y="126"/>
                    <a:pt x="328" y="130"/>
                    <a:pt x="329" y="134"/>
                  </a:cubicBezTo>
                  <a:cubicBezTo>
                    <a:pt x="334" y="142"/>
                    <a:pt x="344" y="148"/>
                    <a:pt x="357" y="151"/>
                  </a:cubicBezTo>
                  <a:cubicBezTo>
                    <a:pt x="362" y="152"/>
                    <a:pt x="367" y="152"/>
                    <a:pt x="372" y="152"/>
                  </a:cubicBezTo>
                  <a:close/>
                  <a:moveTo>
                    <a:pt x="388" y="79"/>
                  </a:moveTo>
                  <a:cubicBezTo>
                    <a:pt x="392" y="79"/>
                    <a:pt x="397" y="79"/>
                    <a:pt x="401" y="80"/>
                  </a:cubicBezTo>
                  <a:cubicBezTo>
                    <a:pt x="413" y="83"/>
                    <a:pt x="422" y="88"/>
                    <a:pt x="425" y="95"/>
                  </a:cubicBezTo>
                  <a:cubicBezTo>
                    <a:pt x="426" y="98"/>
                    <a:pt x="426" y="102"/>
                    <a:pt x="424" y="105"/>
                  </a:cubicBezTo>
                  <a:cubicBezTo>
                    <a:pt x="421" y="109"/>
                    <a:pt x="416" y="113"/>
                    <a:pt x="410" y="115"/>
                  </a:cubicBezTo>
                  <a:cubicBezTo>
                    <a:pt x="407" y="117"/>
                    <a:pt x="407" y="117"/>
                    <a:pt x="407" y="117"/>
                  </a:cubicBezTo>
                  <a:cubicBezTo>
                    <a:pt x="408" y="120"/>
                    <a:pt x="408" y="120"/>
                    <a:pt x="408" y="120"/>
                  </a:cubicBezTo>
                  <a:cubicBezTo>
                    <a:pt x="410" y="124"/>
                    <a:pt x="410" y="128"/>
                    <a:pt x="407" y="131"/>
                  </a:cubicBezTo>
                  <a:cubicBezTo>
                    <a:pt x="401" y="142"/>
                    <a:pt x="378" y="148"/>
                    <a:pt x="358" y="144"/>
                  </a:cubicBezTo>
                  <a:cubicBezTo>
                    <a:pt x="347" y="141"/>
                    <a:pt x="339" y="136"/>
                    <a:pt x="336" y="130"/>
                  </a:cubicBezTo>
                  <a:cubicBezTo>
                    <a:pt x="334" y="127"/>
                    <a:pt x="334" y="124"/>
                    <a:pt x="335" y="121"/>
                  </a:cubicBezTo>
                  <a:cubicBezTo>
                    <a:pt x="337" y="117"/>
                    <a:pt x="337" y="117"/>
                    <a:pt x="337" y="117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71" y="74"/>
                    <a:pt x="50" y="79"/>
                    <a:pt x="32" y="75"/>
                  </a:cubicBezTo>
                  <a:cubicBezTo>
                    <a:pt x="21" y="73"/>
                    <a:pt x="12" y="67"/>
                    <a:pt x="9" y="61"/>
                  </a:cubicBezTo>
                  <a:cubicBezTo>
                    <a:pt x="7" y="57"/>
                    <a:pt x="8" y="53"/>
                    <a:pt x="10" y="50"/>
                  </a:cubicBezTo>
                  <a:cubicBezTo>
                    <a:pt x="13" y="46"/>
                    <a:pt x="17" y="43"/>
                    <a:pt x="23" y="4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4" y="32"/>
                    <a:pt x="24" y="28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33" y="13"/>
                    <a:pt x="56" y="8"/>
                    <a:pt x="75" y="12"/>
                  </a:cubicBezTo>
                  <a:cubicBezTo>
                    <a:pt x="87" y="14"/>
                    <a:pt x="96" y="20"/>
                    <a:pt x="99" y="26"/>
                  </a:cubicBezTo>
                  <a:cubicBezTo>
                    <a:pt x="100" y="30"/>
                    <a:pt x="100" y="33"/>
                    <a:pt x="98" y="37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351" y="95"/>
                    <a:pt x="351" y="95"/>
                    <a:pt x="351" y="95"/>
                  </a:cubicBezTo>
                  <a:cubicBezTo>
                    <a:pt x="352" y="93"/>
                    <a:pt x="352" y="93"/>
                    <a:pt x="352" y="93"/>
                  </a:cubicBezTo>
                  <a:cubicBezTo>
                    <a:pt x="358" y="84"/>
                    <a:pt x="372" y="79"/>
                    <a:pt x="388" y="79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5" name="Freeform 1449">
              <a:extLst>
                <a:ext uri="{FF2B5EF4-FFF2-40B4-BE49-F238E27FC236}">
                  <a16:creationId xmlns:a16="http://schemas.microsoft.com/office/drawing/2014/main" id="{49BE9361-B936-4C5C-8E03-7E762F18EB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05533" y="3144529"/>
              <a:ext cx="1104351" cy="1112846"/>
            </a:xfrm>
            <a:custGeom>
              <a:avLst/>
              <a:gdLst>
                <a:gd name="T0" fmla="*/ 77 w 250"/>
                <a:gd name="T1" fmla="*/ 4 h 252"/>
                <a:gd name="T2" fmla="*/ 130 w 250"/>
                <a:gd name="T3" fmla="*/ 19 h 252"/>
                <a:gd name="T4" fmla="*/ 104 w 250"/>
                <a:gd name="T5" fmla="*/ 49 h 252"/>
                <a:gd name="T6" fmla="*/ 190 w 250"/>
                <a:gd name="T7" fmla="*/ 194 h 252"/>
                <a:gd name="T8" fmla="*/ 243 w 250"/>
                <a:gd name="T9" fmla="*/ 208 h 252"/>
                <a:gd name="T10" fmla="*/ 217 w 250"/>
                <a:gd name="T11" fmla="*/ 239 h 252"/>
                <a:gd name="T12" fmla="*/ 192 w 250"/>
                <a:gd name="T13" fmla="*/ 239 h 252"/>
                <a:gd name="T14" fmla="*/ 172 w 250"/>
                <a:gd name="T15" fmla="*/ 248 h 252"/>
                <a:gd name="T16" fmla="*/ 120 w 250"/>
                <a:gd name="T17" fmla="*/ 233 h 252"/>
                <a:gd name="T18" fmla="*/ 141 w 250"/>
                <a:gd name="T19" fmla="*/ 204 h 252"/>
                <a:gd name="T20" fmla="*/ 55 w 250"/>
                <a:gd name="T21" fmla="*/ 59 h 252"/>
                <a:gd name="T22" fmla="*/ 7 w 250"/>
                <a:gd name="T23" fmla="*/ 43 h 252"/>
                <a:gd name="T24" fmla="*/ 33 w 250"/>
                <a:gd name="T25" fmla="*/ 13 h 252"/>
                <a:gd name="T26" fmla="*/ 57 w 250"/>
                <a:gd name="T27" fmla="*/ 13 h 252"/>
                <a:gd name="T28" fmla="*/ 77 w 250"/>
                <a:gd name="T29" fmla="*/ 4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0" h="252">
                  <a:moveTo>
                    <a:pt x="77" y="4"/>
                  </a:moveTo>
                  <a:cubicBezTo>
                    <a:pt x="99" y="0"/>
                    <a:pt x="122" y="6"/>
                    <a:pt x="130" y="19"/>
                  </a:cubicBezTo>
                  <a:cubicBezTo>
                    <a:pt x="137" y="31"/>
                    <a:pt x="125" y="45"/>
                    <a:pt x="104" y="49"/>
                  </a:cubicBezTo>
                  <a:cubicBezTo>
                    <a:pt x="190" y="194"/>
                    <a:pt x="190" y="194"/>
                    <a:pt x="190" y="194"/>
                  </a:cubicBezTo>
                  <a:cubicBezTo>
                    <a:pt x="212" y="189"/>
                    <a:pt x="235" y="196"/>
                    <a:pt x="243" y="208"/>
                  </a:cubicBezTo>
                  <a:cubicBezTo>
                    <a:pt x="250" y="221"/>
                    <a:pt x="239" y="234"/>
                    <a:pt x="217" y="239"/>
                  </a:cubicBezTo>
                  <a:cubicBezTo>
                    <a:pt x="209" y="240"/>
                    <a:pt x="200" y="240"/>
                    <a:pt x="192" y="239"/>
                  </a:cubicBezTo>
                  <a:cubicBezTo>
                    <a:pt x="187" y="243"/>
                    <a:pt x="181" y="246"/>
                    <a:pt x="172" y="248"/>
                  </a:cubicBezTo>
                  <a:cubicBezTo>
                    <a:pt x="151" y="252"/>
                    <a:pt x="127" y="245"/>
                    <a:pt x="120" y="233"/>
                  </a:cubicBezTo>
                  <a:cubicBezTo>
                    <a:pt x="113" y="221"/>
                    <a:pt x="123" y="209"/>
                    <a:pt x="141" y="204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35" y="61"/>
                    <a:pt x="14" y="55"/>
                    <a:pt x="7" y="43"/>
                  </a:cubicBezTo>
                  <a:cubicBezTo>
                    <a:pt x="0" y="31"/>
                    <a:pt x="11" y="17"/>
                    <a:pt x="33" y="13"/>
                  </a:cubicBezTo>
                  <a:cubicBezTo>
                    <a:pt x="41" y="11"/>
                    <a:pt x="49" y="11"/>
                    <a:pt x="57" y="13"/>
                  </a:cubicBezTo>
                  <a:cubicBezTo>
                    <a:pt x="62" y="9"/>
                    <a:pt x="69" y="6"/>
                    <a:pt x="77" y="4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6" name="Freeform 1450">
              <a:extLst>
                <a:ext uri="{FF2B5EF4-FFF2-40B4-BE49-F238E27FC236}">
                  <a16:creationId xmlns:a16="http://schemas.microsoft.com/office/drawing/2014/main" id="{2F581176-83E9-4D7E-BDAF-5BBD1C0979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05533" y="3029846"/>
              <a:ext cx="1100104" cy="1129836"/>
            </a:xfrm>
            <a:custGeom>
              <a:avLst/>
              <a:gdLst>
                <a:gd name="T0" fmla="*/ 159 w 249"/>
                <a:gd name="T1" fmla="*/ 256 h 256"/>
                <a:gd name="T2" fmla="*/ 173 w 249"/>
                <a:gd name="T3" fmla="*/ 255 h 256"/>
                <a:gd name="T4" fmla="*/ 193 w 249"/>
                <a:gd name="T5" fmla="*/ 247 h 256"/>
                <a:gd name="T6" fmla="*/ 218 w 249"/>
                <a:gd name="T7" fmla="*/ 246 h 256"/>
                <a:gd name="T8" fmla="*/ 247 w 249"/>
                <a:gd name="T9" fmla="*/ 228 h 256"/>
                <a:gd name="T10" fmla="*/ 246 w 249"/>
                <a:gd name="T11" fmla="*/ 211 h 256"/>
                <a:gd name="T12" fmla="*/ 192 w 249"/>
                <a:gd name="T13" fmla="*/ 194 h 256"/>
                <a:gd name="T14" fmla="*/ 110 w 249"/>
                <a:gd name="T15" fmla="*/ 55 h 256"/>
                <a:gd name="T16" fmla="*/ 134 w 249"/>
                <a:gd name="T17" fmla="*/ 38 h 256"/>
                <a:gd name="T18" fmla="*/ 133 w 249"/>
                <a:gd name="T19" fmla="*/ 21 h 256"/>
                <a:gd name="T20" fmla="*/ 77 w 249"/>
                <a:gd name="T21" fmla="*/ 4 h 256"/>
                <a:gd name="T22" fmla="*/ 77 w 249"/>
                <a:gd name="T23" fmla="*/ 4 h 256"/>
                <a:gd name="T24" fmla="*/ 56 w 249"/>
                <a:gd name="T25" fmla="*/ 13 h 256"/>
                <a:gd name="T26" fmla="*/ 32 w 249"/>
                <a:gd name="T27" fmla="*/ 13 h 256"/>
                <a:gd name="T28" fmla="*/ 3 w 249"/>
                <a:gd name="T29" fmla="*/ 32 h 256"/>
                <a:gd name="T30" fmla="*/ 4 w 249"/>
                <a:gd name="T31" fmla="*/ 49 h 256"/>
                <a:gd name="T32" fmla="*/ 53 w 249"/>
                <a:gd name="T33" fmla="*/ 66 h 256"/>
                <a:gd name="T34" fmla="*/ 136 w 249"/>
                <a:gd name="T35" fmla="*/ 206 h 256"/>
                <a:gd name="T36" fmla="*/ 116 w 249"/>
                <a:gd name="T37" fmla="*/ 223 h 256"/>
                <a:gd name="T38" fmla="*/ 117 w 249"/>
                <a:gd name="T39" fmla="*/ 239 h 256"/>
                <a:gd name="T40" fmla="*/ 159 w 249"/>
                <a:gd name="T41" fmla="*/ 256 h 256"/>
                <a:gd name="T42" fmla="*/ 191 w 249"/>
                <a:gd name="T43" fmla="*/ 239 h 256"/>
                <a:gd name="T44" fmla="*/ 190 w 249"/>
                <a:gd name="T45" fmla="*/ 240 h 256"/>
                <a:gd name="T46" fmla="*/ 172 w 249"/>
                <a:gd name="T47" fmla="*/ 248 h 256"/>
                <a:gd name="T48" fmla="*/ 123 w 249"/>
                <a:gd name="T49" fmla="*/ 235 h 256"/>
                <a:gd name="T50" fmla="*/ 122 w 249"/>
                <a:gd name="T51" fmla="*/ 225 h 256"/>
                <a:gd name="T52" fmla="*/ 142 w 249"/>
                <a:gd name="T53" fmla="*/ 211 h 256"/>
                <a:gd name="T54" fmla="*/ 147 w 249"/>
                <a:gd name="T55" fmla="*/ 210 h 256"/>
                <a:gd name="T56" fmla="*/ 57 w 249"/>
                <a:gd name="T57" fmla="*/ 59 h 256"/>
                <a:gd name="T58" fmla="*/ 54 w 249"/>
                <a:gd name="T59" fmla="*/ 59 h 256"/>
                <a:gd name="T60" fmla="*/ 10 w 249"/>
                <a:gd name="T61" fmla="*/ 45 h 256"/>
                <a:gd name="T62" fmla="*/ 9 w 249"/>
                <a:gd name="T63" fmla="*/ 35 h 256"/>
                <a:gd name="T64" fmla="*/ 33 w 249"/>
                <a:gd name="T65" fmla="*/ 20 h 256"/>
                <a:gd name="T66" fmla="*/ 57 w 249"/>
                <a:gd name="T67" fmla="*/ 20 h 256"/>
                <a:gd name="T68" fmla="*/ 58 w 249"/>
                <a:gd name="T69" fmla="*/ 20 h 256"/>
                <a:gd name="T70" fmla="*/ 60 w 249"/>
                <a:gd name="T71" fmla="*/ 19 h 256"/>
                <a:gd name="T72" fmla="*/ 78 w 249"/>
                <a:gd name="T73" fmla="*/ 11 h 256"/>
                <a:gd name="T74" fmla="*/ 78 w 249"/>
                <a:gd name="T75" fmla="*/ 11 h 256"/>
                <a:gd name="T76" fmla="*/ 126 w 249"/>
                <a:gd name="T77" fmla="*/ 25 h 256"/>
                <a:gd name="T78" fmla="*/ 127 w 249"/>
                <a:gd name="T79" fmla="*/ 35 h 256"/>
                <a:gd name="T80" fmla="*/ 103 w 249"/>
                <a:gd name="T81" fmla="*/ 49 h 256"/>
                <a:gd name="T82" fmla="*/ 98 w 249"/>
                <a:gd name="T83" fmla="*/ 50 h 256"/>
                <a:gd name="T84" fmla="*/ 188 w 249"/>
                <a:gd name="T85" fmla="*/ 202 h 256"/>
                <a:gd name="T86" fmla="*/ 191 w 249"/>
                <a:gd name="T87" fmla="*/ 201 h 256"/>
                <a:gd name="T88" fmla="*/ 239 w 249"/>
                <a:gd name="T89" fmla="*/ 214 h 256"/>
                <a:gd name="T90" fmla="*/ 240 w 249"/>
                <a:gd name="T91" fmla="*/ 225 h 256"/>
                <a:gd name="T92" fmla="*/ 216 w 249"/>
                <a:gd name="T93" fmla="*/ 239 h 256"/>
                <a:gd name="T94" fmla="*/ 193 w 249"/>
                <a:gd name="T95" fmla="*/ 240 h 256"/>
                <a:gd name="T96" fmla="*/ 191 w 249"/>
                <a:gd name="T97" fmla="*/ 23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9" h="256">
                  <a:moveTo>
                    <a:pt x="159" y="256"/>
                  </a:moveTo>
                  <a:cubicBezTo>
                    <a:pt x="164" y="256"/>
                    <a:pt x="168" y="256"/>
                    <a:pt x="173" y="255"/>
                  </a:cubicBezTo>
                  <a:cubicBezTo>
                    <a:pt x="181" y="253"/>
                    <a:pt x="188" y="251"/>
                    <a:pt x="193" y="247"/>
                  </a:cubicBezTo>
                  <a:cubicBezTo>
                    <a:pt x="201" y="248"/>
                    <a:pt x="210" y="248"/>
                    <a:pt x="218" y="246"/>
                  </a:cubicBezTo>
                  <a:cubicBezTo>
                    <a:pt x="232" y="243"/>
                    <a:pt x="243" y="236"/>
                    <a:pt x="247" y="228"/>
                  </a:cubicBezTo>
                  <a:cubicBezTo>
                    <a:pt x="249" y="222"/>
                    <a:pt x="249" y="216"/>
                    <a:pt x="246" y="211"/>
                  </a:cubicBezTo>
                  <a:cubicBezTo>
                    <a:pt x="238" y="197"/>
                    <a:pt x="214" y="190"/>
                    <a:pt x="192" y="19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21" y="52"/>
                    <a:pt x="130" y="46"/>
                    <a:pt x="134" y="38"/>
                  </a:cubicBezTo>
                  <a:cubicBezTo>
                    <a:pt x="136" y="32"/>
                    <a:pt x="136" y="26"/>
                    <a:pt x="133" y="21"/>
                  </a:cubicBezTo>
                  <a:cubicBezTo>
                    <a:pt x="124" y="7"/>
                    <a:pt x="100" y="0"/>
                    <a:pt x="77" y="4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69" y="6"/>
                    <a:pt x="62" y="9"/>
                    <a:pt x="56" y="13"/>
                  </a:cubicBezTo>
                  <a:cubicBezTo>
                    <a:pt x="48" y="12"/>
                    <a:pt x="40" y="12"/>
                    <a:pt x="32" y="13"/>
                  </a:cubicBezTo>
                  <a:cubicBezTo>
                    <a:pt x="18" y="16"/>
                    <a:pt x="7" y="23"/>
                    <a:pt x="3" y="32"/>
                  </a:cubicBezTo>
                  <a:cubicBezTo>
                    <a:pt x="0" y="38"/>
                    <a:pt x="1" y="44"/>
                    <a:pt x="4" y="49"/>
                  </a:cubicBezTo>
                  <a:cubicBezTo>
                    <a:pt x="11" y="61"/>
                    <a:pt x="32" y="68"/>
                    <a:pt x="53" y="66"/>
                  </a:cubicBezTo>
                  <a:cubicBezTo>
                    <a:pt x="136" y="206"/>
                    <a:pt x="136" y="206"/>
                    <a:pt x="136" y="206"/>
                  </a:cubicBezTo>
                  <a:cubicBezTo>
                    <a:pt x="126" y="209"/>
                    <a:pt x="118" y="215"/>
                    <a:pt x="116" y="223"/>
                  </a:cubicBezTo>
                  <a:cubicBezTo>
                    <a:pt x="113" y="228"/>
                    <a:pt x="114" y="233"/>
                    <a:pt x="117" y="239"/>
                  </a:cubicBezTo>
                  <a:cubicBezTo>
                    <a:pt x="124" y="250"/>
                    <a:pt x="141" y="256"/>
                    <a:pt x="159" y="256"/>
                  </a:cubicBezTo>
                  <a:close/>
                  <a:moveTo>
                    <a:pt x="191" y="239"/>
                  </a:moveTo>
                  <a:cubicBezTo>
                    <a:pt x="190" y="240"/>
                    <a:pt x="190" y="240"/>
                    <a:pt x="190" y="240"/>
                  </a:cubicBezTo>
                  <a:cubicBezTo>
                    <a:pt x="185" y="244"/>
                    <a:pt x="179" y="247"/>
                    <a:pt x="172" y="248"/>
                  </a:cubicBezTo>
                  <a:cubicBezTo>
                    <a:pt x="152" y="252"/>
                    <a:pt x="130" y="246"/>
                    <a:pt x="123" y="235"/>
                  </a:cubicBezTo>
                  <a:cubicBezTo>
                    <a:pt x="121" y="232"/>
                    <a:pt x="121" y="228"/>
                    <a:pt x="122" y="225"/>
                  </a:cubicBezTo>
                  <a:cubicBezTo>
                    <a:pt x="125" y="219"/>
                    <a:pt x="132" y="214"/>
                    <a:pt x="142" y="211"/>
                  </a:cubicBezTo>
                  <a:cubicBezTo>
                    <a:pt x="147" y="210"/>
                    <a:pt x="147" y="210"/>
                    <a:pt x="147" y="210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36" y="61"/>
                    <a:pt x="16" y="55"/>
                    <a:pt x="10" y="45"/>
                  </a:cubicBezTo>
                  <a:cubicBezTo>
                    <a:pt x="8" y="42"/>
                    <a:pt x="8" y="38"/>
                    <a:pt x="9" y="35"/>
                  </a:cubicBezTo>
                  <a:cubicBezTo>
                    <a:pt x="12" y="28"/>
                    <a:pt x="21" y="23"/>
                    <a:pt x="33" y="20"/>
                  </a:cubicBezTo>
                  <a:cubicBezTo>
                    <a:pt x="41" y="19"/>
                    <a:pt x="49" y="19"/>
                    <a:pt x="57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4" y="16"/>
                    <a:pt x="70" y="13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98" y="7"/>
                    <a:pt x="120" y="14"/>
                    <a:pt x="126" y="25"/>
                  </a:cubicBezTo>
                  <a:cubicBezTo>
                    <a:pt x="129" y="28"/>
                    <a:pt x="129" y="31"/>
                    <a:pt x="127" y="35"/>
                  </a:cubicBezTo>
                  <a:cubicBezTo>
                    <a:pt x="124" y="42"/>
                    <a:pt x="115" y="47"/>
                    <a:pt x="103" y="49"/>
                  </a:cubicBezTo>
                  <a:cubicBezTo>
                    <a:pt x="98" y="50"/>
                    <a:pt x="98" y="50"/>
                    <a:pt x="98" y="50"/>
                  </a:cubicBezTo>
                  <a:cubicBezTo>
                    <a:pt x="188" y="202"/>
                    <a:pt x="188" y="202"/>
                    <a:pt x="188" y="202"/>
                  </a:cubicBezTo>
                  <a:cubicBezTo>
                    <a:pt x="191" y="201"/>
                    <a:pt x="191" y="201"/>
                    <a:pt x="191" y="201"/>
                  </a:cubicBezTo>
                  <a:cubicBezTo>
                    <a:pt x="211" y="197"/>
                    <a:pt x="233" y="203"/>
                    <a:pt x="239" y="214"/>
                  </a:cubicBezTo>
                  <a:cubicBezTo>
                    <a:pt x="242" y="218"/>
                    <a:pt x="242" y="221"/>
                    <a:pt x="240" y="225"/>
                  </a:cubicBezTo>
                  <a:cubicBezTo>
                    <a:pt x="237" y="231"/>
                    <a:pt x="228" y="237"/>
                    <a:pt x="216" y="239"/>
                  </a:cubicBezTo>
                  <a:cubicBezTo>
                    <a:pt x="209" y="241"/>
                    <a:pt x="201" y="241"/>
                    <a:pt x="193" y="240"/>
                  </a:cubicBezTo>
                  <a:lnTo>
                    <a:pt x="191" y="239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7" name="Freeform 1451">
              <a:extLst>
                <a:ext uri="{FF2B5EF4-FFF2-40B4-BE49-F238E27FC236}">
                  <a16:creationId xmlns:a16="http://schemas.microsoft.com/office/drawing/2014/main" id="{E34CE48C-68FF-412B-B264-0DA1C4BCB5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29341" y="3953680"/>
              <a:ext cx="1478132" cy="851626"/>
            </a:xfrm>
            <a:custGeom>
              <a:avLst/>
              <a:gdLst>
                <a:gd name="T0" fmla="*/ 245 w 335"/>
                <a:gd name="T1" fmla="*/ 183 h 193"/>
                <a:gd name="T2" fmla="*/ 17 w 335"/>
                <a:gd name="T3" fmla="*/ 52 h 193"/>
                <a:gd name="T4" fmla="*/ 22 w 335"/>
                <a:gd name="T5" fmla="*/ 13 h 193"/>
                <a:gd name="T6" fmla="*/ 22 w 335"/>
                <a:gd name="T7" fmla="*/ 13 h 193"/>
                <a:gd name="T8" fmla="*/ 90 w 335"/>
                <a:gd name="T9" fmla="*/ 10 h 193"/>
                <a:gd name="T10" fmla="*/ 318 w 335"/>
                <a:gd name="T11" fmla="*/ 141 h 193"/>
                <a:gd name="T12" fmla="*/ 313 w 335"/>
                <a:gd name="T13" fmla="*/ 180 h 193"/>
                <a:gd name="T14" fmla="*/ 313 w 335"/>
                <a:gd name="T15" fmla="*/ 180 h 193"/>
                <a:gd name="T16" fmla="*/ 245 w 335"/>
                <a:gd name="T17" fmla="*/ 18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5" h="193">
                  <a:moveTo>
                    <a:pt x="245" y="183"/>
                  </a:moveTo>
                  <a:cubicBezTo>
                    <a:pt x="17" y="52"/>
                    <a:pt x="17" y="52"/>
                    <a:pt x="17" y="52"/>
                  </a:cubicBezTo>
                  <a:cubicBezTo>
                    <a:pt x="0" y="42"/>
                    <a:pt x="2" y="25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42" y="2"/>
                    <a:pt x="73" y="0"/>
                    <a:pt x="90" y="10"/>
                  </a:cubicBezTo>
                  <a:cubicBezTo>
                    <a:pt x="318" y="141"/>
                    <a:pt x="318" y="141"/>
                    <a:pt x="318" y="141"/>
                  </a:cubicBezTo>
                  <a:cubicBezTo>
                    <a:pt x="335" y="151"/>
                    <a:pt x="333" y="168"/>
                    <a:pt x="313" y="180"/>
                  </a:cubicBezTo>
                  <a:cubicBezTo>
                    <a:pt x="313" y="180"/>
                    <a:pt x="313" y="180"/>
                    <a:pt x="313" y="180"/>
                  </a:cubicBezTo>
                  <a:cubicBezTo>
                    <a:pt x="293" y="192"/>
                    <a:pt x="262" y="193"/>
                    <a:pt x="245" y="183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8" name="Freeform 1452">
              <a:extLst>
                <a:ext uri="{FF2B5EF4-FFF2-40B4-BE49-F238E27FC236}">
                  <a16:creationId xmlns:a16="http://schemas.microsoft.com/office/drawing/2014/main" id="{666DFDC4-2774-4DFA-8554-B144404959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33588" y="3860234"/>
              <a:ext cx="1469637" cy="879234"/>
            </a:xfrm>
            <a:custGeom>
              <a:avLst/>
              <a:gdLst>
                <a:gd name="T0" fmla="*/ 273 w 333"/>
                <a:gd name="T1" fmla="*/ 199 h 199"/>
                <a:gd name="T2" fmla="*/ 242 w 333"/>
                <a:gd name="T3" fmla="*/ 191 h 199"/>
                <a:gd name="T4" fmla="*/ 14 w 333"/>
                <a:gd name="T5" fmla="*/ 61 h 199"/>
                <a:gd name="T6" fmla="*/ 0 w 333"/>
                <a:gd name="T7" fmla="*/ 40 h 199"/>
                <a:gd name="T8" fmla="*/ 19 w 333"/>
                <a:gd name="T9" fmla="*/ 14 h 199"/>
                <a:gd name="T10" fmla="*/ 91 w 333"/>
                <a:gd name="T11" fmla="*/ 11 h 199"/>
                <a:gd name="T12" fmla="*/ 319 w 333"/>
                <a:gd name="T13" fmla="*/ 141 h 199"/>
                <a:gd name="T14" fmla="*/ 333 w 333"/>
                <a:gd name="T15" fmla="*/ 162 h 199"/>
                <a:gd name="T16" fmla="*/ 314 w 333"/>
                <a:gd name="T17" fmla="*/ 188 h 199"/>
                <a:gd name="T18" fmla="*/ 273 w 333"/>
                <a:gd name="T19" fmla="*/ 199 h 199"/>
                <a:gd name="T20" fmla="*/ 60 w 333"/>
                <a:gd name="T21" fmla="*/ 10 h 199"/>
                <a:gd name="T22" fmla="*/ 22 w 333"/>
                <a:gd name="T23" fmla="*/ 19 h 199"/>
                <a:gd name="T24" fmla="*/ 6 w 333"/>
                <a:gd name="T25" fmla="*/ 40 h 199"/>
                <a:gd name="T26" fmla="*/ 17 w 333"/>
                <a:gd name="T27" fmla="*/ 55 h 199"/>
                <a:gd name="T28" fmla="*/ 245 w 333"/>
                <a:gd name="T29" fmla="*/ 186 h 199"/>
                <a:gd name="T30" fmla="*/ 273 w 333"/>
                <a:gd name="T31" fmla="*/ 192 h 199"/>
                <a:gd name="T32" fmla="*/ 311 w 333"/>
                <a:gd name="T33" fmla="*/ 183 h 199"/>
                <a:gd name="T34" fmla="*/ 327 w 333"/>
                <a:gd name="T35" fmla="*/ 162 h 199"/>
                <a:gd name="T36" fmla="*/ 316 w 333"/>
                <a:gd name="T37" fmla="*/ 147 h 199"/>
                <a:gd name="T38" fmla="*/ 88 w 333"/>
                <a:gd name="T39" fmla="*/ 16 h 199"/>
                <a:gd name="T40" fmla="*/ 60 w 333"/>
                <a:gd name="T41" fmla="*/ 1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3" h="199">
                  <a:moveTo>
                    <a:pt x="273" y="199"/>
                  </a:moveTo>
                  <a:cubicBezTo>
                    <a:pt x="261" y="199"/>
                    <a:pt x="250" y="196"/>
                    <a:pt x="242" y="19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5" y="56"/>
                    <a:pt x="0" y="48"/>
                    <a:pt x="0" y="40"/>
                  </a:cubicBezTo>
                  <a:cubicBezTo>
                    <a:pt x="0" y="30"/>
                    <a:pt x="7" y="21"/>
                    <a:pt x="19" y="14"/>
                  </a:cubicBezTo>
                  <a:cubicBezTo>
                    <a:pt x="40" y="1"/>
                    <a:pt x="73" y="0"/>
                    <a:pt x="91" y="11"/>
                  </a:cubicBezTo>
                  <a:cubicBezTo>
                    <a:pt x="319" y="141"/>
                    <a:pt x="319" y="141"/>
                    <a:pt x="319" y="141"/>
                  </a:cubicBezTo>
                  <a:cubicBezTo>
                    <a:pt x="328" y="146"/>
                    <a:pt x="333" y="154"/>
                    <a:pt x="333" y="162"/>
                  </a:cubicBezTo>
                  <a:cubicBezTo>
                    <a:pt x="333" y="172"/>
                    <a:pt x="326" y="181"/>
                    <a:pt x="314" y="188"/>
                  </a:cubicBezTo>
                  <a:cubicBezTo>
                    <a:pt x="303" y="195"/>
                    <a:pt x="288" y="199"/>
                    <a:pt x="273" y="199"/>
                  </a:cubicBezTo>
                  <a:close/>
                  <a:moveTo>
                    <a:pt x="60" y="10"/>
                  </a:moveTo>
                  <a:cubicBezTo>
                    <a:pt x="47" y="10"/>
                    <a:pt x="33" y="13"/>
                    <a:pt x="22" y="19"/>
                  </a:cubicBezTo>
                  <a:cubicBezTo>
                    <a:pt x="12" y="25"/>
                    <a:pt x="6" y="32"/>
                    <a:pt x="6" y="40"/>
                  </a:cubicBezTo>
                  <a:cubicBezTo>
                    <a:pt x="6" y="46"/>
                    <a:pt x="10" y="51"/>
                    <a:pt x="17" y="55"/>
                  </a:cubicBezTo>
                  <a:cubicBezTo>
                    <a:pt x="245" y="186"/>
                    <a:pt x="245" y="186"/>
                    <a:pt x="245" y="186"/>
                  </a:cubicBezTo>
                  <a:cubicBezTo>
                    <a:pt x="252" y="190"/>
                    <a:pt x="262" y="192"/>
                    <a:pt x="273" y="192"/>
                  </a:cubicBezTo>
                  <a:cubicBezTo>
                    <a:pt x="287" y="192"/>
                    <a:pt x="301" y="189"/>
                    <a:pt x="311" y="183"/>
                  </a:cubicBezTo>
                  <a:cubicBezTo>
                    <a:pt x="321" y="177"/>
                    <a:pt x="327" y="170"/>
                    <a:pt x="327" y="162"/>
                  </a:cubicBezTo>
                  <a:cubicBezTo>
                    <a:pt x="327" y="156"/>
                    <a:pt x="323" y="151"/>
                    <a:pt x="316" y="147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1" y="12"/>
                    <a:pt x="70" y="10"/>
                    <a:pt x="60" y="1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9" name="Freeform 1453">
              <a:extLst>
                <a:ext uri="{FF2B5EF4-FFF2-40B4-BE49-F238E27FC236}">
                  <a16:creationId xmlns:a16="http://schemas.microsoft.com/office/drawing/2014/main" id="{F2844504-10F9-48AE-84F0-1FA289D3DBD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86131" y="4129950"/>
              <a:ext cx="225118" cy="131673"/>
            </a:xfrm>
            <a:custGeom>
              <a:avLst/>
              <a:gdLst>
                <a:gd name="T0" fmla="*/ 1 w 51"/>
                <a:gd name="T1" fmla="*/ 12 h 30"/>
                <a:gd name="T2" fmla="*/ 2 w 51"/>
                <a:gd name="T3" fmla="*/ 10 h 30"/>
                <a:gd name="T4" fmla="*/ 46 w 51"/>
                <a:gd name="T5" fmla="*/ 1 h 30"/>
                <a:gd name="T6" fmla="*/ 49 w 51"/>
                <a:gd name="T7" fmla="*/ 1 h 30"/>
                <a:gd name="T8" fmla="*/ 50 w 51"/>
                <a:gd name="T9" fmla="*/ 2 h 30"/>
                <a:gd name="T10" fmla="*/ 50 w 51"/>
                <a:gd name="T11" fmla="*/ 3 h 30"/>
                <a:gd name="T12" fmla="*/ 34 w 51"/>
                <a:gd name="T13" fmla="*/ 29 h 30"/>
                <a:gd name="T14" fmla="*/ 31 w 51"/>
                <a:gd name="T15" fmla="*/ 29 h 30"/>
                <a:gd name="T16" fmla="*/ 30 w 51"/>
                <a:gd name="T17" fmla="*/ 29 h 30"/>
                <a:gd name="T18" fmla="*/ 30 w 51"/>
                <a:gd name="T19" fmla="*/ 27 h 30"/>
                <a:gd name="T20" fmla="*/ 36 w 51"/>
                <a:gd name="T21" fmla="*/ 17 h 30"/>
                <a:gd name="T22" fmla="*/ 22 w 51"/>
                <a:gd name="T23" fmla="*/ 9 h 30"/>
                <a:gd name="T24" fmla="*/ 5 w 51"/>
                <a:gd name="T25" fmla="*/ 13 h 30"/>
                <a:gd name="T26" fmla="*/ 2 w 51"/>
                <a:gd name="T27" fmla="*/ 12 h 30"/>
                <a:gd name="T28" fmla="*/ 1 w 51"/>
                <a:gd name="T29" fmla="*/ 12 h 30"/>
                <a:gd name="T30" fmla="*/ 45 w 51"/>
                <a:gd name="T31" fmla="*/ 4 h 30"/>
                <a:gd name="T32" fmla="*/ 27 w 51"/>
                <a:gd name="T33" fmla="*/ 8 h 30"/>
                <a:gd name="T34" fmla="*/ 38 w 51"/>
                <a:gd name="T35" fmla="*/ 14 h 30"/>
                <a:gd name="T36" fmla="*/ 45 w 51"/>
                <a:gd name="T37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30">
                  <a:moveTo>
                    <a:pt x="1" y="12"/>
                  </a:moveTo>
                  <a:cubicBezTo>
                    <a:pt x="0" y="11"/>
                    <a:pt x="0" y="11"/>
                    <a:pt x="2" y="1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7" y="0"/>
                    <a:pt x="48" y="1"/>
                    <a:pt x="49" y="1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2"/>
                    <a:pt x="51" y="3"/>
                    <a:pt x="50" y="3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30"/>
                    <a:pt x="32" y="30"/>
                    <a:pt x="31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29" y="28"/>
                    <a:pt x="29" y="28"/>
                    <a:pt x="30" y="2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13"/>
                    <a:pt x="3" y="13"/>
                    <a:pt x="2" y="12"/>
                  </a:cubicBezTo>
                  <a:lnTo>
                    <a:pt x="1" y="12"/>
                  </a:lnTo>
                  <a:close/>
                  <a:moveTo>
                    <a:pt x="45" y="4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38" y="14"/>
                    <a:pt x="38" y="14"/>
                    <a:pt x="38" y="14"/>
                  </a:cubicBezTo>
                  <a:lnTo>
                    <a:pt x="45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0" name="Freeform 1454">
              <a:extLst>
                <a:ext uri="{FF2B5EF4-FFF2-40B4-BE49-F238E27FC236}">
                  <a16:creationId xmlns:a16="http://schemas.microsoft.com/office/drawing/2014/main" id="{FED1D10B-1206-4B43-8CF5-EBA3FD8D9E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5413" y="4187292"/>
              <a:ext cx="159282" cy="127425"/>
            </a:xfrm>
            <a:custGeom>
              <a:avLst/>
              <a:gdLst>
                <a:gd name="T0" fmla="*/ 1 w 36"/>
                <a:gd name="T1" fmla="*/ 20 h 29"/>
                <a:gd name="T2" fmla="*/ 1 w 36"/>
                <a:gd name="T3" fmla="*/ 18 h 29"/>
                <a:gd name="T4" fmla="*/ 31 w 36"/>
                <a:gd name="T5" fmla="*/ 1 h 29"/>
                <a:gd name="T6" fmla="*/ 34 w 36"/>
                <a:gd name="T7" fmla="*/ 1 h 29"/>
                <a:gd name="T8" fmla="*/ 35 w 36"/>
                <a:gd name="T9" fmla="*/ 1 h 29"/>
                <a:gd name="T10" fmla="*/ 35 w 36"/>
                <a:gd name="T11" fmla="*/ 2 h 29"/>
                <a:gd name="T12" fmla="*/ 6 w 36"/>
                <a:gd name="T13" fmla="*/ 19 h 29"/>
                <a:gd name="T14" fmla="*/ 20 w 36"/>
                <a:gd name="T15" fmla="*/ 27 h 29"/>
                <a:gd name="T16" fmla="*/ 20 w 36"/>
                <a:gd name="T17" fmla="*/ 29 h 29"/>
                <a:gd name="T18" fmla="*/ 20 w 36"/>
                <a:gd name="T19" fmla="*/ 29 h 29"/>
                <a:gd name="T20" fmla="*/ 17 w 36"/>
                <a:gd name="T21" fmla="*/ 29 h 29"/>
                <a:gd name="T22" fmla="*/ 1 w 36"/>
                <a:gd name="T23" fmla="*/ 2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9">
                  <a:moveTo>
                    <a:pt x="1" y="20"/>
                  </a:moveTo>
                  <a:cubicBezTo>
                    <a:pt x="0" y="19"/>
                    <a:pt x="0" y="19"/>
                    <a:pt x="1" y="18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2" y="0"/>
                    <a:pt x="33" y="0"/>
                    <a:pt x="34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6" y="1"/>
                    <a:pt x="36" y="2"/>
                    <a:pt x="35" y="2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1" y="27"/>
                    <a:pt x="21" y="28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29"/>
                    <a:pt x="18" y="29"/>
                    <a:pt x="17" y="29"/>
                  </a:cubicBezTo>
                  <a:lnTo>
                    <a:pt x="1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1" name="Freeform 1455">
              <a:extLst>
                <a:ext uri="{FF2B5EF4-FFF2-40B4-BE49-F238E27FC236}">
                  <a16:creationId xmlns:a16="http://schemas.microsoft.com/office/drawing/2014/main" id="{5A97C37D-29F6-4937-ACB3-CF2EA13F76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51601" y="4248881"/>
              <a:ext cx="225118" cy="127425"/>
            </a:xfrm>
            <a:custGeom>
              <a:avLst/>
              <a:gdLst>
                <a:gd name="T0" fmla="*/ 1 w 51"/>
                <a:gd name="T1" fmla="*/ 19 h 29"/>
                <a:gd name="T2" fmla="*/ 1 w 51"/>
                <a:gd name="T3" fmla="*/ 18 h 29"/>
                <a:gd name="T4" fmla="*/ 31 w 51"/>
                <a:gd name="T5" fmla="*/ 0 h 29"/>
                <a:gd name="T6" fmla="*/ 34 w 51"/>
                <a:gd name="T7" fmla="*/ 0 h 29"/>
                <a:gd name="T8" fmla="*/ 50 w 51"/>
                <a:gd name="T9" fmla="*/ 10 h 29"/>
                <a:gd name="T10" fmla="*/ 50 w 51"/>
                <a:gd name="T11" fmla="*/ 11 h 29"/>
                <a:gd name="T12" fmla="*/ 50 w 51"/>
                <a:gd name="T13" fmla="*/ 12 h 29"/>
                <a:gd name="T14" fmla="*/ 47 w 51"/>
                <a:gd name="T15" fmla="*/ 12 h 29"/>
                <a:gd name="T16" fmla="*/ 33 w 51"/>
                <a:gd name="T17" fmla="*/ 3 h 29"/>
                <a:gd name="T18" fmla="*/ 23 w 51"/>
                <a:gd name="T19" fmla="*/ 9 h 29"/>
                <a:gd name="T20" fmla="*/ 37 w 51"/>
                <a:gd name="T21" fmla="*/ 16 h 29"/>
                <a:gd name="T22" fmla="*/ 37 w 51"/>
                <a:gd name="T23" fmla="*/ 18 h 29"/>
                <a:gd name="T24" fmla="*/ 37 w 51"/>
                <a:gd name="T25" fmla="*/ 18 h 29"/>
                <a:gd name="T26" fmla="*/ 34 w 51"/>
                <a:gd name="T27" fmla="*/ 18 h 29"/>
                <a:gd name="T28" fmla="*/ 20 w 51"/>
                <a:gd name="T29" fmla="*/ 10 h 29"/>
                <a:gd name="T30" fmla="*/ 6 w 51"/>
                <a:gd name="T31" fmla="*/ 19 h 29"/>
                <a:gd name="T32" fmla="*/ 20 w 51"/>
                <a:gd name="T33" fmla="*/ 27 h 29"/>
                <a:gd name="T34" fmla="*/ 20 w 51"/>
                <a:gd name="T35" fmla="*/ 29 h 29"/>
                <a:gd name="T36" fmla="*/ 20 w 51"/>
                <a:gd name="T37" fmla="*/ 29 h 29"/>
                <a:gd name="T38" fmla="*/ 17 w 51"/>
                <a:gd name="T39" fmla="*/ 29 h 29"/>
                <a:gd name="T40" fmla="*/ 1 w 51"/>
                <a:gd name="T4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29">
                  <a:moveTo>
                    <a:pt x="1" y="19"/>
                  </a:moveTo>
                  <a:cubicBezTo>
                    <a:pt x="0" y="19"/>
                    <a:pt x="0" y="18"/>
                    <a:pt x="1" y="18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3" y="0"/>
                    <a:pt x="34" y="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1" y="10"/>
                    <a:pt x="51" y="11"/>
                    <a:pt x="50" y="11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49" y="12"/>
                    <a:pt x="48" y="12"/>
                    <a:pt x="47" y="12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7"/>
                    <a:pt x="38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6" y="19"/>
                    <a:pt x="35" y="19"/>
                    <a:pt x="34" y="18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1" y="27"/>
                    <a:pt x="21" y="28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29"/>
                    <a:pt x="18" y="29"/>
                    <a:pt x="17" y="29"/>
                  </a:cubicBezTo>
                  <a:lnTo>
                    <a:pt x="1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2" name="Freeform 1456">
              <a:extLst>
                <a:ext uri="{FF2B5EF4-FFF2-40B4-BE49-F238E27FC236}">
                  <a16:creationId xmlns:a16="http://schemas.microsoft.com/office/drawing/2014/main" id="{F7350457-5E9E-4900-A44A-F6E2A5FDC3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62036" y="4310470"/>
              <a:ext cx="220870" cy="142292"/>
            </a:xfrm>
            <a:custGeom>
              <a:avLst/>
              <a:gdLst>
                <a:gd name="T0" fmla="*/ 1 w 50"/>
                <a:gd name="T1" fmla="*/ 20 h 32"/>
                <a:gd name="T2" fmla="*/ 1 w 50"/>
                <a:gd name="T3" fmla="*/ 18 h 32"/>
                <a:gd name="T4" fmla="*/ 31 w 50"/>
                <a:gd name="T5" fmla="*/ 1 h 32"/>
                <a:gd name="T6" fmla="*/ 34 w 50"/>
                <a:gd name="T7" fmla="*/ 1 h 32"/>
                <a:gd name="T8" fmla="*/ 44 w 50"/>
                <a:gd name="T9" fmla="*/ 6 h 32"/>
                <a:gd name="T10" fmla="*/ 44 w 50"/>
                <a:gd name="T11" fmla="*/ 18 h 32"/>
                <a:gd name="T12" fmla="*/ 26 w 50"/>
                <a:gd name="T13" fmla="*/ 20 h 32"/>
                <a:gd name="T14" fmla="*/ 24 w 50"/>
                <a:gd name="T15" fmla="*/ 31 h 32"/>
                <a:gd name="T16" fmla="*/ 21 w 50"/>
                <a:gd name="T17" fmla="*/ 32 h 32"/>
                <a:gd name="T18" fmla="*/ 20 w 50"/>
                <a:gd name="T19" fmla="*/ 31 h 32"/>
                <a:gd name="T20" fmla="*/ 19 w 50"/>
                <a:gd name="T21" fmla="*/ 29 h 32"/>
                <a:gd name="T22" fmla="*/ 22 w 50"/>
                <a:gd name="T23" fmla="*/ 17 h 32"/>
                <a:gd name="T24" fmla="*/ 16 w 50"/>
                <a:gd name="T25" fmla="*/ 14 h 32"/>
                <a:gd name="T26" fmla="*/ 4 w 50"/>
                <a:gd name="T27" fmla="*/ 20 h 32"/>
                <a:gd name="T28" fmla="*/ 1 w 50"/>
                <a:gd name="T29" fmla="*/ 20 h 32"/>
                <a:gd name="T30" fmla="*/ 26 w 50"/>
                <a:gd name="T31" fmla="*/ 16 h 32"/>
                <a:gd name="T32" fmla="*/ 40 w 50"/>
                <a:gd name="T33" fmla="*/ 16 h 32"/>
                <a:gd name="T34" fmla="*/ 40 w 50"/>
                <a:gd name="T35" fmla="*/ 8 h 32"/>
                <a:gd name="T36" fmla="*/ 33 w 50"/>
                <a:gd name="T37" fmla="*/ 4 h 32"/>
                <a:gd name="T38" fmla="*/ 19 w 50"/>
                <a:gd name="T39" fmla="*/ 12 h 32"/>
                <a:gd name="T40" fmla="*/ 26 w 50"/>
                <a:gd name="T41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32">
                  <a:moveTo>
                    <a:pt x="1" y="20"/>
                  </a:moveTo>
                  <a:cubicBezTo>
                    <a:pt x="0" y="19"/>
                    <a:pt x="0" y="19"/>
                    <a:pt x="1" y="18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2" y="0"/>
                    <a:pt x="33" y="0"/>
                    <a:pt x="34" y="1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50" y="10"/>
                    <a:pt x="50" y="15"/>
                    <a:pt x="44" y="18"/>
                  </a:cubicBezTo>
                  <a:cubicBezTo>
                    <a:pt x="39" y="21"/>
                    <a:pt x="32" y="22"/>
                    <a:pt x="26" y="2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4" y="32"/>
                    <a:pt x="22" y="32"/>
                    <a:pt x="21" y="32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9" y="31"/>
                    <a:pt x="19" y="30"/>
                    <a:pt x="19" y="29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3" y="21"/>
                    <a:pt x="2" y="21"/>
                    <a:pt x="1" y="20"/>
                  </a:cubicBezTo>
                  <a:close/>
                  <a:moveTo>
                    <a:pt x="26" y="16"/>
                  </a:moveTo>
                  <a:cubicBezTo>
                    <a:pt x="30" y="19"/>
                    <a:pt x="36" y="19"/>
                    <a:pt x="40" y="16"/>
                  </a:cubicBezTo>
                  <a:cubicBezTo>
                    <a:pt x="45" y="14"/>
                    <a:pt x="45" y="11"/>
                    <a:pt x="40" y="8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19" y="12"/>
                    <a:pt x="19" y="12"/>
                    <a:pt x="19" y="12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3" name="Freeform 1457">
              <a:extLst>
                <a:ext uri="{FF2B5EF4-FFF2-40B4-BE49-F238E27FC236}">
                  <a16:creationId xmlns:a16="http://schemas.microsoft.com/office/drawing/2014/main" id="{29AB00BB-8C87-4744-BF6C-15E3FDB8A4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7069" y="4372058"/>
              <a:ext cx="206005" cy="118930"/>
            </a:xfrm>
            <a:custGeom>
              <a:avLst/>
              <a:gdLst>
                <a:gd name="T0" fmla="*/ 1 w 47"/>
                <a:gd name="T1" fmla="*/ 26 h 27"/>
                <a:gd name="T2" fmla="*/ 1 w 47"/>
                <a:gd name="T3" fmla="*/ 25 h 27"/>
                <a:gd name="T4" fmla="*/ 30 w 47"/>
                <a:gd name="T5" fmla="*/ 8 h 27"/>
                <a:gd name="T6" fmla="*/ 20 w 47"/>
                <a:gd name="T7" fmla="*/ 3 h 27"/>
                <a:gd name="T8" fmla="*/ 20 w 47"/>
                <a:gd name="T9" fmla="*/ 1 h 27"/>
                <a:gd name="T10" fmla="*/ 20 w 47"/>
                <a:gd name="T11" fmla="*/ 1 h 27"/>
                <a:gd name="T12" fmla="*/ 23 w 47"/>
                <a:gd name="T13" fmla="*/ 1 h 27"/>
                <a:gd name="T14" fmla="*/ 46 w 47"/>
                <a:gd name="T15" fmla="*/ 14 h 27"/>
                <a:gd name="T16" fmla="*/ 46 w 47"/>
                <a:gd name="T17" fmla="*/ 16 h 27"/>
                <a:gd name="T18" fmla="*/ 46 w 47"/>
                <a:gd name="T19" fmla="*/ 16 h 27"/>
                <a:gd name="T20" fmla="*/ 43 w 47"/>
                <a:gd name="T21" fmla="*/ 16 h 27"/>
                <a:gd name="T22" fmla="*/ 33 w 47"/>
                <a:gd name="T23" fmla="*/ 10 h 27"/>
                <a:gd name="T24" fmla="*/ 5 w 47"/>
                <a:gd name="T25" fmla="*/ 27 h 27"/>
                <a:gd name="T26" fmla="*/ 2 w 47"/>
                <a:gd name="T27" fmla="*/ 27 h 27"/>
                <a:gd name="T28" fmla="*/ 1 w 47"/>
                <a:gd name="T2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27">
                  <a:moveTo>
                    <a:pt x="1" y="26"/>
                  </a:moveTo>
                  <a:cubicBezTo>
                    <a:pt x="0" y="26"/>
                    <a:pt x="0" y="25"/>
                    <a:pt x="1" y="25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2"/>
                    <a:pt x="19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0"/>
                    <a:pt x="22" y="0"/>
                    <a:pt x="23" y="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7" y="14"/>
                    <a:pt x="47" y="15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5" y="16"/>
                    <a:pt x="44" y="16"/>
                    <a:pt x="43" y="16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lnTo>
                    <a:pt x="1" y="2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4" name="Freeform 1458">
              <a:extLst>
                <a:ext uri="{FF2B5EF4-FFF2-40B4-BE49-F238E27FC236}">
                  <a16:creationId xmlns:a16="http://schemas.microsoft.com/office/drawing/2014/main" id="{4BE9B0F8-3BD8-4638-8FB8-2A165A654A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23" y="5586845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5" name="Freeform 1459">
              <a:extLst>
                <a:ext uri="{FF2B5EF4-FFF2-40B4-BE49-F238E27FC236}">
                  <a16:creationId xmlns:a16="http://schemas.microsoft.com/office/drawing/2014/main" id="{9C6E23F2-4534-417B-8434-49E7E6C658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7965" y="555498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6" name="Freeform 1460">
              <a:extLst>
                <a:ext uri="{FF2B5EF4-FFF2-40B4-BE49-F238E27FC236}">
                  <a16:creationId xmlns:a16="http://schemas.microsoft.com/office/drawing/2014/main" id="{F2AE5510-5F72-4BC8-B2CA-CE021C8C89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058" y="552525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7" name="Freeform 1461">
              <a:extLst>
                <a:ext uri="{FF2B5EF4-FFF2-40B4-BE49-F238E27FC236}">
                  <a16:creationId xmlns:a16="http://schemas.microsoft.com/office/drawing/2014/main" id="{0035F240-80DC-4649-B3AA-CB618D4400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48400" y="5493400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8" name="Freeform 1462">
              <a:extLst>
                <a:ext uri="{FF2B5EF4-FFF2-40B4-BE49-F238E27FC236}">
                  <a16:creationId xmlns:a16="http://schemas.microsoft.com/office/drawing/2014/main" id="{34AC0136-4C12-43AA-BE88-35E079EE2D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1493" y="546366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9" name="Freeform 1463">
              <a:extLst>
                <a:ext uri="{FF2B5EF4-FFF2-40B4-BE49-F238E27FC236}">
                  <a16:creationId xmlns:a16="http://schemas.microsoft.com/office/drawing/2014/main" id="{E8101F4A-CBB5-4450-9874-E02BB50DD2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58835" y="542756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0" name="Freeform 1464">
              <a:extLst>
                <a:ext uri="{FF2B5EF4-FFF2-40B4-BE49-F238E27FC236}">
                  <a16:creationId xmlns:a16="http://schemas.microsoft.com/office/drawing/2014/main" id="{CABFBED0-D155-40A2-B8F1-938846C543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0187" y="565268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1" name="Freeform 1465">
              <a:extLst>
                <a:ext uri="{FF2B5EF4-FFF2-40B4-BE49-F238E27FC236}">
                  <a16:creationId xmlns:a16="http://schemas.microsoft.com/office/drawing/2014/main" id="{C72FFE4A-554A-40B2-A767-B2AEE6D018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7529" y="5622949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2" name="Freeform 1466">
              <a:extLst>
                <a:ext uri="{FF2B5EF4-FFF2-40B4-BE49-F238E27FC236}">
                  <a16:creationId xmlns:a16="http://schemas.microsoft.com/office/drawing/2014/main" id="{5A978017-1376-410F-BA0E-D95073CCB9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59752" y="5652682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3" name="Freeform 1467">
              <a:extLst>
                <a:ext uri="{FF2B5EF4-FFF2-40B4-BE49-F238E27FC236}">
                  <a16:creationId xmlns:a16="http://schemas.microsoft.com/office/drawing/2014/main" id="{16789601-D54D-4EE3-A318-5358EE046D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7529" y="555498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4" name="Freeform 1468">
              <a:extLst>
                <a:ext uri="{FF2B5EF4-FFF2-40B4-BE49-F238E27FC236}">
                  <a16:creationId xmlns:a16="http://schemas.microsoft.com/office/drawing/2014/main" id="{9B7C12DC-3503-44DD-858D-87A01CD492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23" y="552525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5" name="Freeform 1469">
              <a:extLst>
                <a:ext uri="{FF2B5EF4-FFF2-40B4-BE49-F238E27FC236}">
                  <a16:creationId xmlns:a16="http://schemas.microsoft.com/office/drawing/2014/main" id="{FE099D5C-3DD1-49CE-BAE7-1D8C45498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7965" y="549340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6" name="Freeform 1470">
              <a:extLst>
                <a:ext uri="{FF2B5EF4-FFF2-40B4-BE49-F238E27FC236}">
                  <a16:creationId xmlns:a16="http://schemas.microsoft.com/office/drawing/2014/main" id="{3A19A600-5416-4BBE-834F-DDA2D4EE3F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058" y="546366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7" name="Freeform 1471">
              <a:extLst>
                <a:ext uri="{FF2B5EF4-FFF2-40B4-BE49-F238E27FC236}">
                  <a16:creationId xmlns:a16="http://schemas.microsoft.com/office/drawing/2014/main" id="{6D2D89E8-7C84-4EBC-90B7-5C501B3139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48400" y="542756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8" name="Freeform 1472">
              <a:extLst>
                <a:ext uri="{FF2B5EF4-FFF2-40B4-BE49-F238E27FC236}">
                  <a16:creationId xmlns:a16="http://schemas.microsoft.com/office/drawing/2014/main" id="{EAC2671B-B069-4960-9435-1FA23496D1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1493" y="539783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1 w 8"/>
                <a:gd name="T5" fmla="*/ 4 h 4"/>
                <a:gd name="T6" fmla="*/ 1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9" name="Freeform 1473">
              <a:extLst>
                <a:ext uri="{FF2B5EF4-FFF2-40B4-BE49-F238E27FC236}">
                  <a16:creationId xmlns:a16="http://schemas.microsoft.com/office/drawing/2014/main" id="{1A783968-0BD3-441C-ABE8-8DC8B6E972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17094" y="5622949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0" name="Freeform 1474">
              <a:extLst>
                <a:ext uri="{FF2B5EF4-FFF2-40B4-BE49-F238E27FC236}">
                  <a16:creationId xmlns:a16="http://schemas.microsoft.com/office/drawing/2014/main" id="{198A8EBD-2521-4C2E-834A-FA419155E9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0187" y="5586845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1" name="Freeform 1475">
              <a:extLst>
                <a:ext uri="{FF2B5EF4-FFF2-40B4-BE49-F238E27FC236}">
                  <a16:creationId xmlns:a16="http://schemas.microsoft.com/office/drawing/2014/main" id="{F904C670-BD2F-4BAB-911F-B7F364E76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17094" y="555498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2" name="Freeform 1476">
              <a:extLst>
                <a:ext uri="{FF2B5EF4-FFF2-40B4-BE49-F238E27FC236}">
                  <a16:creationId xmlns:a16="http://schemas.microsoft.com/office/drawing/2014/main" id="{AF26A912-E5C7-4D82-A02D-2F41C62D47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0187" y="552525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3" name="Freeform 1477">
              <a:extLst>
                <a:ext uri="{FF2B5EF4-FFF2-40B4-BE49-F238E27FC236}">
                  <a16:creationId xmlns:a16="http://schemas.microsoft.com/office/drawing/2014/main" id="{12241BF6-B41D-4628-BB23-5A269FDF78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7529" y="549340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4" name="Freeform 1478">
              <a:extLst>
                <a:ext uri="{FF2B5EF4-FFF2-40B4-BE49-F238E27FC236}">
                  <a16:creationId xmlns:a16="http://schemas.microsoft.com/office/drawing/2014/main" id="{108F0707-43F7-4215-908C-2E05F95A4F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23" y="546366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5" name="Freeform 1479">
              <a:extLst>
                <a:ext uri="{FF2B5EF4-FFF2-40B4-BE49-F238E27FC236}">
                  <a16:creationId xmlns:a16="http://schemas.microsoft.com/office/drawing/2014/main" id="{B71E5600-B1B0-43BC-958C-E49943620C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7965" y="542756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6" name="Freeform 1480">
              <a:extLst>
                <a:ext uri="{FF2B5EF4-FFF2-40B4-BE49-F238E27FC236}">
                  <a16:creationId xmlns:a16="http://schemas.microsoft.com/office/drawing/2014/main" id="{3AFDA0D1-CF18-4E28-A7A8-A547C80AC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058" y="539783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7" name="Freeform 1481">
              <a:extLst>
                <a:ext uri="{FF2B5EF4-FFF2-40B4-BE49-F238E27FC236}">
                  <a16:creationId xmlns:a16="http://schemas.microsoft.com/office/drawing/2014/main" id="{5D9EC8F6-E164-429F-B658-033CF22EEA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48400" y="536597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8" name="Freeform 1482">
              <a:extLst>
                <a:ext uri="{FF2B5EF4-FFF2-40B4-BE49-F238E27FC236}">
                  <a16:creationId xmlns:a16="http://schemas.microsoft.com/office/drawing/2014/main" id="{8E15A4E2-93C1-4B12-986C-F7CA503847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06659" y="5622949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9" name="Freeform 1483">
              <a:extLst>
                <a:ext uri="{FF2B5EF4-FFF2-40B4-BE49-F238E27FC236}">
                  <a16:creationId xmlns:a16="http://schemas.microsoft.com/office/drawing/2014/main" id="{B4E74981-34FF-4297-82FD-AF2E84B268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59752" y="5586845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0" name="Freeform 1484">
              <a:extLst>
                <a:ext uri="{FF2B5EF4-FFF2-40B4-BE49-F238E27FC236}">
                  <a16:creationId xmlns:a16="http://schemas.microsoft.com/office/drawing/2014/main" id="{26A7AEBB-C3AF-40FF-888F-1C04F69A02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59752" y="5525257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1" name="Freeform 1485">
              <a:extLst>
                <a:ext uri="{FF2B5EF4-FFF2-40B4-BE49-F238E27FC236}">
                  <a16:creationId xmlns:a16="http://schemas.microsoft.com/office/drawing/2014/main" id="{5A569108-0FBC-4646-8396-DA030D3776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17094" y="549340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2" name="Freeform 1486">
              <a:extLst>
                <a:ext uri="{FF2B5EF4-FFF2-40B4-BE49-F238E27FC236}">
                  <a16:creationId xmlns:a16="http://schemas.microsoft.com/office/drawing/2014/main" id="{D551BEF7-8970-4723-80B9-846D2DC77B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0187" y="546366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3" name="Freeform 1487">
              <a:extLst>
                <a:ext uri="{FF2B5EF4-FFF2-40B4-BE49-F238E27FC236}">
                  <a16:creationId xmlns:a16="http://schemas.microsoft.com/office/drawing/2014/main" id="{2D946D8C-DB22-494F-BCF0-869174B3F4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7529" y="542756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4" name="Freeform 1488">
              <a:extLst>
                <a:ext uri="{FF2B5EF4-FFF2-40B4-BE49-F238E27FC236}">
                  <a16:creationId xmlns:a16="http://schemas.microsoft.com/office/drawing/2014/main" id="{018AEE3A-65EC-443B-BA41-700951AC10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23" y="539783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5" name="Freeform 1489">
              <a:extLst>
                <a:ext uri="{FF2B5EF4-FFF2-40B4-BE49-F238E27FC236}">
                  <a16:creationId xmlns:a16="http://schemas.microsoft.com/office/drawing/2014/main" id="{40108C76-DA01-4393-8176-CCBB52B8D8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7965" y="536597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6" name="Freeform 1490">
              <a:extLst>
                <a:ext uri="{FF2B5EF4-FFF2-40B4-BE49-F238E27FC236}">
                  <a16:creationId xmlns:a16="http://schemas.microsoft.com/office/drawing/2014/main" id="{D40B0B6B-4CEF-4140-95B6-D298FB6F0F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058" y="5334119"/>
              <a:ext cx="33980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7" name="Freeform 1491">
              <a:extLst>
                <a:ext uri="{FF2B5EF4-FFF2-40B4-BE49-F238E27FC236}">
                  <a16:creationId xmlns:a16="http://schemas.microsoft.com/office/drawing/2014/main" id="{F21DC404-C451-44DF-8C6A-6CF580DF0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9317" y="5586845"/>
              <a:ext cx="36104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8" name="Freeform 1492">
              <a:extLst>
                <a:ext uri="{FF2B5EF4-FFF2-40B4-BE49-F238E27FC236}">
                  <a16:creationId xmlns:a16="http://schemas.microsoft.com/office/drawing/2014/main" id="{D4399BD6-2647-4ABC-8537-08EDA573F4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06659" y="5554989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9" name="Freeform 1493">
              <a:extLst>
                <a:ext uri="{FF2B5EF4-FFF2-40B4-BE49-F238E27FC236}">
                  <a16:creationId xmlns:a16="http://schemas.microsoft.com/office/drawing/2014/main" id="{8BACE1CB-A847-4E92-970C-D54F4B128C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06659" y="5493400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0" name="Freeform 1494">
              <a:extLst>
                <a:ext uri="{FF2B5EF4-FFF2-40B4-BE49-F238E27FC236}">
                  <a16:creationId xmlns:a16="http://schemas.microsoft.com/office/drawing/2014/main" id="{5EDA8980-059F-43FB-BD61-62FD8A60EC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59752" y="5463667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1" name="Freeform 1495">
              <a:extLst>
                <a:ext uri="{FF2B5EF4-FFF2-40B4-BE49-F238E27FC236}">
                  <a16:creationId xmlns:a16="http://schemas.microsoft.com/office/drawing/2014/main" id="{1811576E-1703-48D7-8004-4CCA9B1BF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17094" y="5427564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2" name="Freeform 1496">
              <a:extLst>
                <a:ext uri="{FF2B5EF4-FFF2-40B4-BE49-F238E27FC236}">
                  <a16:creationId xmlns:a16="http://schemas.microsoft.com/office/drawing/2014/main" id="{8DFD696D-32E6-4533-9D93-9AED29352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70187" y="539783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3" name="Freeform 1497">
              <a:extLst>
                <a:ext uri="{FF2B5EF4-FFF2-40B4-BE49-F238E27FC236}">
                  <a16:creationId xmlns:a16="http://schemas.microsoft.com/office/drawing/2014/main" id="{315C561C-6D0E-4EF6-8F24-4F672F121A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27529" y="536597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4" name="Freeform 1498">
              <a:extLst>
                <a:ext uri="{FF2B5EF4-FFF2-40B4-BE49-F238E27FC236}">
                  <a16:creationId xmlns:a16="http://schemas.microsoft.com/office/drawing/2014/main" id="{3B97CF61-A22C-4131-B9AA-DFC05D8819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0623" y="5334119"/>
              <a:ext cx="33980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5" name="Freeform 1499">
              <a:extLst>
                <a:ext uri="{FF2B5EF4-FFF2-40B4-BE49-F238E27FC236}">
                  <a16:creationId xmlns:a16="http://schemas.microsoft.com/office/drawing/2014/main" id="{45D6CF8A-AD48-47A2-B17D-6912244F13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7965" y="5300139"/>
              <a:ext cx="29733" cy="21238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6" name="Freeform 1500">
              <a:extLst>
                <a:ext uri="{FF2B5EF4-FFF2-40B4-BE49-F238E27FC236}">
                  <a16:creationId xmlns:a16="http://schemas.microsoft.com/office/drawing/2014/main" id="{F0040915-594F-4BB3-8D99-D04FFD3818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9317" y="5525257"/>
              <a:ext cx="36104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7" name="Freeform 1501">
              <a:extLst>
                <a:ext uri="{FF2B5EF4-FFF2-40B4-BE49-F238E27FC236}">
                  <a16:creationId xmlns:a16="http://schemas.microsoft.com/office/drawing/2014/main" id="{5CFD8352-E4E2-4961-8BDC-03D7436236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11928" y="5397832"/>
              <a:ext cx="33980" cy="21238"/>
            </a:xfrm>
            <a:custGeom>
              <a:avLst/>
              <a:gdLst>
                <a:gd name="T0" fmla="*/ 2 w 8"/>
                <a:gd name="T1" fmla="*/ 1 h 5"/>
                <a:gd name="T2" fmla="*/ 6 w 8"/>
                <a:gd name="T3" fmla="*/ 1 h 5"/>
                <a:gd name="T4" fmla="*/ 6 w 8"/>
                <a:gd name="T5" fmla="*/ 4 h 5"/>
                <a:gd name="T6" fmla="*/ 2 w 8"/>
                <a:gd name="T7" fmla="*/ 4 h 5"/>
                <a:gd name="T8" fmla="*/ 2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8" name="Freeform 1502">
              <a:extLst>
                <a:ext uri="{FF2B5EF4-FFF2-40B4-BE49-F238E27FC236}">
                  <a16:creationId xmlns:a16="http://schemas.microsoft.com/office/drawing/2014/main" id="{87C78A0C-518E-4445-9DC0-17087E15FC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69270" y="5365975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9" name="Freeform 1503">
              <a:extLst>
                <a:ext uri="{FF2B5EF4-FFF2-40B4-BE49-F238E27FC236}">
                  <a16:creationId xmlns:a16="http://schemas.microsoft.com/office/drawing/2014/main" id="{933B4705-F7AD-4941-BF6B-E637FE4208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58835" y="5365975"/>
              <a:ext cx="29733" cy="16990"/>
            </a:xfrm>
            <a:custGeom>
              <a:avLst/>
              <a:gdLst>
                <a:gd name="T0" fmla="*/ 1 w 7"/>
                <a:gd name="T1" fmla="*/ 1 h 4"/>
                <a:gd name="T2" fmla="*/ 6 w 7"/>
                <a:gd name="T3" fmla="*/ 1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1"/>
                  </a:moveTo>
                  <a:cubicBezTo>
                    <a:pt x="2" y="0"/>
                    <a:pt x="5" y="0"/>
                    <a:pt x="6" y="1"/>
                  </a:cubicBez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0" name="Freeform 1504">
              <a:extLst>
                <a:ext uri="{FF2B5EF4-FFF2-40B4-BE49-F238E27FC236}">
                  <a16:creationId xmlns:a16="http://schemas.microsoft.com/office/drawing/2014/main" id="{B0AADD14-09F2-4D8D-B47D-04A68BE97E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11928" y="5334119"/>
              <a:ext cx="33980" cy="19114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1" name="Freeform 1505">
              <a:extLst>
                <a:ext uri="{FF2B5EF4-FFF2-40B4-BE49-F238E27FC236}">
                  <a16:creationId xmlns:a16="http://schemas.microsoft.com/office/drawing/2014/main" id="{1D52707C-8A86-4ADA-9B12-6462AD6BCC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69270" y="530438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4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2" name="Freeform 1506">
              <a:extLst>
                <a:ext uri="{FF2B5EF4-FFF2-40B4-BE49-F238E27FC236}">
                  <a16:creationId xmlns:a16="http://schemas.microsoft.com/office/drawing/2014/main" id="{52118781-9B6E-45C8-AC46-4D525E0E81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1493" y="5334119"/>
              <a:ext cx="33980" cy="19114"/>
            </a:xfrm>
            <a:custGeom>
              <a:avLst/>
              <a:gdLst>
                <a:gd name="T0" fmla="*/ 2 w 8"/>
                <a:gd name="T1" fmla="*/ 1 h 4"/>
                <a:gd name="T2" fmla="*/ 6 w 8"/>
                <a:gd name="T3" fmla="*/ 1 h 4"/>
                <a:gd name="T4" fmla="*/ 6 w 8"/>
                <a:gd name="T5" fmla="*/ 3 h 4"/>
                <a:gd name="T6" fmla="*/ 2 w 8"/>
                <a:gd name="T7" fmla="*/ 3 h 4"/>
                <a:gd name="T8" fmla="*/ 2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3" name="Freeform 1507">
              <a:extLst>
                <a:ext uri="{FF2B5EF4-FFF2-40B4-BE49-F238E27FC236}">
                  <a16:creationId xmlns:a16="http://schemas.microsoft.com/office/drawing/2014/main" id="{A7F418BB-AC2C-468F-9C64-1906F3B0E1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58835" y="530438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4" name="Freeform 1508">
              <a:extLst>
                <a:ext uri="{FF2B5EF4-FFF2-40B4-BE49-F238E27FC236}">
                  <a16:creationId xmlns:a16="http://schemas.microsoft.com/office/drawing/2014/main" id="{C7D0DB17-F90F-4558-95EC-9D174604C0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11928" y="5268282"/>
              <a:ext cx="33980" cy="23362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5" name="Freeform 1509">
              <a:extLst>
                <a:ext uri="{FF2B5EF4-FFF2-40B4-BE49-F238E27FC236}">
                  <a16:creationId xmlns:a16="http://schemas.microsoft.com/office/drawing/2014/main" id="{19EBA0BE-42DA-4983-BA10-9DABFE57A1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48400" y="5304386"/>
              <a:ext cx="29733" cy="16990"/>
            </a:xfrm>
            <a:custGeom>
              <a:avLst/>
              <a:gdLst>
                <a:gd name="T0" fmla="*/ 1 w 7"/>
                <a:gd name="T1" fmla="*/ 0 h 4"/>
                <a:gd name="T2" fmla="*/ 6 w 7"/>
                <a:gd name="T3" fmla="*/ 0 h 4"/>
                <a:gd name="T4" fmla="*/ 6 w 7"/>
                <a:gd name="T5" fmla="*/ 3 h 4"/>
                <a:gd name="T6" fmla="*/ 1 w 7"/>
                <a:gd name="T7" fmla="*/ 3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2" y="0"/>
                    <a:pt x="5" y="0"/>
                    <a:pt x="6" y="0"/>
                  </a:cubicBez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6" name="Freeform 1510">
              <a:extLst>
                <a:ext uri="{FF2B5EF4-FFF2-40B4-BE49-F238E27FC236}">
                  <a16:creationId xmlns:a16="http://schemas.microsoft.com/office/drawing/2014/main" id="{50171CA1-AE40-4467-AD2E-F358420BFF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1493" y="5268282"/>
              <a:ext cx="33980" cy="23362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7" name="Freeform 1511">
              <a:extLst>
                <a:ext uri="{FF2B5EF4-FFF2-40B4-BE49-F238E27FC236}">
                  <a16:creationId xmlns:a16="http://schemas.microsoft.com/office/drawing/2014/main" id="{F5453515-832E-43D5-8C70-585080A700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58835" y="5238549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8" name="Freeform 1512">
              <a:extLst>
                <a:ext uri="{FF2B5EF4-FFF2-40B4-BE49-F238E27FC236}">
                  <a16:creationId xmlns:a16="http://schemas.microsoft.com/office/drawing/2014/main" id="{B99616FC-3CA9-4FE1-82C9-7636203BD3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058" y="5268282"/>
              <a:ext cx="33980" cy="23362"/>
            </a:xfrm>
            <a:custGeom>
              <a:avLst/>
              <a:gdLst>
                <a:gd name="T0" fmla="*/ 2 w 8"/>
                <a:gd name="T1" fmla="*/ 1 h 5"/>
                <a:gd name="T2" fmla="*/ 6 w 8"/>
                <a:gd name="T3" fmla="*/ 1 h 5"/>
                <a:gd name="T4" fmla="*/ 6 w 8"/>
                <a:gd name="T5" fmla="*/ 4 h 5"/>
                <a:gd name="T6" fmla="*/ 2 w 8"/>
                <a:gd name="T7" fmla="*/ 4 h 5"/>
                <a:gd name="T8" fmla="*/ 2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2" y="1"/>
                  </a:moveTo>
                  <a:cubicBezTo>
                    <a:pt x="3" y="0"/>
                    <a:pt x="5" y="0"/>
                    <a:pt x="6" y="1"/>
                  </a:cubicBez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9" name="Freeform 1513">
              <a:extLst>
                <a:ext uri="{FF2B5EF4-FFF2-40B4-BE49-F238E27FC236}">
                  <a16:creationId xmlns:a16="http://schemas.microsoft.com/office/drawing/2014/main" id="{86D5D64A-65EC-445F-B92D-3321AA46BE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48400" y="5238549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0" name="Freeform 1514">
              <a:extLst>
                <a:ext uri="{FF2B5EF4-FFF2-40B4-BE49-F238E27FC236}">
                  <a16:creationId xmlns:a16="http://schemas.microsoft.com/office/drawing/2014/main" id="{B06BB598-C75F-4EFE-AF40-807AC6DC44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22259" y="3601137"/>
              <a:ext cx="1244519" cy="1830675"/>
            </a:xfrm>
            <a:custGeom>
              <a:avLst/>
              <a:gdLst>
                <a:gd name="T0" fmla="*/ 20 w 282"/>
                <a:gd name="T1" fmla="*/ 128 h 415"/>
                <a:gd name="T2" fmla="*/ 130 w 282"/>
                <a:gd name="T3" fmla="*/ 16 h 415"/>
                <a:gd name="T4" fmla="*/ 240 w 282"/>
                <a:gd name="T5" fmla="*/ 2 h 415"/>
                <a:gd name="T6" fmla="*/ 253 w 282"/>
                <a:gd name="T7" fmla="*/ 3 h 415"/>
                <a:gd name="T8" fmla="*/ 282 w 282"/>
                <a:gd name="T9" fmla="*/ 20 h 415"/>
                <a:gd name="T10" fmla="*/ 260 w 282"/>
                <a:gd name="T11" fmla="*/ 67 h 415"/>
                <a:gd name="T12" fmla="*/ 260 w 282"/>
                <a:gd name="T13" fmla="*/ 141 h 415"/>
                <a:gd name="T14" fmla="*/ 188 w 282"/>
                <a:gd name="T15" fmla="*/ 332 h 415"/>
                <a:gd name="T16" fmla="*/ 130 w 282"/>
                <a:gd name="T17" fmla="*/ 412 h 415"/>
                <a:gd name="T18" fmla="*/ 99 w 282"/>
                <a:gd name="T19" fmla="*/ 407 h 415"/>
                <a:gd name="T20" fmla="*/ 93 w 282"/>
                <a:gd name="T21" fmla="*/ 410 h 415"/>
                <a:gd name="T22" fmla="*/ 68 w 282"/>
                <a:gd name="T23" fmla="*/ 395 h 415"/>
                <a:gd name="T24" fmla="*/ 55 w 282"/>
                <a:gd name="T25" fmla="*/ 388 h 415"/>
                <a:gd name="T26" fmla="*/ 54 w 282"/>
                <a:gd name="T27" fmla="*/ 388 h 415"/>
                <a:gd name="T28" fmla="*/ 54 w 282"/>
                <a:gd name="T29" fmla="*/ 388 h 415"/>
                <a:gd name="T30" fmla="*/ 0 w 282"/>
                <a:gd name="T31" fmla="*/ 290 h 415"/>
                <a:gd name="T32" fmla="*/ 0 w 282"/>
                <a:gd name="T33" fmla="*/ 167 h 415"/>
                <a:gd name="T34" fmla="*/ 20 w 282"/>
                <a:gd name="T35" fmla="*/ 128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2" h="415">
                  <a:moveTo>
                    <a:pt x="20" y="128"/>
                  </a:moveTo>
                  <a:cubicBezTo>
                    <a:pt x="130" y="16"/>
                    <a:pt x="130" y="16"/>
                    <a:pt x="130" y="16"/>
                  </a:cubicBezTo>
                  <a:cubicBezTo>
                    <a:pt x="240" y="2"/>
                    <a:pt x="240" y="2"/>
                    <a:pt x="240" y="2"/>
                  </a:cubicBezTo>
                  <a:cubicBezTo>
                    <a:pt x="246" y="0"/>
                    <a:pt x="250" y="1"/>
                    <a:pt x="253" y="3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60" y="67"/>
                    <a:pt x="260" y="67"/>
                    <a:pt x="260" y="67"/>
                  </a:cubicBezTo>
                  <a:cubicBezTo>
                    <a:pt x="260" y="141"/>
                    <a:pt x="260" y="141"/>
                    <a:pt x="260" y="141"/>
                  </a:cubicBezTo>
                  <a:cubicBezTo>
                    <a:pt x="260" y="141"/>
                    <a:pt x="248" y="238"/>
                    <a:pt x="188" y="332"/>
                  </a:cubicBezTo>
                  <a:cubicBezTo>
                    <a:pt x="140" y="406"/>
                    <a:pt x="130" y="412"/>
                    <a:pt x="130" y="412"/>
                  </a:cubicBezTo>
                  <a:cubicBezTo>
                    <a:pt x="130" y="412"/>
                    <a:pt x="125" y="415"/>
                    <a:pt x="99" y="407"/>
                  </a:cubicBezTo>
                  <a:cubicBezTo>
                    <a:pt x="93" y="410"/>
                    <a:pt x="93" y="410"/>
                    <a:pt x="93" y="410"/>
                  </a:cubicBezTo>
                  <a:cubicBezTo>
                    <a:pt x="68" y="395"/>
                    <a:pt x="68" y="395"/>
                    <a:pt x="68" y="395"/>
                  </a:cubicBezTo>
                  <a:cubicBezTo>
                    <a:pt x="63" y="393"/>
                    <a:pt x="59" y="391"/>
                    <a:pt x="55" y="388"/>
                  </a:cubicBezTo>
                  <a:cubicBezTo>
                    <a:pt x="54" y="388"/>
                    <a:pt x="54" y="388"/>
                    <a:pt x="54" y="388"/>
                  </a:cubicBezTo>
                  <a:cubicBezTo>
                    <a:pt x="54" y="388"/>
                    <a:pt x="54" y="388"/>
                    <a:pt x="54" y="388"/>
                  </a:cubicBezTo>
                  <a:cubicBezTo>
                    <a:pt x="9" y="356"/>
                    <a:pt x="0" y="290"/>
                    <a:pt x="0" y="290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54"/>
                    <a:pt x="8" y="138"/>
                    <a:pt x="20" y="12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1" name="Freeform 1515">
              <a:extLst>
                <a:ext uri="{FF2B5EF4-FFF2-40B4-BE49-F238E27FC236}">
                  <a16:creationId xmlns:a16="http://schemas.microsoft.com/office/drawing/2014/main" id="{4BD90DCB-55E2-4044-8EA0-8970C6DA8B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26507" y="3647859"/>
              <a:ext cx="1244519" cy="1414419"/>
            </a:xfrm>
            <a:custGeom>
              <a:avLst/>
              <a:gdLst>
                <a:gd name="T0" fmla="*/ 282 w 282"/>
                <a:gd name="T1" fmla="*/ 20 h 320"/>
                <a:gd name="T2" fmla="*/ 253 w 282"/>
                <a:gd name="T3" fmla="*/ 3 h 320"/>
                <a:gd name="T4" fmla="*/ 240 w 282"/>
                <a:gd name="T5" fmla="*/ 1 h 320"/>
                <a:gd name="T6" fmla="*/ 129 w 282"/>
                <a:gd name="T7" fmla="*/ 16 h 320"/>
                <a:gd name="T8" fmla="*/ 19 w 282"/>
                <a:gd name="T9" fmla="*/ 128 h 320"/>
                <a:gd name="T10" fmla="*/ 0 w 282"/>
                <a:gd name="T11" fmla="*/ 167 h 320"/>
                <a:gd name="T12" fmla="*/ 0 w 282"/>
                <a:gd name="T13" fmla="*/ 188 h 320"/>
                <a:gd name="T14" fmla="*/ 118 w 282"/>
                <a:gd name="T15" fmla="*/ 257 h 320"/>
                <a:gd name="T16" fmla="*/ 131 w 282"/>
                <a:gd name="T17" fmla="*/ 258 h 320"/>
                <a:gd name="T18" fmla="*/ 137 w 282"/>
                <a:gd name="T19" fmla="*/ 262 h 320"/>
                <a:gd name="T20" fmla="*/ 92 w 282"/>
                <a:gd name="T21" fmla="*/ 217 h 320"/>
                <a:gd name="T22" fmla="*/ 160 w 282"/>
                <a:gd name="T23" fmla="*/ 275 h 320"/>
                <a:gd name="T24" fmla="*/ 137 w 282"/>
                <a:gd name="T25" fmla="*/ 262 h 320"/>
                <a:gd name="T26" fmla="*/ 195 w 282"/>
                <a:gd name="T27" fmla="*/ 320 h 320"/>
                <a:gd name="T28" fmla="*/ 260 w 282"/>
                <a:gd name="T29" fmla="*/ 141 h 320"/>
                <a:gd name="T30" fmla="*/ 260 w 282"/>
                <a:gd name="T31" fmla="*/ 67 h 320"/>
                <a:gd name="T32" fmla="*/ 282 w 282"/>
                <a:gd name="T33" fmla="*/ 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2" h="320">
                  <a:moveTo>
                    <a:pt x="282" y="20"/>
                  </a:moveTo>
                  <a:cubicBezTo>
                    <a:pt x="253" y="3"/>
                    <a:pt x="253" y="3"/>
                    <a:pt x="253" y="3"/>
                  </a:cubicBezTo>
                  <a:cubicBezTo>
                    <a:pt x="249" y="1"/>
                    <a:pt x="245" y="0"/>
                    <a:pt x="240" y="1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9" y="128"/>
                    <a:pt x="19" y="128"/>
                    <a:pt x="19" y="128"/>
                  </a:cubicBezTo>
                  <a:cubicBezTo>
                    <a:pt x="8" y="138"/>
                    <a:pt x="0" y="154"/>
                    <a:pt x="0" y="167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118" y="257"/>
                    <a:pt x="118" y="257"/>
                    <a:pt x="118" y="257"/>
                  </a:cubicBezTo>
                  <a:cubicBezTo>
                    <a:pt x="123" y="256"/>
                    <a:pt x="128" y="256"/>
                    <a:pt x="131" y="258"/>
                  </a:cubicBezTo>
                  <a:cubicBezTo>
                    <a:pt x="137" y="262"/>
                    <a:pt x="137" y="262"/>
                    <a:pt x="137" y="262"/>
                  </a:cubicBezTo>
                  <a:cubicBezTo>
                    <a:pt x="92" y="217"/>
                    <a:pt x="92" y="217"/>
                    <a:pt x="92" y="217"/>
                  </a:cubicBezTo>
                  <a:cubicBezTo>
                    <a:pt x="160" y="275"/>
                    <a:pt x="160" y="275"/>
                    <a:pt x="160" y="275"/>
                  </a:cubicBezTo>
                  <a:cubicBezTo>
                    <a:pt x="137" y="262"/>
                    <a:pt x="137" y="262"/>
                    <a:pt x="137" y="262"/>
                  </a:cubicBezTo>
                  <a:cubicBezTo>
                    <a:pt x="195" y="320"/>
                    <a:pt x="195" y="320"/>
                    <a:pt x="195" y="320"/>
                  </a:cubicBezTo>
                  <a:cubicBezTo>
                    <a:pt x="249" y="230"/>
                    <a:pt x="260" y="141"/>
                    <a:pt x="260" y="141"/>
                  </a:cubicBezTo>
                  <a:cubicBezTo>
                    <a:pt x="260" y="67"/>
                    <a:pt x="260" y="67"/>
                    <a:pt x="260" y="67"/>
                  </a:cubicBezTo>
                  <a:lnTo>
                    <a:pt x="282" y="2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2" name="Freeform 1516">
              <a:extLst>
                <a:ext uri="{FF2B5EF4-FFF2-40B4-BE49-F238E27FC236}">
                  <a16:creationId xmlns:a16="http://schemas.microsoft.com/office/drawing/2014/main" id="{F97590C9-9872-484B-B997-A4D3DE4172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609517" y="3586270"/>
              <a:ext cx="1276376" cy="1845542"/>
            </a:xfrm>
            <a:custGeom>
              <a:avLst/>
              <a:gdLst>
                <a:gd name="T0" fmla="*/ 129 w 289"/>
                <a:gd name="T1" fmla="*/ 418 h 418"/>
                <a:gd name="T2" fmla="*/ 103 w 289"/>
                <a:gd name="T3" fmla="*/ 413 h 418"/>
                <a:gd name="T4" fmla="*/ 96 w 289"/>
                <a:gd name="T5" fmla="*/ 416 h 418"/>
                <a:gd name="T6" fmla="*/ 69 w 289"/>
                <a:gd name="T7" fmla="*/ 401 h 418"/>
                <a:gd name="T8" fmla="*/ 56 w 289"/>
                <a:gd name="T9" fmla="*/ 394 h 418"/>
                <a:gd name="T10" fmla="*/ 55 w 289"/>
                <a:gd name="T11" fmla="*/ 393 h 418"/>
                <a:gd name="T12" fmla="*/ 0 w 289"/>
                <a:gd name="T13" fmla="*/ 294 h 418"/>
                <a:gd name="T14" fmla="*/ 0 w 289"/>
                <a:gd name="T15" fmla="*/ 170 h 418"/>
                <a:gd name="T16" fmla="*/ 21 w 289"/>
                <a:gd name="T17" fmla="*/ 129 h 418"/>
                <a:gd name="T18" fmla="*/ 132 w 289"/>
                <a:gd name="T19" fmla="*/ 16 h 418"/>
                <a:gd name="T20" fmla="*/ 243 w 289"/>
                <a:gd name="T21" fmla="*/ 2 h 418"/>
                <a:gd name="T22" fmla="*/ 258 w 289"/>
                <a:gd name="T23" fmla="*/ 3 h 418"/>
                <a:gd name="T24" fmla="*/ 289 w 289"/>
                <a:gd name="T25" fmla="*/ 22 h 418"/>
                <a:gd name="T26" fmla="*/ 266 w 289"/>
                <a:gd name="T27" fmla="*/ 71 h 418"/>
                <a:gd name="T28" fmla="*/ 266 w 289"/>
                <a:gd name="T29" fmla="*/ 144 h 418"/>
                <a:gd name="T30" fmla="*/ 193 w 289"/>
                <a:gd name="T31" fmla="*/ 337 h 418"/>
                <a:gd name="T32" fmla="*/ 135 w 289"/>
                <a:gd name="T33" fmla="*/ 417 h 418"/>
                <a:gd name="T34" fmla="*/ 129 w 289"/>
                <a:gd name="T35" fmla="*/ 418 h 418"/>
                <a:gd name="T36" fmla="*/ 102 w 289"/>
                <a:gd name="T37" fmla="*/ 407 h 418"/>
                <a:gd name="T38" fmla="*/ 103 w 289"/>
                <a:gd name="T39" fmla="*/ 407 h 418"/>
                <a:gd name="T40" fmla="*/ 132 w 289"/>
                <a:gd name="T41" fmla="*/ 412 h 418"/>
                <a:gd name="T42" fmla="*/ 188 w 289"/>
                <a:gd name="T43" fmla="*/ 333 h 418"/>
                <a:gd name="T44" fmla="*/ 260 w 289"/>
                <a:gd name="T45" fmla="*/ 144 h 418"/>
                <a:gd name="T46" fmla="*/ 260 w 289"/>
                <a:gd name="T47" fmla="*/ 69 h 418"/>
                <a:gd name="T48" fmla="*/ 282 w 289"/>
                <a:gd name="T49" fmla="*/ 24 h 418"/>
                <a:gd name="T50" fmla="*/ 255 w 289"/>
                <a:gd name="T51" fmla="*/ 8 h 418"/>
                <a:gd name="T52" fmla="*/ 244 w 289"/>
                <a:gd name="T53" fmla="*/ 7 h 418"/>
                <a:gd name="T54" fmla="*/ 134 w 289"/>
                <a:gd name="T55" fmla="*/ 22 h 418"/>
                <a:gd name="T56" fmla="*/ 25 w 289"/>
                <a:gd name="T57" fmla="*/ 133 h 418"/>
                <a:gd name="T58" fmla="*/ 6 w 289"/>
                <a:gd name="T59" fmla="*/ 170 h 418"/>
                <a:gd name="T60" fmla="*/ 6 w 289"/>
                <a:gd name="T61" fmla="*/ 293 h 418"/>
                <a:gd name="T62" fmla="*/ 59 w 289"/>
                <a:gd name="T63" fmla="*/ 388 h 418"/>
                <a:gd name="T64" fmla="*/ 60 w 289"/>
                <a:gd name="T65" fmla="*/ 389 h 418"/>
                <a:gd name="T66" fmla="*/ 72 w 289"/>
                <a:gd name="T67" fmla="*/ 396 h 418"/>
                <a:gd name="T68" fmla="*/ 96 w 289"/>
                <a:gd name="T69" fmla="*/ 410 h 418"/>
                <a:gd name="T70" fmla="*/ 102 w 289"/>
                <a:gd name="T71" fmla="*/ 407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9" h="418">
                  <a:moveTo>
                    <a:pt x="129" y="418"/>
                  </a:moveTo>
                  <a:cubicBezTo>
                    <a:pt x="124" y="418"/>
                    <a:pt x="116" y="417"/>
                    <a:pt x="103" y="413"/>
                  </a:cubicBezTo>
                  <a:cubicBezTo>
                    <a:pt x="96" y="416"/>
                    <a:pt x="96" y="416"/>
                    <a:pt x="96" y="416"/>
                  </a:cubicBezTo>
                  <a:cubicBezTo>
                    <a:pt x="69" y="401"/>
                    <a:pt x="69" y="401"/>
                    <a:pt x="69" y="401"/>
                  </a:cubicBezTo>
                  <a:cubicBezTo>
                    <a:pt x="65" y="399"/>
                    <a:pt x="61" y="397"/>
                    <a:pt x="56" y="394"/>
                  </a:cubicBezTo>
                  <a:cubicBezTo>
                    <a:pt x="55" y="393"/>
                    <a:pt x="55" y="393"/>
                    <a:pt x="55" y="393"/>
                  </a:cubicBezTo>
                  <a:cubicBezTo>
                    <a:pt x="10" y="360"/>
                    <a:pt x="1" y="296"/>
                    <a:pt x="0" y="294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0" y="156"/>
                    <a:pt x="8" y="140"/>
                    <a:pt x="21" y="129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243" y="2"/>
                    <a:pt x="243" y="2"/>
                    <a:pt x="243" y="2"/>
                  </a:cubicBezTo>
                  <a:cubicBezTo>
                    <a:pt x="249" y="0"/>
                    <a:pt x="254" y="1"/>
                    <a:pt x="258" y="3"/>
                  </a:cubicBezTo>
                  <a:cubicBezTo>
                    <a:pt x="289" y="22"/>
                    <a:pt x="289" y="22"/>
                    <a:pt x="289" y="22"/>
                  </a:cubicBezTo>
                  <a:cubicBezTo>
                    <a:pt x="266" y="71"/>
                    <a:pt x="266" y="71"/>
                    <a:pt x="266" y="71"/>
                  </a:cubicBezTo>
                  <a:cubicBezTo>
                    <a:pt x="266" y="144"/>
                    <a:pt x="266" y="144"/>
                    <a:pt x="266" y="144"/>
                  </a:cubicBezTo>
                  <a:cubicBezTo>
                    <a:pt x="266" y="146"/>
                    <a:pt x="253" y="243"/>
                    <a:pt x="193" y="337"/>
                  </a:cubicBezTo>
                  <a:cubicBezTo>
                    <a:pt x="146" y="409"/>
                    <a:pt x="136" y="417"/>
                    <a:pt x="135" y="417"/>
                  </a:cubicBezTo>
                  <a:cubicBezTo>
                    <a:pt x="134" y="418"/>
                    <a:pt x="133" y="418"/>
                    <a:pt x="129" y="418"/>
                  </a:cubicBezTo>
                  <a:close/>
                  <a:moveTo>
                    <a:pt x="102" y="407"/>
                  </a:moveTo>
                  <a:cubicBezTo>
                    <a:pt x="103" y="407"/>
                    <a:pt x="103" y="407"/>
                    <a:pt x="103" y="407"/>
                  </a:cubicBezTo>
                  <a:cubicBezTo>
                    <a:pt x="123" y="413"/>
                    <a:pt x="131" y="413"/>
                    <a:pt x="132" y="412"/>
                  </a:cubicBezTo>
                  <a:cubicBezTo>
                    <a:pt x="134" y="411"/>
                    <a:pt x="146" y="399"/>
                    <a:pt x="188" y="333"/>
                  </a:cubicBezTo>
                  <a:cubicBezTo>
                    <a:pt x="248" y="241"/>
                    <a:pt x="260" y="145"/>
                    <a:pt x="260" y="144"/>
                  </a:cubicBezTo>
                  <a:cubicBezTo>
                    <a:pt x="260" y="69"/>
                    <a:pt x="260" y="69"/>
                    <a:pt x="260" y="69"/>
                  </a:cubicBezTo>
                  <a:cubicBezTo>
                    <a:pt x="282" y="24"/>
                    <a:pt x="282" y="24"/>
                    <a:pt x="282" y="24"/>
                  </a:cubicBezTo>
                  <a:cubicBezTo>
                    <a:pt x="255" y="8"/>
                    <a:pt x="255" y="8"/>
                    <a:pt x="255" y="8"/>
                  </a:cubicBezTo>
                  <a:cubicBezTo>
                    <a:pt x="252" y="7"/>
                    <a:pt x="248" y="6"/>
                    <a:pt x="244" y="7"/>
                  </a:cubicBezTo>
                  <a:cubicBezTo>
                    <a:pt x="134" y="22"/>
                    <a:pt x="134" y="22"/>
                    <a:pt x="134" y="22"/>
                  </a:cubicBezTo>
                  <a:cubicBezTo>
                    <a:pt x="25" y="133"/>
                    <a:pt x="25" y="133"/>
                    <a:pt x="25" y="133"/>
                  </a:cubicBezTo>
                  <a:cubicBezTo>
                    <a:pt x="14" y="143"/>
                    <a:pt x="6" y="158"/>
                    <a:pt x="6" y="170"/>
                  </a:cubicBezTo>
                  <a:cubicBezTo>
                    <a:pt x="6" y="293"/>
                    <a:pt x="6" y="293"/>
                    <a:pt x="6" y="293"/>
                  </a:cubicBezTo>
                  <a:cubicBezTo>
                    <a:pt x="6" y="293"/>
                    <a:pt x="16" y="358"/>
                    <a:pt x="59" y="388"/>
                  </a:cubicBezTo>
                  <a:cubicBezTo>
                    <a:pt x="60" y="389"/>
                    <a:pt x="60" y="389"/>
                    <a:pt x="60" y="389"/>
                  </a:cubicBezTo>
                  <a:cubicBezTo>
                    <a:pt x="64" y="392"/>
                    <a:pt x="68" y="394"/>
                    <a:pt x="72" y="396"/>
                  </a:cubicBezTo>
                  <a:cubicBezTo>
                    <a:pt x="96" y="410"/>
                    <a:pt x="96" y="410"/>
                    <a:pt x="96" y="410"/>
                  </a:cubicBezTo>
                  <a:lnTo>
                    <a:pt x="102" y="407"/>
                  </a:lnTo>
                  <a:close/>
                </a:path>
              </a:pathLst>
            </a:custGeom>
            <a:solidFill>
              <a:srgbClr val="1510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3" name="Freeform 1517">
              <a:extLst>
                <a:ext uri="{FF2B5EF4-FFF2-40B4-BE49-F238E27FC236}">
                  <a16:creationId xmlns:a16="http://schemas.microsoft.com/office/drawing/2014/main" id="{08F43A8B-813F-4CA7-BC1F-BC89A11CD8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95672" y="3601137"/>
              <a:ext cx="671106" cy="193262"/>
            </a:xfrm>
            <a:custGeom>
              <a:avLst/>
              <a:gdLst>
                <a:gd name="T0" fmla="*/ 0 w 152"/>
                <a:gd name="T1" fmla="*/ 16 h 44"/>
                <a:gd name="T2" fmla="*/ 110 w 152"/>
                <a:gd name="T3" fmla="*/ 2 h 44"/>
                <a:gd name="T4" fmla="*/ 123 w 152"/>
                <a:gd name="T5" fmla="*/ 3 h 44"/>
                <a:gd name="T6" fmla="*/ 152 w 152"/>
                <a:gd name="T7" fmla="*/ 20 h 44"/>
                <a:gd name="T8" fmla="*/ 141 w 152"/>
                <a:gd name="T9" fmla="*/ 44 h 44"/>
                <a:gd name="T10" fmla="*/ 30 w 152"/>
                <a:gd name="T11" fmla="*/ 33 h 44"/>
                <a:gd name="T12" fmla="*/ 0 w 152"/>
                <a:gd name="T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44">
                  <a:moveTo>
                    <a:pt x="0" y="16"/>
                  </a:moveTo>
                  <a:cubicBezTo>
                    <a:pt x="110" y="2"/>
                    <a:pt x="110" y="2"/>
                    <a:pt x="110" y="2"/>
                  </a:cubicBezTo>
                  <a:cubicBezTo>
                    <a:pt x="116" y="0"/>
                    <a:pt x="120" y="1"/>
                    <a:pt x="123" y="3"/>
                  </a:cubicBezTo>
                  <a:cubicBezTo>
                    <a:pt x="152" y="20"/>
                    <a:pt x="152" y="20"/>
                    <a:pt x="152" y="20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30" y="33"/>
                    <a:pt x="30" y="33"/>
                    <a:pt x="30" y="33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4" name="Freeform 1518">
              <a:extLst>
                <a:ext uri="{FF2B5EF4-FFF2-40B4-BE49-F238E27FC236}">
                  <a16:creationId xmlns:a16="http://schemas.microsoft.com/office/drawing/2014/main" id="{069A858C-D4BD-48AB-80E2-A93B8C00D4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99920" y="3647859"/>
              <a:ext cx="671106" cy="195385"/>
            </a:xfrm>
            <a:custGeom>
              <a:avLst/>
              <a:gdLst>
                <a:gd name="T0" fmla="*/ 0 w 152"/>
                <a:gd name="T1" fmla="*/ 16 h 44"/>
                <a:gd name="T2" fmla="*/ 110 w 152"/>
                <a:gd name="T3" fmla="*/ 1 h 44"/>
                <a:gd name="T4" fmla="*/ 123 w 152"/>
                <a:gd name="T5" fmla="*/ 3 h 44"/>
                <a:gd name="T6" fmla="*/ 152 w 152"/>
                <a:gd name="T7" fmla="*/ 20 h 44"/>
                <a:gd name="T8" fmla="*/ 140 w 152"/>
                <a:gd name="T9" fmla="*/ 44 h 44"/>
                <a:gd name="T10" fmla="*/ 30 w 152"/>
                <a:gd name="T11" fmla="*/ 33 h 44"/>
                <a:gd name="T12" fmla="*/ 0 w 152"/>
                <a:gd name="T1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44">
                  <a:moveTo>
                    <a:pt x="0" y="16"/>
                  </a:moveTo>
                  <a:cubicBezTo>
                    <a:pt x="110" y="1"/>
                    <a:pt x="110" y="1"/>
                    <a:pt x="110" y="1"/>
                  </a:cubicBezTo>
                  <a:cubicBezTo>
                    <a:pt x="115" y="0"/>
                    <a:pt x="119" y="1"/>
                    <a:pt x="123" y="3"/>
                  </a:cubicBezTo>
                  <a:cubicBezTo>
                    <a:pt x="152" y="20"/>
                    <a:pt x="152" y="20"/>
                    <a:pt x="152" y="20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30" y="33"/>
                    <a:pt x="30" y="33"/>
                    <a:pt x="30" y="33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5" name="Freeform 1519">
              <a:extLst>
                <a:ext uri="{FF2B5EF4-FFF2-40B4-BE49-F238E27FC236}">
                  <a16:creationId xmlns:a16="http://schemas.microsoft.com/office/drawing/2014/main" id="{422B943A-297B-4D05-A489-5BD279B85E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74435" y="3586270"/>
              <a:ext cx="711458" cy="225118"/>
            </a:xfrm>
            <a:custGeom>
              <a:avLst/>
              <a:gdLst>
                <a:gd name="T0" fmla="*/ 148 w 161"/>
                <a:gd name="T1" fmla="*/ 51 h 51"/>
                <a:gd name="T2" fmla="*/ 34 w 161"/>
                <a:gd name="T3" fmla="*/ 39 h 51"/>
                <a:gd name="T4" fmla="*/ 0 w 161"/>
                <a:gd name="T5" fmla="*/ 20 h 51"/>
                <a:gd name="T6" fmla="*/ 4 w 161"/>
                <a:gd name="T7" fmla="*/ 16 h 51"/>
                <a:gd name="T8" fmla="*/ 115 w 161"/>
                <a:gd name="T9" fmla="*/ 2 h 51"/>
                <a:gd name="T10" fmla="*/ 130 w 161"/>
                <a:gd name="T11" fmla="*/ 3 h 51"/>
                <a:gd name="T12" fmla="*/ 161 w 161"/>
                <a:gd name="T13" fmla="*/ 22 h 51"/>
                <a:gd name="T14" fmla="*/ 148 w 161"/>
                <a:gd name="T15" fmla="*/ 51 h 51"/>
                <a:gd name="T16" fmla="*/ 36 w 161"/>
                <a:gd name="T17" fmla="*/ 34 h 51"/>
                <a:gd name="T18" fmla="*/ 144 w 161"/>
                <a:gd name="T19" fmla="*/ 44 h 51"/>
                <a:gd name="T20" fmla="*/ 154 w 161"/>
                <a:gd name="T21" fmla="*/ 24 h 51"/>
                <a:gd name="T22" fmla="*/ 127 w 161"/>
                <a:gd name="T23" fmla="*/ 8 h 51"/>
                <a:gd name="T24" fmla="*/ 116 w 161"/>
                <a:gd name="T25" fmla="*/ 7 h 51"/>
                <a:gd name="T26" fmla="*/ 14 w 161"/>
                <a:gd name="T27" fmla="*/ 21 h 51"/>
                <a:gd name="T28" fmla="*/ 36 w 161"/>
                <a:gd name="T29" fmla="*/ 3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1" h="51">
                  <a:moveTo>
                    <a:pt x="148" y="51"/>
                  </a:moveTo>
                  <a:cubicBezTo>
                    <a:pt x="34" y="39"/>
                    <a:pt x="34" y="39"/>
                    <a:pt x="34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21" y="0"/>
                    <a:pt x="126" y="1"/>
                    <a:pt x="130" y="3"/>
                  </a:cubicBezTo>
                  <a:cubicBezTo>
                    <a:pt x="161" y="22"/>
                    <a:pt x="161" y="22"/>
                    <a:pt x="161" y="22"/>
                  </a:cubicBezTo>
                  <a:lnTo>
                    <a:pt x="148" y="51"/>
                  </a:lnTo>
                  <a:close/>
                  <a:moveTo>
                    <a:pt x="36" y="34"/>
                  </a:moveTo>
                  <a:cubicBezTo>
                    <a:pt x="144" y="44"/>
                    <a:pt x="144" y="44"/>
                    <a:pt x="144" y="44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27" y="8"/>
                    <a:pt x="127" y="8"/>
                    <a:pt x="127" y="8"/>
                  </a:cubicBezTo>
                  <a:cubicBezTo>
                    <a:pt x="124" y="7"/>
                    <a:pt x="120" y="6"/>
                    <a:pt x="116" y="7"/>
                  </a:cubicBezTo>
                  <a:cubicBezTo>
                    <a:pt x="14" y="21"/>
                    <a:pt x="14" y="21"/>
                    <a:pt x="14" y="21"/>
                  </a:cubicBezTo>
                  <a:lnTo>
                    <a:pt x="36" y="34"/>
                  </a:lnTo>
                  <a:close/>
                </a:path>
              </a:pathLst>
            </a:custGeom>
            <a:solidFill>
              <a:srgbClr val="1510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6" name="Freeform 1520">
              <a:extLst>
                <a:ext uri="{FF2B5EF4-FFF2-40B4-BE49-F238E27FC236}">
                  <a16:creationId xmlns:a16="http://schemas.microsoft.com/office/drawing/2014/main" id="{97F55DE2-91DF-4430-B843-6053B0E31F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53932" y="3671220"/>
              <a:ext cx="1148951" cy="1845542"/>
            </a:xfrm>
            <a:custGeom>
              <a:avLst/>
              <a:gdLst>
                <a:gd name="T0" fmla="*/ 20 w 260"/>
                <a:gd name="T1" fmla="*/ 129 h 418"/>
                <a:gd name="T2" fmla="*/ 130 w 260"/>
                <a:gd name="T3" fmla="*/ 17 h 418"/>
                <a:gd name="T4" fmla="*/ 241 w 260"/>
                <a:gd name="T5" fmla="*/ 3 h 418"/>
                <a:gd name="T6" fmla="*/ 260 w 260"/>
                <a:gd name="T7" fmla="*/ 20 h 418"/>
                <a:gd name="T8" fmla="*/ 260 w 260"/>
                <a:gd name="T9" fmla="*/ 143 h 418"/>
                <a:gd name="T10" fmla="*/ 188 w 260"/>
                <a:gd name="T11" fmla="*/ 333 h 418"/>
                <a:gd name="T12" fmla="*/ 130 w 260"/>
                <a:gd name="T13" fmla="*/ 413 h 418"/>
                <a:gd name="T14" fmla="*/ 73 w 260"/>
                <a:gd name="T15" fmla="*/ 399 h 418"/>
                <a:gd name="T16" fmla="*/ 0 w 260"/>
                <a:gd name="T17" fmla="*/ 292 h 418"/>
                <a:gd name="T18" fmla="*/ 0 w 260"/>
                <a:gd name="T19" fmla="*/ 169 h 418"/>
                <a:gd name="T20" fmla="*/ 20 w 260"/>
                <a:gd name="T21" fmla="*/ 129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0" h="418">
                  <a:moveTo>
                    <a:pt x="20" y="129"/>
                  </a:moveTo>
                  <a:cubicBezTo>
                    <a:pt x="130" y="17"/>
                    <a:pt x="130" y="17"/>
                    <a:pt x="130" y="17"/>
                  </a:cubicBezTo>
                  <a:cubicBezTo>
                    <a:pt x="241" y="3"/>
                    <a:pt x="241" y="3"/>
                    <a:pt x="241" y="3"/>
                  </a:cubicBezTo>
                  <a:cubicBezTo>
                    <a:pt x="252" y="0"/>
                    <a:pt x="260" y="7"/>
                    <a:pt x="260" y="20"/>
                  </a:cubicBezTo>
                  <a:cubicBezTo>
                    <a:pt x="260" y="143"/>
                    <a:pt x="260" y="143"/>
                    <a:pt x="260" y="143"/>
                  </a:cubicBezTo>
                  <a:cubicBezTo>
                    <a:pt x="260" y="143"/>
                    <a:pt x="248" y="240"/>
                    <a:pt x="188" y="333"/>
                  </a:cubicBezTo>
                  <a:cubicBezTo>
                    <a:pt x="140" y="407"/>
                    <a:pt x="130" y="413"/>
                    <a:pt x="130" y="413"/>
                  </a:cubicBezTo>
                  <a:cubicBezTo>
                    <a:pt x="130" y="413"/>
                    <a:pt x="121" y="418"/>
                    <a:pt x="73" y="399"/>
                  </a:cubicBezTo>
                  <a:cubicBezTo>
                    <a:pt x="12" y="375"/>
                    <a:pt x="0" y="292"/>
                    <a:pt x="0" y="292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156"/>
                    <a:pt x="8" y="139"/>
                    <a:pt x="20" y="129"/>
                  </a:cubicBezTo>
                  <a:close/>
                </a:path>
              </a:pathLst>
            </a:custGeom>
            <a:solidFill>
              <a:srgbClr val="140F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" name="Freeform 1521">
              <a:extLst>
                <a:ext uri="{FF2B5EF4-FFF2-40B4-BE49-F238E27FC236}">
                  <a16:creationId xmlns:a16="http://schemas.microsoft.com/office/drawing/2014/main" id="{74C9DD36-3246-492E-8937-C10FEEA8EEE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741189" y="3662725"/>
              <a:ext cx="1174436" cy="1849789"/>
            </a:xfrm>
            <a:custGeom>
              <a:avLst/>
              <a:gdLst>
                <a:gd name="T0" fmla="*/ 129 w 266"/>
                <a:gd name="T1" fmla="*/ 419 h 419"/>
                <a:gd name="T2" fmla="*/ 75 w 266"/>
                <a:gd name="T3" fmla="*/ 404 h 419"/>
                <a:gd name="T4" fmla="*/ 0 w 266"/>
                <a:gd name="T5" fmla="*/ 294 h 419"/>
                <a:gd name="T6" fmla="*/ 0 w 266"/>
                <a:gd name="T7" fmla="*/ 171 h 419"/>
                <a:gd name="T8" fmla="*/ 21 w 266"/>
                <a:gd name="T9" fmla="*/ 129 h 419"/>
                <a:gd name="T10" fmla="*/ 132 w 266"/>
                <a:gd name="T11" fmla="*/ 17 h 419"/>
                <a:gd name="T12" fmla="*/ 243 w 266"/>
                <a:gd name="T13" fmla="*/ 2 h 419"/>
                <a:gd name="T14" fmla="*/ 259 w 266"/>
                <a:gd name="T15" fmla="*/ 5 h 419"/>
                <a:gd name="T16" fmla="*/ 266 w 266"/>
                <a:gd name="T17" fmla="*/ 22 h 419"/>
                <a:gd name="T18" fmla="*/ 266 w 266"/>
                <a:gd name="T19" fmla="*/ 145 h 419"/>
                <a:gd name="T20" fmla="*/ 193 w 266"/>
                <a:gd name="T21" fmla="*/ 337 h 419"/>
                <a:gd name="T22" fmla="*/ 135 w 266"/>
                <a:gd name="T23" fmla="*/ 418 h 419"/>
                <a:gd name="T24" fmla="*/ 129 w 266"/>
                <a:gd name="T25" fmla="*/ 419 h 419"/>
                <a:gd name="T26" fmla="*/ 135 w 266"/>
                <a:gd name="T27" fmla="*/ 22 h 419"/>
                <a:gd name="T28" fmla="*/ 25 w 266"/>
                <a:gd name="T29" fmla="*/ 133 h 419"/>
                <a:gd name="T30" fmla="*/ 6 w 266"/>
                <a:gd name="T31" fmla="*/ 171 h 419"/>
                <a:gd name="T32" fmla="*/ 6 w 266"/>
                <a:gd name="T33" fmla="*/ 294 h 419"/>
                <a:gd name="T34" fmla="*/ 77 w 266"/>
                <a:gd name="T35" fmla="*/ 398 h 419"/>
                <a:gd name="T36" fmla="*/ 132 w 266"/>
                <a:gd name="T37" fmla="*/ 413 h 419"/>
                <a:gd name="T38" fmla="*/ 188 w 266"/>
                <a:gd name="T39" fmla="*/ 334 h 419"/>
                <a:gd name="T40" fmla="*/ 260 w 266"/>
                <a:gd name="T41" fmla="*/ 144 h 419"/>
                <a:gd name="T42" fmla="*/ 260 w 266"/>
                <a:gd name="T43" fmla="*/ 22 h 419"/>
                <a:gd name="T44" fmla="*/ 255 w 266"/>
                <a:gd name="T45" fmla="*/ 9 h 419"/>
                <a:gd name="T46" fmla="*/ 244 w 266"/>
                <a:gd name="T47" fmla="*/ 8 h 419"/>
                <a:gd name="T48" fmla="*/ 135 w 266"/>
                <a:gd name="T49" fmla="*/ 22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6" h="419">
                  <a:moveTo>
                    <a:pt x="129" y="419"/>
                  </a:moveTo>
                  <a:cubicBezTo>
                    <a:pt x="122" y="419"/>
                    <a:pt x="106" y="416"/>
                    <a:pt x="75" y="404"/>
                  </a:cubicBezTo>
                  <a:cubicBezTo>
                    <a:pt x="13" y="379"/>
                    <a:pt x="1" y="297"/>
                    <a:pt x="0" y="294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57"/>
                    <a:pt x="9" y="140"/>
                    <a:pt x="21" y="129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243" y="2"/>
                    <a:pt x="243" y="2"/>
                    <a:pt x="243" y="2"/>
                  </a:cubicBezTo>
                  <a:cubicBezTo>
                    <a:pt x="249" y="0"/>
                    <a:pt x="255" y="1"/>
                    <a:pt x="259" y="5"/>
                  </a:cubicBezTo>
                  <a:cubicBezTo>
                    <a:pt x="264" y="8"/>
                    <a:pt x="266" y="14"/>
                    <a:pt x="266" y="22"/>
                  </a:cubicBezTo>
                  <a:cubicBezTo>
                    <a:pt x="266" y="145"/>
                    <a:pt x="266" y="145"/>
                    <a:pt x="266" y="145"/>
                  </a:cubicBezTo>
                  <a:cubicBezTo>
                    <a:pt x="266" y="146"/>
                    <a:pt x="253" y="244"/>
                    <a:pt x="193" y="337"/>
                  </a:cubicBezTo>
                  <a:cubicBezTo>
                    <a:pt x="146" y="409"/>
                    <a:pt x="136" y="417"/>
                    <a:pt x="135" y="418"/>
                  </a:cubicBezTo>
                  <a:cubicBezTo>
                    <a:pt x="134" y="418"/>
                    <a:pt x="133" y="419"/>
                    <a:pt x="129" y="419"/>
                  </a:cubicBezTo>
                  <a:close/>
                  <a:moveTo>
                    <a:pt x="135" y="22"/>
                  </a:moveTo>
                  <a:cubicBezTo>
                    <a:pt x="25" y="133"/>
                    <a:pt x="25" y="133"/>
                    <a:pt x="25" y="133"/>
                  </a:cubicBezTo>
                  <a:cubicBezTo>
                    <a:pt x="14" y="143"/>
                    <a:pt x="6" y="158"/>
                    <a:pt x="6" y="171"/>
                  </a:cubicBezTo>
                  <a:cubicBezTo>
                    <a:pt x="6" y="294"/>
                    <a:pt x="6" y="294"/>
                    <a:pt x="6" y="294"/>
                  </a:cubicBezTo>
                  <a:cubicBezTo>
                    <a:pt x="6" y="294"/>
                    <a:pt x="18" y="375"/>
                    <a:pt x="77" y="398"/>
                  </a:cubicBezTo>
                  <a:cubicBezTo>
                    <a:pt x="118" y="415"/>
                    <a:pt x="130" y="413"/>
                    <a:pt x="132" y="413"/>
                  </a:cubicBezTo>
                  <a:cubicBezTo>
                    <a:pt x="134" y="411"/>
                    <a:pt x="146" y="399"/>
                    <a:pt x="188" y="334"/>
                  </a:cubicBezTo>
                  <a:cubicBezTo>
                    <a:pt x="248" y="242"/>
                    <a:pt x="260" y="145"/>
                    <a:pt x="260" y="144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16"/>
                    <a:pt x="259" y="12"/>
                    <a:pt x="255" y="9"/>
                  </a:cubicBezTo>
                  <a:cubicBezTo>
                    <a:pt x="253" y="7"/>
                    <a:pt x="249" y="7"/>
                    <a:pt x="244" y="8"/>
                  </a:cubicBezTo>
                  <a:lnTo>
                    <a:pt x="135" y="22"/>
                  </a:lnTo>
                  <a:close/>
                </a:path>
              </a:pathLst>
            </a:custGeom>
            <a:solidFill>
              <a:srgbClr val="1510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" name="Freeform 1522">
              <a:extLst>
                <a:ext uri="{FF2B5EF4-FFF2-40B4-BE49-F238E27FC236}">
                  <a16:creationId xmlns:a16="http://schemas.microsoft.com/office/drawing/2014/main" id="{F952A932-FD65-4B86-87F8-1122629584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32327" y="4036505"/>
              <a:ext cx="811274" cy="1055506"/>
            </a:xfrm>
            <a:custGeom>
              <a:avLst/>
              <a:gdLst>
                <a:gd name="T0" fmla="*/ 52 w 184"/>
                <a:gd name="T1" fmla="*/ 239 h 239"/>
                <a:gd name="T2" fmla="*/ 27 w 184"/>
                <a:gd name="T3" fmla="*/ 233 h 239"/>
                <a:gd name="T4" fmla="*/ 0 w 184"/>
                <a:gd name="T5" fmla="*/ 173 h 239"/>
                <a:gd name="T6" fmla="*/ 90 w 184"/>
                <a:gd name="T7" fmla="*/ 16 h 239"/>
                <a:gd name="T8" fmla="*/ 156 w 184"/>
                <a:gd name="T9" fmla="*/ 10 h 239"/>
                <a:gd name="T10" fmla="*/ 184 w 184"/>
                <a:gd name="T11" fmla="*/ 70 h 239"/>
                <a:gd name="T12" fmla="*/ 93 w 184"/>
                <a:gd name="T13" fmla="*/ 227 h 239"/>
                <a:gd name="T14" fmla="*/ 52 w 184"/>
                <a:gd name="T15" fmla="*/ 239 h 239"/>
                <a:gd name="T16" fmla="*/ 131 w 184"/>
                <a:gd name="T17" fmla="*/ 9 h 239"/>
                <a:gd name="T18" fmla="*/ 93 w 184"/>
                <a:gd name="T19" fmla="*/ 21 h 239"/>
                <a:gd name="T20" fmla="*/ 6 w 184"/>
                <a:gd name="T21" fmla="*/ 173 h 239"/>
                <a:gd name="T22" fmla="*/ 30 w 184"/>
                <a:gd name="T23" fmla="*/ 228 h 239"/>
                <a:gd name="T24" fmla="*/ 90 w 184"/>
                <a:gd name="T25" fmla="*/ 222 h 239"/>
                <a:gd name="T26" fmla="*/ 178 w 184"/>
                <a:gd name="T27" fmla="*/ 70 h 239"/>
                <a:gd name="T28" fmla="*/ 153 w 184"/>
                <a:gd name="T29" fmla="*/ 15 h 239"/>
                <a:gd name="T30" fmla="*/ 131 w 184"/>
                <a:gd name="T31" fmla="*/ 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4" h="239">
                  <a:moveTo>
                    <a:pt x="52" y="239"/>
                  </a:moveTo>
                  <a:cubicBezTo>
                    <a:pt x="43" y="239"/>
                    <a:pt x="35" y="237"/>
                    <a:pt x="27" y="233"/>
                  </a:cubicBezTo>
                  <a:cubicBezTo>
                    <a:pt x="10" y="223"/>
                    <a:pt x="0" y="201"/>
                    <a:pt x="0" y="173"/>
                  </a:cubicBezTo>
                  <a:cubicBezTo>
                    <a:pt x="0" y="115"/>
                    <a:pt x="40" y="45"/>
                    <a:pt x="90" y="16"/>
                  </a:cubicBezTo>
                  <a:cubicBezTo>
                    <a:pt x="115" y="2"/>
                    <a:pt x="138" y="0"/>
                    <a:pt x="156" y="10"/>
                  </a:cubicBezTo>
                  <a:cubicBezTo>
                    <a:pt x="174" y="20"/>
                    <a:pt x="184" y="41"/>
                    <a:pt x="184" y="70"/>
                  </a:cubicBezTo>
                  <a:cubicBezTo>
                    <a:pt x="184" y="128"/>
                    <a:pt x="143" y="198"/>
                    <a:pt x="93" y="227"/>
                  </a:cubicBezTo>
                  <a:cubicBezTo>
                    <a:pt x="79" y="235"/>
                    <a:pt x="65" y="239"/>
                    <a:pt x="52" y="239"/>
                  </a:cubicBezTo>
                  <a:close/>
                  <a:moveTo>
                    <a:pt x="131" y="9"/>
                  </a:moveTo>
                  <a:cubicBezTo>
                    <a:pt x="120" y="9"/>
                    <a:pt x="107" y="13"/>
                    <a:pt x="93" y="21"/>
                  </a:cubicBezTo>
                  <a:cubicBezTo>
                    <a:pt x="45" y="49"/>
                    <a:pt x="6" y="117"/>
                    <a:pt x="6" y="173"/>
                  </a:cubicBezTo>
                  <a:cubicBezTo>
                    <a:pt x="6" y="199"/>
                    <a:pt x="14" y="219"/>
                    <a:pt x="30" y="228"/>
                  </a:cubicBezTo>
                  <a:cubicBezTo>
                    <a:pt x="46" y="237"/>
                    <a:pt x="67" y="235"/>
                    <a:pt x="90" y="222"/>
                  </a:cubicBezTo>
                  <a:cubicBezTo>
                    <a:pt x="138" y="194"/>
                    <a:pt x="178" y="126"/>
                    <a:pt x="178" y="70"/>
                  </a:cubicBezTo>
                  <a:cubicBezTo>
                    <a:pt x="178" y="44"/>
                    <a:pt x="169" y="24"/>
                    <a:pt x="153" y="15"/>
                  </a:cubicBezTo>
                  <a:cubicBezTo>
                    <a:pt x="147" y="11"/>
                    <a:pt x="139" y="9"/>
                    <a:pt x="131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9" name="Freeform 1523">
              <a:extLst>
                <a:ext uri="{FF2B5EF4-FFF2-40B4-BE49-F238E27FC236}">
                  <a16:creationId xmlns:a16="http://schemas.microsoft.com/office/drawing/2014/main" id="{09CE9D71-53A9-4A28-B1BB-4C57A675EA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10907" y="4142693"/>
              <a:ext cx="649868" cy="847378"/>
            </a:xfrm>
            <a:custGeom>
              <a:avLst/>
              <a:gdLst>
                <a:gd name="T0" fmla="*/ 42 w 147"/>
                <a:gd name="T1" fmla="*/ 192 h 192"/>
                <a:gd name="T2" fmla="*/ 22 w 147"/>
                <a:gd name="T3" fmla="*/ 186 h 192"/>
                <a:gd name="T4" fmla="*/ 0 w 147"/>
                <a:gd name="T5" fmla="*/ 138 h 192"/>
                <a:gd name="T6" fmla="*/ 72 w 147"/>
                <a:gd name="T7" fmla="*/ 13 h 192"/>
                <a:gd name="T8" fmla="*/ 125 w 147"/>
                <a:gd name="T9" fmla="*/ 8 h 192"/>
                <a:gd name="T10" fmla="*/ 147 w 147"/>
                <a:gd name="T11" fmla="*/ 57 h 192"/>
                <a:gd name="T12" fmla="*/ 75 w 147"/>
                <a:gd name="T13" fmla="*/ 182 h 192"/>
                <a:gd name="T14" fmla="*/ 42 w 147"/>
                <a:gd name="T15" fmla="*/ 192 h 192"/>
                <a:gd name="T16" fmla="*/ 105 w 147"/>
                <a:gd name="T17" fmla="*/ 9 h 192"/>
                <a:gd name="T18" fmla="*/ 75 w 147"/>
                <a:gd name="T19" fmla="*/ 18 h 192"/>
                <a:gd name="T20" fmla="*/ 6 w 147"/>
                <a:gd name="T21" fmla="*/ 138 h 192"/>
                <a:gd name="T22" fmla="*/ 25 w 147"/>
                <a:gd name="T23" fmla="*/ 181 h 192"/>
                <a:gd name="T24" fmla="*/ 72 w 147"/>
                <a:gd name="T25" fmla="*/ 176 h 192"/>
                <a:gd name="T26" fmla="*/ 141 w 147"/>
                <a:gd name="T27" fmla="*/ 57 h 192"/>
                <a:gd name="T28" fmla="*/ 122 w 147"/>
                <a:gd name="T29" fmla="*/ 13 h 192"/>
                <a:gd name="T30" fmla="*/ 105 w 147"/>
                <a:gd name="T31" fmla="*/ 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7" h="192">
                  <a:moveTo>
                    <a:pt x="42" y="192"/>
                  </a:moveTo>
                  <a:cubicBezTo>
                    <a:pt x="35" y="192"/>
                    <a:pt x="28" y="190"/>
                    <a:pt x="22" y="186"/>
                  </a:cubicBezTo>
                  <a:cubicBezTo>
                    <a:pt x="8" y="178"/>
                    <a:pt x="0" y="161"/>
                    <a:pt x="0" y="138"/>
                  </a:cubicBezTo>
                  <a:cubicBezTo>
                    <a:pt x="0" y="92"/>
                    <a:pt x="32" y="36"/>
                    <a:pt x="72" y="13"/>
                  </a:cubicBezTo>
                  <a:cubicBezTo>
                    <a:pt x="92" y="2"/>
                    <a:pt x="111" y="0"/>
                    <a:pt x="125" y="8"/>
                  </a:cubicBezTo>
                  <a:cubicBezTo>
                    <a:pt x="139" y="17"/>
                    <a:pt x="147" y="34"/>
                    <a:pt x="147" y="57"/>
                  </a:cubicBezTo>
                  <a:cubicBezTo>
                    <a:pt x="147" y="103"/>
                    <a:pt x="115" y="159"/>
                    <a:pt x="75" y="182"/>
                  </a:cubicBezTo>
                  <a:cubicBezTo>
                    <a:pt x="64" y="188"/>
                    <a:pt x="52" y="192"/>
                    <a:pt x="42" y="192"/>
                  </a:cubicBezTo>
                  <a:close/>
                  <a:moveTo>
                    <a:pt x="105" y="9"/>
                  </a:moveTo>
                  <a:cubicBezTo>
                    <a:pt x="96" y="9"/>
                    <a:pt x="86" y="12"/>
                    <a:pt x="75" y="18"/>
                  </a:cubicBezTo>
                  <a:cubicBezTo>
                    <a:pt x="37" y="40"/>
                    <a:pt x="6" y="94"/>
                    <a:pt x="6" y="138"/>
                  </a:cubicBezTo>
                  <a:cubicBezTo>
                    <a:pt x="6" y="159"/>
                    <a:pt x="13" y="174"/>
                    <a:pt x="25" y="181"/>
                  </a:cubicBezTo>
                  <a:cubicBezTo>
                    <a:pt x="38" y="189"/>
                    <a:pt x="54" y="187"/>
                    <a:pt x="72" y="176"/>
                  </a:cubicBezTo>
                  <a:cubicBezTo>
                    <a:pt x="110" y="154"/>
                    <a:pt x="141" y="101"/>
                    <a:pt x="141" y="57"/>
                  </a:cubicBezTo>
                  <a:cubicBezTo>
                    <a:pt x="141" y="36"/>
                    <a:pt x="135" y="21"/>
                    <a:pt x="122" y="13"/>
                  </a:cubicBezTo>
                  <a:cubicBezTo>
                    <a:pt x="117" y="10"/>
                    <a:pt x="111" y="9"/>
                    <a:pt x="105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0" name="Freeform 1524">
              <a:extLst>
                <a:ext uri="{FF2B5EF4-FFF2-40B4-BE49-F238E27FC236}">
                  <a16:creationId xmlns:a16="http://schemas.microsoft.com/office/drawing/2014/main" id="{AEB9CE11-7A25-4A53-8E6A-B52C0D9FFB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847" y="4380553"/>
              <a:ext cx="450236" cy="384400"/>
            </a:xfrm>
            <a:custGeom>
              <a:avLst/>
              <a:gdLst>
                <a:gd name="T0" fmla="*/ 7 w 102"/>
                <a:gd name="T1" fmla="*/ 87 h 87"/>
                <a:gd name="T2" fmla="*/ 4 w 102"/>
                <a:gd name="T3" fmla="*/ 86 h 87"/>
                <a:gd name="T4" fmla="*/ 0 w 102"/>
                <a:gd name="T5" fmla="*/ 77 h 87"/>
                <a:gd name="T6" fmla="*/ 0 w 102"/>
                <a:gd name="T7" fmla="*/ 65 h 87"/>
                <a:gd name="T8" fmla="*/ 9 w 102"/>
                <a:gd name="T9" fmla="*/ 48 h 87"/>
                <a:gd name="T10" fmla="*/ 89 w 102"/>
                <a:gd name="T11" fmla="*/ 1 h 87"/>
                <a:gd name="T12" fmla="*/ 97 w 102"/>
                <a:gd name="T13" fmla="*/ 1 h 87"/>
                <a:gd name="T14" fmla="*/ 102 w 102"/>
                <a:gd name="T15" fmla="*/ 10 h 87"/>
                <a:gd name="T16" fmla="*/ 102 w 102"/>
                <a:gd name="T17" fmla="*/ 22 h 87"/>
                <a:gd name="T18" fmla="*/ 92 w 102"/>
                <a:gd name="T19" fmla="*/ 39 h 87"/>
                <a:gd name="T20" fmla="*/ 12 w 102"/>
                <a:gd name="T21" fmla="*/ 85 h 87"/>
                <a:gd name="T22" fmla="*/ 7 w 102"/>
                <a:gd name="T23" fmla="*/ 87 h 87"/>
                <a:gd name="T24" fmla="*/ 94 w 102"/>
                <a:gd name="T25" fmla="*/ 6 h 87"/>
                <a:gd name="T26" fmla="*/ 92 w 102"/>
                <a:gd name="T27" fmla="*/ 6 h 87"/>
                <a:gd name="T28" fmla="*/ 12 w 102"/>
                <a:gd name="T29" fmla="*/ 53 h 87"/>
                <a:gd name="T30" fmla="*/ 6 w 102"/>
                <a:gd name="T31" fmla="*/ 65 h 87"/>
                <a:gd name="T32" fmla="*/ 6 w 102"/>
                <a:gd name="T33" fmla="*/ 77 h 87"/>
                <a:gd name="T34" fmla="*/ 7 w 102"/>
                <a:gd name="T35" fmla="*/ 81 h 87"/>
                <a:gd name="T36" fmla="*/ 9 w 102"/>
                <a:gd name="T37" fmla="*/ 80 h 87"/>
                <a:gd name="T38" fmla="*/ 89 w 102"/>
                <a:gd name="T39" fmla="*/ 34 h 87"/>
                <a:gd name="T40" fmla="*/ 96 w 102"/>
                <a:gd name="T41" fmla="*/ 22 h 87"/>
                <a:gd name="T42" fmla="*/ 96 w 102"/>
                <a:gd name="T43" fmla="*/ 10 h 87"/>
                <a:gd name="T44" fmla="*/ 95 w 102"/>
                <a:gd name="T45" fmla="*/ 6 h 87"/>
                <a:gd name="T46" fmla="*/ 94 w 102"/>
                <a:gd name="T47" fmla="*/ 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87">
                  <a:moveTo>
                    <a:pt x="7" y="87"/>
                  </a:moveTo>
                  <a:cubicBezTo>
                    <a:pt x="6" y="87"/>
                    <a:pt x="5" y="86"/>
                    <a:pt x="4" y="86"/>
                  </a:cubicBezTo>
                  <a:cubicBezTo>
                    <a:pt x="1" y="84"/>
                    <a:pt x="0" y="81"/>
                    <a:pt x="0" y="77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58"/>
                    <a:pt x="4" y="51"/>
                    <a:pt x="9" y="48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92" y="0"/>
                    <a:pt x="95" y="0"/>
                    <a:pt x="97" y="1"/>
                  </a:cubicBezTo>
                  <a:cubicBezTo>
                    <a:pt x="100" y="2"/>
                    <a:pt x="102" y="6"/>
                    <a:pt x="102" y="10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8"/>
                    <a:pt x="98" y="36"/>
                    <a:pt x="92" y="39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0" y="86"/>
                    <a:pt x="9" y="87"/>
                    <a:pt x="7" y="87"/>
                  </a:cubicBezTo>
                  <a:close/>
                  <a:moveTo>
                    <a:pt x="94" y="6"/>
                  </a:moveTo>
                  <a:cubicBezTo>
                    <a:pt x="93" y="6"/>
                    <a:pt x="93" y="6"/>
                    <a:pt x="92" y="6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9" y="55"/>
                    <a:pt x="6" y="60"/>
                    <a:pt x="6" y="65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6" y="79"/>
                    <a:pt x="6" y="80"/>
                    <a:pt x="7" y="81"/>
                  </a:cubicBezTo>
                  <a:cubicBezTo>
                    <a:pt x="8" y="81"/>
                    <a:pt x="9" y="81"/>
                    <a:pt x="9" y="80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93" y="32"/>
                    <a:pt x="96" y="26"/>
                    <a:pt x="96" y="22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7"/>
                    <a:pt x="95" y="6"/>
                    <a:pt x="95" y="6"/>
                  </a:cubicBezTo>
                  <a:cubicBezTo>
                    <a:pt x="94" y="6"/>
                    <a:pt x="94" y="6"/>
                    <a:pt x="94" y="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1" name="Freeform 1525">
              <a:extLst>
                <a:ext uri="{FF2B5EF4-FFF2-40B4-BE49-F238E27FC236}">
                  <a16:creationId xmlns:a16="http://schemas.microsoft.com/office/drawing/2014/main" id="{0DF12357-AC39-48D6-8382-219E2A21C6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95409" y="5157847"/>
              <a:ext cx="33980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2" name="Freeform 1526">
              <a:extLst>
                <a:ext uri="{FF2B5EF4-FFF2-40B4-BE49-F238E27FC236}">
                  <a16:creationId xmlns:a16="http://schemas.microsoft.com/office/drawing/2014/main" id="{185EE658-9646-4280-AACD-CA7448641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52751" y="5128114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3" name="Freeform 1527">
              <a:extLst>
                <a:ext uri="{FF2B5EF4-FFF2-40B4-BE49-F238E27FC236}">
                  <a16:creationId xmlns:a16="http://schemas.microsoft.com/office/drawing/2014/main" id="{D6C65257-82CA-4C3A-879D-80D908CA8D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05844" y="5096259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4" name="Freeform 1528">
              <a:extLst>
                <a:ext uri="{FF2B5EF4-FFF2-40B4-BE49-F238E27FC236}">
                  <a16:creationId xmlns:a16="http://schemas.microsoft.com/office/drawing/2014/main" id="{6117C426-71E6-4425-BDB8-55DA915021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63186" y="506652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5" name="Freeform 1529">
              <a:extLst>
                <a:ext uri="{FF2B5EF4-FFF2-40B4-BE49-F238E27FC236}">
                  <a16:creationId xmlns:a16="http://schemas.microsoft.com/office/drawing/2014/main" id="{D696258C-D7C7-4E69-80C7-1C59D92482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316" y="5128114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6" name="Freeform 1530">
              <a:extLst>
                <a:ext uri="{FF2B5EF4-FFF2-40B4-BE49-F238E27FC236}">
                  <a16:creationId xmlns:a16="http://schemas.microsoft.com/office/drawing/2014/main" id="{241BF8B6-AEFC-4D39-AEC0-251271CAC0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95409" y="5096259"/>
              <a:ext cx="33980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7" name="Freeform 1531">
              <a:extLst>
                <a:ext uri="{FF2B5EF4-FFF2-40B4-BE49-F238E27FC236}">
                  <a16:creationId xmlns:a16="http://schemas.microsoft.com/office/drawing/2014/main" id="{04547404-30A3-4B9D-83BA-2F45D3FD2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52751" y="506652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8" name="Freeform 1532">
              <a:extLst>
                <a:ext uri="{FF2B5EF4-FFF2-40B4-BE49-F238E27FC236}">
                  <a16:creationId xmlns:a16="http://schemas.microsoft.com/office/drawing/2014/main" id="{06D3D986-25EE-4210-B89B-AFB8C6E794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84974" y="5096259"/>
              <a:ext cx="33980" cy="16990"/>
            </a:xfrm>
            <a:custGeom>
              <a:avLst/>
              <a:gdLst>
                <a:gd name="T0" fmla="*/ 7 w 8"/>
                <a:gd name="T1" fmla="*/ 0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7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8" y="1"/>
                    <a:pt x="8" y="2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9" name="Freeform 1533">
              <a:extLst>
                <a:ext uri="{FF2B5EF4-FFF2-40B4-BE49-F238E27FC236}">
                  <a16:creationId xmlns:a16="http://schemas.microsoft.com/office/drawing/2014/main" id="{82C292A6-1CE4-447E-8567-5382B1D70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316" y="506652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0" name="Freeform 1534">
              <a:extLst>
                <a:ext uri="{FF2B5EF4-FFF2-40B4-BE49-F238E27FC236}">
                  <a16:creationId xmlns:a16="http://schemas.microsoft.com/office/drawing/2014/main" id="{1FBE291D-F034-4A9F-A88C-99093F323D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95409" y="5030422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7 w 8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1" name="Freeform 1535">
              <a:extLst>
                <a:ext uri="{FF2B5EF4-FFF2-40B4-BE49-F238E27FC236}">
                  <a16:creationId xmlns:a16="http://schemas.microsoft.com/office/drawing/2014/main" id="{37B79864-892A-480C-9908-DE61E936D0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31881" y="5066526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2" name="Freeform 1536">
              <a:extLst>
                <a:ext uri="{FF2B5EF4-FFF2-40B4-BE49-F238E27FC236}">
                  <a16:creationId xmlns:a16="http://schemas.microsoft.com/office/drawing/2014/main" id="{0CE83D94-BC00-4BAA-AAEE-58A12E9393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84974" y="5030422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3" name="Freeform 1537">
              <a:extLst>
                <a:ext uri="{FF2B5EF4-FFF2-40B4-BE49-F238E27FC236}">
                  <a16:creationId xmlns:a16="http://schemas.microsoft.com/office/drawing/2014/main" id="{5EEC0410-FC00-491B-A4A8-88C766E52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74539" y="5030422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4" name="Freeform 1538">
              <a:extLst>
                <a:ext uri="{FF2B5EF4-FFF2-40B4-BE49-F238E27FC236}">
                  <a16:creationId xmlns:a16="http://schemas.microsoft.com/office/drawing/2014/main" id="{0E2D46F6-B080-4841-838E-0AB6EC4E2E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31881" y="4998566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5" name="Freeform 1539">
              <a:extLst>
                <a:ext uri="{FF2B5EF4-FFF2-40B4-BE49-F238E27FC236}">
                  <a16:creationId xmlns:a16="http://schemas.microsoft.com/office/drawing/2014/main" id="{D32E0DF7-1E97-4498-B540-7B223E3D31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21446" y="4998566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6" name="Freeform 1540">
              <a:extLst>
                <a:ext uri="{FF2B5EF4-FFF2-40B4-BE49-F238E27FC236}">
                  <a16:creationId xmlns:a16="http://schemas.microsoft.com/office/drawing/2014/main" id="{A7AAE443-3F17-490D-89DC-F02DA94A51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74539" y="4968833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7" name="Freeform 1541">
              <a:extLst>
                <a:ext uri="{FF2B5EF4-FFF2-40B4-BE49-F238E27FC236}">
                  <a16:creationId xmlns:a16="http://schemas.microsoft.com/office/drawing/2014/main" id="{F609507E-B460-4784-B0F0-022B506CCD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64104" y="4968833"/>
              <a:ext cx="33980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8" name="Freeform 1542">
              <a:extLst>
                <a:ext uri="{FF2B5EF4-FFF2-40B4-BE49-F238E27FC236}">
                  <a16:creationId xmlns:a16="http://schemas.microsoft.com/office/drawing/2014/main" id="{78CD5631-B69C-4F63-9D87-EBA53828AC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21446" y="493697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9" name="Freeform 1543">
              <a:extLst>
                <a:ext uri="{FF2B5EF4-FFF2-40B4-BE49-F238E27FC236}">
                  <a16:creationId xmlns:a16="http://schemas.microsoft.com/office/drawing/2014/main" id="{BAE8D2FB-D1EC-4A0B-A4CA-93A39CD6D8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1011" y="493697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0" name="Freeform 1544">
              <a:extLst>
                <a:ext uri="{FF2B5EF4-FFF2-40B4-BE49-F238E27FC236}">
                  <a16:creationId xmlns:a16="http://schemas.microsoft.com/office/drawing/2014/main" id="{CDA0CC54-3B38-4078-912E-55ECFAF610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64104" y="4902996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1" name="Freeform 1545">
              <a:extLst>
                <a:ext uri="{FF2B5EF4-FFF2-40B4-BE49-F238E27FC236}">
                  <a16:creationId xmlns:a16="http://schemas.microsoft.com/office/drawing/2014/main" id="{97338D0A-55A6-4E50-9083-E5A5230028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53669" y="4902996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2" name="Freeform 1546">
              <a:extLst>
                <a:ext uri="{FF2B5EF4-FFF2-40B4-BE49-F238E27FC236}">
                  <a16:creationId xmlns:a16="http://schemas.microsoft.com/office/drawing/2014/main" id="{2910E7BD-DA94-4E15-820A-FF0F94A983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11011" y="4871141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3" name="Freeform 1547">
              <a:extLst>
                <a:ext uri="{FF2B5EF4-FFF2-40B4-BE49-F238E27FC236}">
                  <a16:creationId xmlns:a16="http://schemas.microsoft.com/office/drawing/2014/main" id="{350F7DD7-3D1C-43B7-8A5B-F3C75FFC1D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0575" y="4871141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4" name="Freeform 1548">
              <a:extLst>
                <a:ext uri="{FF2B5EF4-FFF2-40B4-BE49-F238E27FC236}">
                  <a16:creationId xmlns:a16="http://schemas.microsoft.com/office/drawing/2014/main" id="{A11C5C5B-D28A-442F-B9B3-721AE6BDFE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53669" y="4841408"/>
              <a:ext cx="33980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5" name="Freeform 1549">
              <a:extLst>
                <a:ext uri="{FF2B5EF4-FFF2-40B4-BE49-F238E27FC236}">
                  <a16:creationId xmlns:a16="http://schemas.microsoft.com/office/drawing/2014/main" id="{2AFB1918-8865-43D8-AE3D-0B1559346C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00575" y="4809551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6" name="Freeform 1550">
              <a:extLst>
                <a:ext uri="{FF2B5EF4-FFF2-40B4-BE49-F238E27FC236}">
                  <a16:creationId xmlns:a16="http://schemas.microsoft.com/office/drawing/2014/main" id="{E541F203-D914-4681-8288-9D8FE62E8F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16279" y="5030422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7" name="Freeform 1551">
              <a:extLst>
                <a:ext uri="{FF2B5EF4-FFF2-40B4-BE49-F238E27FC236}">
                  <a16:creationId xmlns:a16="http://schemas.microsoft.com/office/drawing/2014/main" id="{DECB2565-10E9-49A5-A50F-3F69CAF258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73621" y="4998566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2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8" name="Freeform 1552">
              <a:extLst>
                <a:ext uri="{FF2B5EF4-FFF2-40B4-BE49-F238E27FC236}">
                  <a16:creationId xmlns:a16="http://schemas.microsoft.com/office/drawing/2014/main" id="{DC93364B-D4E3-4278-B882-36BB304EC7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6715" y="4968833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9" name="Freeform 1553">
              <a:extLst>
                <a:ext uri="{FF2B5EF4-FFF2-40B4-BE49-F238E27FC236}">
                  <a16:creationId xmlns:a16="http://schemas.microsoft.com/office/drawing/2014/main" id="{0F2AB15E-26D3-46E9-975D-85BADD515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84057" y="493697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0" name="Freeform 1554">
              <a:extLst>
                <a:ext uri="{FF2B5EF4-FFF2-40B4-BE49-F238E27FC236}">
                  <a16:creationId xmlns:a16="http://schemas.microsoft.com/office/drawing/2014/main" id="{BA4FDB05-6E86-4199-9FF6-187838D65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37150" y="4902996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6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1" name="Freeform 1555">
              <a:extLst>
                <a:ext uri="{FF2B5EF4-FFF2-40B4-BE49-F238E27FC236}">
                  <a16:creationId xmlns:a16="http://schemas.microsoft.com/office/drawing/2014/main" id="{2A1806AD-6E72-466A-ACC4-1A85F776E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94492" y="4871141"/>
              <a:ext cx="29733" cy="23362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2" name="Freeform 1556">
              <a:extLst>
                <a:ext uri="{FF2B5EF4-FFF2-40B4-BE49-F238E27FC236}">
                  <a16:creationId xmlns:a16="http://schemas.microsoft.com/office/drawing/2014/main" id="{3A31C1AD-DC74-4497-9490-111088D5AC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47585" y="4841408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3" name="Freeform 1557">
              <a:extLst>
                <a:ext uri="{FF2B5EF4-FFF2-40B4-BE49-F238E27FC236}">
                  <a16:creationId xmlns:a16="http://schemas.microsoft.com/office/drawing/2014/main" id="{182FFE56-4B86-4C65-A77B-F7747279AC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4927" y="4809551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4" name="Freeform 1558">
              <a:extLst>
                <a:ext uri="{FF2B5EF4-FFF2-40B4-BE49-F238E27FC236}">
                  <a16:creationId xmlns:a16="http://schemas.microsoft.com/office/drawing/2014/main" id="{11D47E46-A1D5-497E-830C-49689088F1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16279" y="4968833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6 w 8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5" name="Freeform 1559">
              <a:extLst>
                <a:ext uri="{FF2B5EF4-FFF2-40B4-BE49-F238E27FC236}">
                  <a16:creationId xmlns:a16="http://schemas.microsoft.com/office/drawing/2014/main" id="{C0DFF98F-4BA5-487E-82F5-894CF20F2C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73621" y="493697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6 w 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2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6" name="Freeform 1560">
              <a:extLst>
                <a:ext uri="{FF2B5EF4-FFF2-40B4-BE49-F238E27FC236}">
                  <a16:creationId xmlns:a16="http://schemas.microsoft.com/office/drawing/2014/main" id="{6988DFAE-ECC7-4E4E-9DCA-64421DC332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6715" y="4902996"/>
              <a:ext cx="33980" cy="21238"/>
            </a:xfrm>
            <a:custGeom>
              <a:avLst/>
              <a:gdLst>
                <a:gd name="T0" fmla="*/ 6 w 8"/>
                <a:gd name="T1" fmla="*/ 1 h 5"/>
                <a:gd name="T2" fmla="*/ 6 w 8"/>
                <a:gd name="T3" fmla="*/ 4 h 5"/>
                <a:gd name="T4" fmla="*/ 2 w 8"/>
                <a:gd name="T5" fmla="*/ 4 h 5"/>
                <a:gd name="T6" fmla="*/ 6 w 8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7" name="Freeform 1561">
              <a:extLst>
                <a:ext uri="{FF2B5EF4-FFF2-40B4-BE49-F238E27FC236}">
                  <a16:creationId xmlns:a16="http://schemas.microsoft.com/office/drawing/2014/main" id="{AAA4F1B5-6E9B-4CB3-8667-C9BC5A3EA1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47585" y="4779819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6 w 8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8" name="Freeform 1562">
              <a:extLst>
                <a:ext uri="{FF2B5EF4-FFF2-40B4-BE49-F238E27FC236}">
                  <a16:creationId xmlns:a16="http://schemas.microsoft.com/office/drawing/2014/main" id="{83514E7D-5113-4AC7-8338-81DA64829C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63186" y="5189704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9" name="Freeform 1563">
              <a:extLst>
                <a:ext uri="{FF2B5EF4-FFF2-40B4-BE49-F238E27FC236}">
                  <a16:creationId xmlns:a16="http://schemas.microsoft.com/office/drawing/2014/main" id="{B03A4433-B437-4BF0-B8F0-ECBB5BAF5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16279" y="5157847"/>
              <a:ext cx="33980" cy="19114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0" name="Freeform 1564">
              <a:extLst>
                <a:ext uri="{FF2B5EF4-FFF2-40B4-BE49-F238E27FC236}">
                  <a16:creationId xmlns:a16="http://schemas.microsoft.com/office/drawing/2014/main" id="{2CA1981C-FB01-4976-95E4-2818132F8F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73621" y="5128114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1" name="Freeform 1565">
              <a:extLst>
                <a:ext uri="{FF2B5EF4-FFF2-40B4-BE49-F238E27FC236}">
                  <a16:creationId xmlns:a16="http://schemas.microsoft.com/office/drawing/2014/main" id="{51731A5D-2635-4367-A7FB-6760A1F7A5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52751" y="5189704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2" name="Freeform 1566">
              <a:extLst>
                <a:ext uri="{FF2B5EF4-FFF2-40B4-BE49-F238E27FC236}">
                  <a16:creationId xmlns:a16="http://schemas.microsoft.com/office/drawing/2014/main" id="{E325A225-80E7-4B99-9994-2E4AB825CD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0092" y="5157847"/>
              <a:ext cx="29733" cy="19114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4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3" name="Freeform 1567">
              <a:extLst>
                <a:ext uri="{FF2B5EF4-FFF2-40B4-BE49-F238E27FC236}">
                  <a16:creationId xmlns:a16="http://schemas.microsoft.com/office/drawing/2014/main" id="{64FB56D5-74CC-40FE-981D-12C8D3BB3E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63186" y="5128114"/>
              <a:ext cx="29733" cy="16990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4" name="Freeform 1568">
              <a:extLst>
                <a:ext uri="{FF2B5EF4-FFF2-40B4-BE49-F238E27FC236}">
                  <a16:creationId xmlns:a16="http://schemas.microsoft.com/office/drawing/2014/main" id="{A410AD0A-B3E5-4136-B96B-1112950883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16279" y="5092011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5" name="Freeform 1569">
              <a:extLst>
                <a:ext uri="{FF2B5EF4-FFF2-40B4-BE49-F238E27FC236}">
                  <a16:creationId xmlns:a16="http://schemas.microsoft.com/office/drawing/2014/main" id="{0994CC3F-FA0C-44E1-9A4A-1D8FBEB6B7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6715" y="5092011"/>
              <a:ext cx="33980" cy="21238"/>
            </a:xfrm>
            <a:custGeom>
              <a:avLst/>
              <a:gdLst>
                <a:gd name="T0" fmla="*/ 7 w 8"/>
                <a:gd name="T1" fmla="*/ 1 h 5"/>
                <a:gd name="T2" fmla="*/ 7 w 8"/>
                <a:gd name="T3" fmla="*/ 4 h 5"/>
                <a:gd name="T4" fmla="*/ 2 w 8"/>
                <a:gd name="T5" fmla="*/ 4 h 5"/>
                <a:gd name="T6" fmla="*/ 2 w 8"/>
                <a:gd name="T7" fmla="*/ 1 h 5"/>
                <a:gd name="T8" fmla="*/ 7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1"/>
                  </a:moveTo>
                  <a:cubicBezTo>
                    <a:pt x="8" y="2"/>
                    <a:pt x="8" y="3"/>
                    <a:pt x="7" y="4"/>
                  </a:cubicBezTo>
                  <a:cubicBezTo>
                    <a:pt x="5" y="5"/>
                    <a:pt x="3" y="5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6" name="Freeform 1570">
              <a:extLst>
                <a:ext uri="{FF2B5EF4-FFF2-40B4-BE49-F238E27FC236}">
                  <a16:creationId xmlns:a16="http://schemas.microsoft.com/office/drawing/2014/main" id="{E76093BD-B86A-46ED-AA6A-2EC8CD4D57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84057" y="5062279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7" name="Freeform 1571">
              <a:extLst>
                <a:ext uri="{FF2B5EF4-FFF2-40B4-BE49-F238E27FC236}">
                  <a16:creationId xmlns:a16="http://schemas.microsoft.com/office/drawing/2014/main" id="{A4A74F93-2280-4100-A178-1707F055C3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37150" y="5030422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1"/>
                    <a:pt x="8" y="3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8" name="Freeform 1572">
              <a:extLst>
                <a:ext uri="{FF2B5EF4-FFF2-40B4-BE49-F238E27FC236}">
                  <a16:creationId xmlns:a16="http://schemas.microsoft.com/office/drawing/2014/main" id="{C6DE2AFE-F32F-4923-965A-F811499898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94492" y="499856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9" name="Freeform 1573">
              <a:extLst>
                <a:ext uri="{FF2B5EF4-FFF2-40B4-BE49-F238E27FC236}">
                  <a16:creationId xmlns:a16="http://schemas.microsoft.com/office/drawing/2014/main" id="{8AC6AEC6-B14C-40F3-9C17-4B5C2047E1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47585" y="4968833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0" name="Freeform 1574">
              <a:extLst>
                <a:ext uri="{FF2B5EF4-FFF2-40B4-BE49-F238E27FC236}">
                  <a16:creationId xmlns:a16="http://schemas.microsoft.com/office/drawing/2014/main" id="{8659B9DA-B388-4897-9569-2856FA08CD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4927" y="4932729"/>
              <a:ext cx="29733" cy="23362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1" name="Freeform 1575">
              <a:extLst>
                <a:ext uri="{FF2B5EF4-FFF2-40B4-BE49-F238E27FC236}">
                  <a16:creationId xmlns:a16="http://schemas.microsoft.com/office/drawing/2014/main" id="{EC57EABA-3CC7-4AA7-A2ED-A7BD6D485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58020" y="4902996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2" name="Freeform 1576">
              <a:extLst>
                <a:ext uri="{FF2B5EF4-FFF2-40B4-BE49-F238E27FC236}">
                  <a16:creationId xmlns:a16="http://schemas.microsoft.com/office/drawing/2014/main" id="{52B465EC-75F5-4CFF-BB91-621502B8D5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73621" y="5062279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4 h 4"/>
                <a:gd name="T4" fmla="*/ 1 w 7"/>
                <a:gd name="T5" fmla="*/ 4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4"/>
                    <a:pt x="3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3" name="Freeform 1577">
              <a:extLst>
                <a:ext uri="{FF2B5EF4-FFF2-40B4-BE49-F238E27FC236}">
                  <a16:creationId xmlns:a16="http://schemas.microsoft.com/office/drawing/2014/main" id="{7DCB68B2-AE4A-4208-85D0-3EC371B5D6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6715" y="5030422"/>
              <a:ext cx="33980" cy="16990"/>
            </a:xfrm>
            <a:custGeom>
              <a:avLst/>
              <a:gdLst>
                <a:gd name="T0" fmla="*/ 7 w 8"/>
                <a:gd name="T1" fmla="*/ 1 h 4"/>
                <a:gd name="T2" fmla="*/ 7 w 8"/>
                <a:gd name="T3" fmla="*/ 3 h 4"/>
                <a:gd name="T4" fmla="*/ 2 w 8"/>
                <a:gd name="T5" fmla="*/ 3 h 4"/>
                <a:gd name="T6" fmla="*/ 2 w 8"/>
                <a:gd name="T7" fmla="*/ 1 h 4"/>
                <a:gd name="T8" fmla="*/ 7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7" y="1"/>
                  </a:moveTo>
                  <a:cubicBezTo>
                    <a:pt x="8" y="1"/>
                    <a:pt x="8" y="3"/>
                    <a:pt x="7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4" name="Freeform 1578">
              <a:extLst>
                <a:ext uri="{FF2B5EF4-FFF2-40B4-BE49-F238E27FC236}">
                  <a16:creationId xmlns:a16="http://schemas.microsoft.com/office/drawing/2014/main" id="{211BF883-DC6C-440E-8B04-09D6F364EF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84057" y="4998566"/>
              <a:ext cx="29733" cy="19114"/>
            </a:xfrm>
            <a:custGeom>
              <a:avLst/>
              <a:gdLst>
                <a:gd name="T0" fmla="*/ 6 w 7"/>
                <a:gd name="T1" fmla="*/ 0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0 h 4"/>
                <a:gd name="T8" fmla="*/ 6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7" y="1"/>
                    <a:pt x="7" y="2"/>
                    <a:pt x="6" y="3"/>
                  </a:cubicBezTo>
                  <a:cubicBezTo>
                    <a:pt x="5" y="4"/>
                    <a:pt x="3" y="4"/>
                    <a:pt x="1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5" name="Freeform 1579">
              <a:extLst>
                <a:ext uri="{FF2B5EF4-FFF2-40B4-BE49-F238E27FC236}">
                  <a16:creationId xmlns:a16="http://schemas.microsoft.com/office/drawing/2014/main" id="{BC2E367F-5360-44C0-B9E6-65C9E4D30C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37150" y="4968833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6" name="Freeform 1580">
              <a:extLst>
                <a:ext uri="{FF2B5EF4-FFF2-40B4-BE49-F238E27FC236}">
                  <a16:creationId xmlns:a16="http://schemas.microsoft.com/office/drawing/2014/main" id="{2E50FA11-FA89-4E4B-AABC-3A67E4C24F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94492" y="4932729"/>
              <a:ext cx="29733" cy="23362"/>
            </a:xfrm>
            <a:custGeom>
              <a:avLst/>
              <a:gdLst>
                <a:gd name="T0" fmla="*/ 6 w 7"/>
                <a:gd name="T1" fmla="*/ 1 h 5"/>
                <a:gd name="T2" fmla="*/ 6 w 7"/>
                <a:gd name="T3" fmla="*/ 4 h 5"/>
                <a:gd name="T4" fmla="*/ 1 w 7"/>
                <a:gd name="T5" fmla="*/ 4 h 5"/>
                <a:gd name="T6" fmla="*/ 1 w 7"/>
                <a:gd name="T7" fmla="*/ 1 h 5"/>
                <a:gd name="T8" fmla="*/ 6 w 7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7" y="2"/>
                    <a:pt x="7" y="3"/>
                    <a:pt x="6" y="4"/>
                  </a:cubicBezTo>
                  <a:cubicBezTo>
                    <a:pt x="5" y="5"/>
                    <a:pt x="3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7" name="Freeform 1581">
              <a:extLst>
                <a:ext uri="{FF2B5EF4-FFF2-40B4-BE49-F238E27FC236}">
                  <a16:creationId xmlns:a16="http://schemas.microsoft.com/office/drawing/2014/main" id="{230495E8-FB0B-4270-884B-F2D7C51526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47585" y="4902996"/>
              <a:ext cx="33980" cy="16990"/>
            </a:xfrm>
            <a:custGeom>
              <a:avLst/>
              <a:gdLst>
                <a:gd name="T0" fmla="*/ 6 w 8"/>
                <a:gd name="T1" fmla="*/ 1 h 4"/>
                <a:gd name="T2" fmla="*/ 6 w 8"/>
                <a:gd name="T3" fmla="*/ 4 h 4"/>
                <a:gd name="T4" fmla="*/ 2 w 8"/>
                <a:gd name="T5" fmla="*/ 4 h 4"/>
                <a:gd name="T6" fmla="*/ 2 w 8"/>
                <a:gd name="T7" fmla="*/ 1 h 4"/>
                <a:gd name="T8" fmla="*/ 6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1"/>
                  </a:moveTo>
                  <a:cubicBezTo>
                    <a:pt x="8" y="2"/>
                    <a:pt x="8" y="3"/>
                    <a:pt x="6" y="4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8" name="Freeform 1582">
              <a:extLst>
                <a:ext uri="{FF2B5EF4-FFF2-40B4-BE49-F238E27FC236}">
                  <a16:creationId xmlns:a16="http://schemas.microsoft.com/office/drawing/2014/main" id="{9792AAB1-7539-4F39-9DB6-E0DB6BDA02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4927" y="4871141"/>
              <a:ext cx="29733" cy="16990"/>
            </a:xfrm>
            <a:custGeom>
              <a:avLst/>
              <a:gdLst>
                <a:gd name="T0" fmla="*/ 6 w 7"/>
                <a:gd name="T1" fmla="*/ 1 h 4"/>
                <a:gd name="T2" fmla="*/ 6 w 7"/>
                <a:gd name="T3" fmla="*/ 3 h 4"/>
                <a:gd name="T4" fmla="*/ 1 w 7"/>
                <a:gd name="T5" fmla="*/ 3 h 4"/>
                <a:gd name="T6" fmla="*/ 1 w 7"/>
                <a:gd name="T7" fmla="*/ 1 h 4"/>
                <a:gd name="T8" fmla="*/ 6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2" y="4"/>
                    <a:pt x="1" y="3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9" name="Freeform 1583">
              <a:extLst>
                <a:ext uri="{FF2B5EF4-FFF2-40B4-BE49-F238E27FC236}">
                  <a16:creationId xmlns:a16="http://schemas.microsoft.com/office/drawing/2014/main" id="{80BBF562-7F7B-4520-A861-5B8C00652A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58020" y="4841408"/>
              <a:ext cx="33980" cy="16990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3 h 4"/>
                <a:gd name="T4" fmla="*/ 2 w 8"/>
                <a:gd name="T5" fmla="*/ 3 h 4"/>
                <a:gd name="T6" fmla="*/ 2 w 8"/>
                <a:gd name="T7" fmla="*/ 0 h 4"/>
                <a:gd name="T8" fmla="*/ 6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8" y="1"/>
                    <a:pt x="8" y="2"/>
                    <a:pt x="6" y="3"/>
                  </a:cubicBezTo>
                  <a:cubicBezTo>
                    <a:pt x="5" y="4"/>
                    <a:pt x="3" y="4"/>
                    <a:pt x="2" y="3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5" y="0"/>
                    <a:pt x="6" y="0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0" name="Freeform 1584">
              <a:extLst>
                <a:ext uri="{FF2B5EF4-FFF2-40B4-BE49-F238E27FC236}">
                  <a16:creationId xmlns:a16="http://schemas.microsoft.com/office/drawing/2014/main" id="{7DECBAB7-D208-44F2-ADB0-49872DC0B5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45174" y="4620538"/>
              <a:ext cx="1059753" cy="441741"/>
            </a:xfrm>
            <a:custGeom>
              <a:avLst/>
              <a:gdLst>
                <a:gd name="T0" fmla="*/ 0 w 240"/>
                <a:gd name="T1" fmla="*/ 29 h 100"/>
                <a:gd name="T2" fmla="*/ 0 w 240"/>
                <a:gd name="T3" fmla="*/ 29 h 100"/>
                <a:gd name="T4" fmla="*/ 1 w 240"/>
                <a:gd name="T5" fmla="*/ 0 h 100"/>
                <a:gd name="T6" fmla="*/ 240 w 240"/>
                <a:gd name="T7" fmla="*/ 0 h 100"/>
                <a:gd name="T8" fmla="*/ 240 w 240"/>
                <a:gd name="T9" fmla="*/ 28 h 100"/>
                <a:gd name="T10" fmla="*/ 240 w 240"/>
                <a:gd name="T11" fmla="*/ 29 h 100"/>
                <a:gd name="T12" fmla="*/ 240 w 240"/>
                <a:gd name="T13" fmla="*/ 29 h 100"/>
                <a:gd name="T14" fmla="*/ 240 w 240"/>
                <a:gd name="T15" fmla="*/ 29 h 100"/>
                <a:gd name="T16" fmla="*/ 230 w 240"/>
                <a:gd name="T17" fmla="*/ 41 h 100"/>
                <a:gd name="T18" fmla="*/ 141 w 240"/>
                <a:gd name="T19" fmla="*/ 93 h 100"/>
                <a:gd name="T20" fmla="*/ 100 w 240"/>
                <a:gd name="T21" fmla="*/ 94 h 100"/>
                <a:gd name="T22" fmla="*/ 7 w 240"/>
                <a:gd name="T23" fmla="*/ 40 h 100"/>
                <a:gd name="T24" fmla="*/ 0 w 240"/>
                <a:gd name="T25" fmla="*/ 2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0" h="100"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40" y="29"/>
                    <a:pt x="240" y="28"/>
                    <a:pt x="240" y="29"/>
                  </a:cubicBezTo>
                  <a:cubicBezTo>
                    <a:pt x="240" y="29"/>
                    <a:pt x="240" y="29"/>
                    <a:pt x="240" y="29"/>
                  </a:cubicBezTo>
                  <a:cubicBezTo>
                    <a:pt x="240" y="29"/>
                    <a:pt x="240" y="29"/>
                    <a:pt x="240" y="29"/>
                  </a:cubicBezTo>
                  <a:cubicBezTo>
                    <a:pt x="239" y="33"/>
                    <a:pt x="236" y="38"/>
                    <a:pt x="230" y="41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29" y="100"/>
                    <a:pt x="111" y="100"/>
                    <a:pt x="100" y="94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2" y="37"/>
                    <a:pt x="0" y="33"/>
                    <a:pt x="0" y="2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1" name="Freeform 1585">
              <a:extLst>
                <a:ext uri="{FF2B5EF4-FFF2-40B4-BE49-F238E27FC236}">
                  <a16:creationId xmlns:a16="http://schemas.microsoft.com/office/drawing/2014/main" id="{0A790E56-2AC7-47BB-823C-9184B93214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45174" y="4620538"/>
              <a:ext cx="1059753" cy="441741"/>
            </a:xfrm>
            <a:custGeom>
              <a:avLst/>
              <a:gdLst>
                <a:gd name="T0" fmla="*/ 0 w 240"/>
                <a:gd name="T1" fmla="*/ 29 h 100"/>
                <a:gd name="T2" fmla="*/ 0 w 240"/>
                <a:gd name="T3" fmla="*/ 29 h 100"/>
                <a:gd name="T4" fmla="*/ 1 w 240"/>
                <a:gd name="T5" fmla="*/ 0 h 100"/>
                <a:gd name="T6" fmla="*/ 240 w 240"/>
                <a:gd name="T7" fmla="*/ 0 h 100"/>
                <a:gd name="T8" fmla="*/ 240 w 240"/>
                <a:gd name="T9" fmla="*/ 28 h 100"/>
                <a:gd name="T10" fmla="*/ 240 w 240"/>
                <a:gd name="T11" fmla="*/ 29 h 100"/>
                <a:gd name="T12" fmla="*/ 240 w 240"/>
                <a:gd name="T13" fmla="*/ 29 h 100"/>
                <a:gd name="T14" fmla="*/ 240 w 240"/>
                <a:gd name="T15" fmla="*/ 29 h 100"/>
                <a:gd name="T16" fmla="*/ 230 w 240"/>
                <a:gd name="T17" fmla="*/ 41 h 100"/>
                <a:gd name="T18" fmla="*/ 141 w 240"/>
                <a:gd name="T19" fmla="*/ 93 h 100"/>
                <a:gd name="T20" fmla="*/ 100 w 240"/>
                <a:gd name="T21" fmla="*/ 94 h 100"/>
                <a:gd name="T22" fmla="*/ 7 w 240"/>
                <a:gd name="T23" fmla="*/ 40 h 100"/>
                <a:gd name="T24" fmla="*/ 0 w 240"/>
                <a:gd name="T25" fmla="*/ 2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0" h="100">
                  <a:moveTo>
                    <a:pt x="0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40" y="29"/>
                    <a:pt x="240" y="28"/>
                    <a:pt x="240" y="29"/>
                  </a:cubicBezTo>
                  <a:cubicBezTo>
                    <a:pt x="240" y="29"/>
                    <a:pt x="240" y="29"/>
                    <a:pt x="240" y="29"/>
                  </a:cubicBezTo>
                  <a:cubicBezTo>
                    <a:pt x="240" y="29"/>
                    <a:pt x="240" y="29"/>
                    <a:pt x="240" y="29"/>
                  </a:cubicBezTo>
                  <a:cubicBezTo>
                    <a:pt x="239" y="33"/>
                    <a:pt x="236" y="38"/>
                    <a:pt x="230" y="41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29" y="100"/>
                    <a:pt x="111" y="100"/>
                    <a:pt x="100" y="94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2" y="37"/>
                    <a:pt x="0" y="33"/>
                    <a:pt x="0" y="2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2" name="Freeform 1586">
              <a:extLst>
                <a:ext uri="{FF2B5EF4-FFF2-40B4-BE49-F238E27FC236}">
                  <a16:creationId xmlns:a16="http://schemas.microsoft.com/office/drawing/2014/main" id="{9DF9C2B1-CDFA-4BA4-AE31-000382ADB8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4555" y="4616290"/>
              <a:ext cx="1078866" cy="445988"/>
            </a:xfrm>
            <a:custGeom>
              <a:avLst/>
              <a:gdLst>
                <a:gd name="T0" fmla="*/ 120 w 244"/>
                <a:gd name="T1" fmla="*/ 101 h 101"/>
                <a:gd name="T2" fmla="*/ 102 w 244"/>
                <a:gd name="T3" fmla="*/ 97 h 101"/>
                <a:gd name="T4" fmla="*/ 9 w 244"/>
                <a:gd name="T5" fmla="*/ 43 h 101"/>
                <a:gd name="T6" fmla="*/ 1 w 244"/>
                <a:gd name="T7" fmla="*/ 30 h 101"/>
                <a:gd name="T8" fmla="*/ 1 w 244"/>
                <a:gd name="T9" fmla="*/ 2 h 101"/>
                <a:gd name="T10" fmla="*/ 244 w 244"/>
                <a:gd name="T11" fmla="*/ 0 h 101"/>
                <a:gd name="T12" fmla="*/ 243 w 244"/>
                <a:gd name="T13" fmla="*/ 29 h 101"/>
                <a:gd name="T14" fmla="*/ 243 w 244"/>
                <a:gd name="T15" fmla="*/ 30 h 101"/>
                <a:gd name="T16" fmla="*/ 233 w 244"/>
                <a:gd name="T17" fmla="*/ 43 h 101"/>
                <a:gd name="T18" fmla="*/ 143 w 244"/>
                <a:gd name="T19" fmla="*/ 95 h 101"/>
                <a:gd name="T20" fmla="*/ 120 w 244"/>
                <a:gd name="T21" fmla="*/ 101 h 101"/>
                <a:gd name="T22" fmla="*/ 5 w 244"/>
                <a:gd name="T23" fmla="*/ 3 h 101"/>
                <a:gd name="T24" fmla="*/ 4 w 244"/>
                <a:gd name="T25" fmla="*/ 30 h 101"/>
                <a:gd name="T26" fmla="*/ 10 w 244"/>
                <a:gd name="T27" fmla="*/ 40 h 101"/>
                <a:gd name="T28" fmla="*/ 103 w 244"/>
                <a:gd name="T29" fmla="*/ 94 h 101"/>
                <a:gd name="T30" fmla="*/ 142 w 244"/>
                <a:gd name="T31" fmla="*/ 92 h 101"/>
                <a:gd name="T32" fmla="*/ 231 w 244"/>
                <a:gd name="T33" fmla="*/ 41 h 101"/>
                <a:gd name="T34" fmla="*/ 240 w 244"/>
                <a:gd name="T35" fmla="*/ 30 h 101"/>
                <a:gd name="T36" fmla="*/ 240 w 244"/>
                <a:gd name="T37" fmla="*/ 29 h 101"/>
                <a:gd name="T38" fmla="*/ 240 w 244"/>
                <a:gd name="T39" fmla="*/ 29 h 101"/>
                <a:gd name="T40" fmla="*/ 241 w 244"/>
                <a:gd name="T41" fmla="*/ 3 h 101"/>
                <a:gd name="T42" fmla="*/ 5 w 244"/>
                <a:gd name="T43" fmla="*/ 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101">
                  <a:moveTo>
                    <a:pt x="120" y="101"/>
                  </a:moveTo>
                  <a:cubicBezTo>
                    <a:pt x="113" y="101"/>
                    <a:pt x="107" y="99"/>
                    <a:pt x="102" y="97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3" y="40"/>
                    <a:pt x="0" y="35"/>
                    <a:pt x="1" y="3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43" y="29"/>
                    <a:pt x="243" y="29"/>
                    <a:pt x="243" y="29"/>
                  </a:cubicBezTo>
                  <a:cubicBezTo>
                    <a:pt x="243" y="30"/>
                    <a:pt x="243" y="30"/>
                    <a:pt x="243" y="30"/>
                  </a:cubicBezTo>
                  <a:cubicBezTo>
                    <a:pt x="243" y="35"/>
                    <a:pt x="239" y="40"/>
                    <a:pt x="233" y="43"/>
                  </a:cubicBezTo>
                  <a:cubicBezTo>
                    <a:pt x="143" y="95"/>
                    <a:pt x="143" y="95"/>
                    <a:pt x="143" y="95"/>
                  </a:cubicBezTo>
                  <a:cubicBezTo>
                    <a:pt x="137" y="99"/>
                    <a:pt x="128" y="101"/>
                    <a:pt x="120" y="101"/>
                  </a:cubicBezTo>
                  <a:close/>
                  <a:moveTo>
                    <a:pt x="5" y="3"/>
                  </a:moveTo>
                  <a:cubicBezTo>
                    <a:pt x="4" y="30"/>
                    <a:pt x="4" y="30"/>
                    <a:pt x="4" y="30"/>
                  </a:cubicBezTo>
                  <a:cubicBezTo>
                    <a:pt x="4" y="34"/>
                    <a:pt x="6" y="38"/>
                    <a:pt x="10" y="40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13" y="100"/>
                    <a:pt x="130" y="99"/>
                    <a:pt x="142" y="92"/>
                  </a:cubicBezTo>
                  <a:cubicBezTo>
                    <a:pt x="231" y="41"/>
                    <a:pt x="231" y="41"/>
                    <a:pt x="231" y="41"/>
                  </a:cubicBezTo>
                  <a:cubicBezTo>
                    <a:pt x="236" y="38"/>
                    <a:pt x="240" y="34"/>
                    <a:pt x="240" y="30"/>
                  </a:cubicBezTo>
                  <a:cubicBezTo>
                    <a:pt x="240" y="30"/>
                    <a:pt x="240" y="30"/>
                    <a:pt x="240" y="29"/>
                  </a:cubicBezTo>
                  <a:cubicBezTo>
                    <a:pt x="240" y="29"/>
                    <a:pt x="240" y="29"/>
                    <a:pt x="240" y="29"/>
                  </a:cubicBezTo>
                  <a:cubicBezTo>
                    <a:pt x="241" y="3"/>
                    <a:pt x="241" y="3"/>
                    <a:pt x="241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3" name="Freeform 1587">
              <a:extLst>
                <a:ext uri="{FF2B5EF4-FFF2-40B4-BE49-F238E27FC236}">
                  <a16:creationId xmlns:a16="http://schemas.microsoft.com/office/drawing/2014/main" id="{DAF6A822-C855-41C3-9C00-4C70515F9D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0308" y="4310470"/>
              <a:ext cx="1091609" cy="626508"/>
            </a:xfrm>
            <a:custGeom>
              <a:avLst/>
              <a:gdLst>
                <a:gd name="T0" fmla="*/ 11 w 247"/>
                <a:gd name="T1" fmla="*/ 82 h 142"/>
                <a:gd name="T2" fmla="*/ 104 w 247"/>
                <a:gd name="T3" fmla="*/ 136 h 142"/>
                <a:gd name="T4" fmla="*/ 144 w 247"/>
                <a:gd name="T5" fmla="*/ 134 h 142"/>
                <a:gd name="T6" fmla="*/ 233 w 247"/>
                <a:gd name="T7" fmla="*/ 83 h 142"/>
                <a:gd name="T8" fmla="*/ 236 w 247"/>
                <a:gd name="T9" fmla="*/ 60 h 142"/>
                <a:gd name="T10" fmla="*/ 143 w 247"/>
                <a:gd name="T11" fmla="*/ 6 h 142"/>
                <a:gd name="T12" fmla="*/ 103 w 247"/>
                <a:gd name="T13" fmla="*/ 7 h 142"/>
                <a:gd name="T14" fmla="*/ 14 w 247"/>
                <a:gd name="T15" fmla="*/ 59 h 142"/>
                <a:gd name="T16" fmla="*/ 11 w 247"/>
                <a:gd name="T17" fmla="*/ 8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142">
                  <a:moveTo>
                    <a:pt x="11" y="82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4" y="142"/>
                    <a:pt x="132" y="141"/>
                    <a:pt x="144" y="134"/>
                  </a:cubicBezTo>
                  <a:cubicBezTo>
                    <a:pt x="233" y="83"/>
                    <a:pt x="233" y="83"/>
                    <a:pt x="233" y="83"/>
                  </a:cubicBezTo>
                  <a:cubicBezTo>
                    <a:pt x="245" y="76"/>
                    <a:pt x="247" y="65"/>
                    <a:pt x="236" y="60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33" y="0"/>
                    <a:pt x="115" y="0"/>
                    <a:pt x="103" y="7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2" y="66"/>
                    <a:pt x="0" y="76"/>
                    <a:pt x="11" y="8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4" name="Freeform 1588">
              <a:extLst>
                <a:ext uri="{FF2B5EF4-FFF2-40B4-BE49-F238E27FC236}">
                  <a16:creationId xmlns:a16="http://schemas.microsoft.com/office/drawing/2014/main" id="{EB82AC6E-DF02-4A3B-8403-4C5D060819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26060" y="4359316"/>
              <a:ext cx="1091609" cy="626508"/>
            </a:xfrm>
            <a:custGeom>
              <a:avLst/>
              <a:gdLst>
                <a:gd name="T0" fmla="*/ 11 w 247"/>
                <a:gd name="T1" fmla="*/ 82 h 142"/>
                <a:gd name="T2" fmla="*/ 104 w 247"/>
                <a:gd name="T3" fmla="*/ 136 h 142"/>
                <a:gd name="T4" fmla="*/ 144 w 247"/>
                <a:gd name="T5" fmla="*/ 134 h 142"/>
                <a:gd name="T6" fmla="*/ 233 w 247"/>
                <a:gd name="T7" fmla="*/ 83 h 142"/>
                <a:gd name="T8" fmla="*/ 236 w 247"/>
                <a:gd name="T9" fmla="*/ 59 h 142"/>
                <a:gd name="T10" fmla="*/ 143 w 247"/>
                <a:gd name="T11" fmla="*/ 5 h 142"/>
                <a:gd name="T12" fmla="*/ 103 w 247"/>
                <a:gd name="T13" fmla="*/ 7 h 142"/>
                <a:gd name="T14" fmla="*/ 14 w 247"/>
                <a:gd name="T15" fmla="*/ 59 h 142"/>
                <a:gd name="T16" fmla="*/ 11 w 247"/>
                <a:gd name="T17" fmla="*/ 8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142">
                  <a:moveTo>
                    <a:pt x="11" y="82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4" y="142"/>
                    <a:pt x="132" y="141"/>
                    <a:pt x="144" y="134"/>
                  </a:cubicBezTo>
                  <a:cubicBezTo>
                    <a:pt x="233" y="83"/>
                    <a:pt x="233" y="83"/>
                    <a:pt x="233" y="83"/>
                  </a:cubicBezTo>
                  <a:cubicBezTo>
                    <a:pt x="245" y="76"/>
                    <a:pt x="247" y="65"/>
                    <a:pt x="236" y="59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33" y="0"/>
                    <a:pt x="115" y="0"/>
                    <a:pt x="103" y="7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2" y="66"/>
                    <a:pt x="0" y="76"/>
                    <a:pt x="11" y="82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5" name="Freeform 1589">
              <a:extLst>
                <a:ext uri="{FF2B5EF4-FFF2-40B4-BE49-F238E27FC236}">
                  <a16:creationId xmlns:a16="http://schemas.microsoft.com/office/drawing/2014/main" id="{FC2FF62F-861C-4A65-B7C9-739AC17F3A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8803" y="4301975"/>
              <a:ext cx="1074619" cy="635003"/>
            </a:xfrm>
            <a:custGeom>
              <a:avLst/>
              <a:gdLst>
                <a:gd name="T0" fmla="*/ 119 w 243"/>
                <a:gd name="T1" fmla="*/ 144 h 144"/>
                <a:gd name="T2" fmla="*/ 101 w 243"/>
                <a:gd name="T3" fmla="*/ 139 h 144"/>
                <a:gd name="T4" fmla="*/ 8 w 243"/>
                <a:gd name="T5" fmla="*/ 86 h 144"/>
                <a:gd name="T6" fmla="*/ 0 w 243"/>
                <a:gd name="T7" fmla="*/ 74 h 144"/>
                <a:gd name="T8" fmla="*/ 11 w 243"/>
                <a:gd name="T9" fmla="*/ 60 h 144"/>
                <a:gd name="T10" fmla="*/ 100 w 243"/>
                <a:gd name="T11" fmla="*/ 8 h 144"/>
                <a:gd name="T12" fmla="*/ 142 w 243"/>
                <a:gd name="T13" fmla="*/ 6 h 144"/>
                <a:gd name="T14" fmla="*/ 235 w 243"/>
                <a:gd name="T15" fmla="*/ 60 h 144"/>
                <a:gd name="T16" fmla="*/ 243 w 243"/>
                <a:gd name="T17" fmla="*/ 72 h 144"/>
                <a:gd name="T18" fmla="*/ 232 w 243"/>
                <a:gd name="T19" fmla="*/ 86 h 144"/>
                <a:gd name="T20" fmla="*/ 143 w 243"/>
                <a:gd name="T21" fmla="*/ 138 h 144"/>
                <a:gd name="T22" fmla="*/ 119 w 243"/>
                <a:gd name="T23" fmla="*/ 144 h 144"/>
                <a:gd name="T24" fmla="*/ 124 w 243"/>
                <a:gd name="T25" fmla="*/ 5 h 144"/>
                <a:gd name="T26" fmla="*/ 102 w 243"/>
                <a:gd name="T27" fmla="*/ 11 h 144"/>
                <a:gd name="T28" fmla="*/ 12 w 243"/>
                <a:gd name="T29" fmla="*/ 62 h 144"/>
                <a:gd name="T30" fmla="*/ 3 w 243"/>
                <a:gd name="T31" fmla="*/ 74 h 144"/>
                <a:gd name="T32" fmla="*/ 9 w 243"/>
                <a:gd name="T33" fmla="*/ 83 h 144"/>
                <a:gd name="T34" fmla="*/ 103 w 243"/>
                <a:gd name="T35" fmla="*/ 137 h 144"/>
                <a:gd name="T36" fmla="*/ 141 w 243"/>
                <a:gd name="T37" fmla="*/ 135 h 144"/>
                <a:gd name="T38" fmla="*/ 231 w 243"/>
                <a:gd name="T39" fmla="*/ 83 h 144"/>
                <a:gd name="T40" fmla="*/ 240 w 243"/>
                <a:gd name="T41" fmla="*/ 72 h 144"/>
                <a:gd name="T42" fmla="*/ 233 w 243"/>
                <a:gd name="T43" fmla="*/ 63 h 144"/>
                <a:gd name="T44" fmla="*/ 140 w 243"/>
                <a:gd name="T45" fmla="*/ 9 h 144"/>
                <a:gd name="T46" fmla="*/ 124 w 243"/>
                <a:gd name="T47" fmla="*/ 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44">
                  <a:moveTo>
                    <a:pt x="119" y="144"/>
                  </a:moveTo>
                  <a:cubicBezTo>
                    <a:pt x="112" y="144"/>
                    <a:pt x="106" y="142"/>
                    <a:pt x="101" y="139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3" y="83"/>
                    <a:pt x="0" y="79"/>
                    <a:pt x="0" y="74"/>
                  </a:cubicBezTo>
                  <a:cubicBezTo>
                    <a:pt x="0" y="69"/>
                    <a:pt x="4" y="63"/>
                    <a:pt x="11" y="60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12" y="1"/>
                    <a:pt x="131" y="0"/>
                    <a:pt x="142" y="6"/>
                  </a:cubicBezTo>
                  <a:cubicBezTo>
                    <a:pt x="235" y="60"/>
                    <a:pt x="235" y="60"/>
                    <a:pt x="235" y="60"/>
                  </a:cubicBezTo>
                  <a:cubicBezTo>
                    <a:pt x="240" y="63"/>
                    <a:pt x="243" y="67"/>
                    <a:pt x="243" y="72"/>
                  </a:cubicBezTo>
                  <a:cubicBezTo>
                    <a:pt x="243" y="77"/>
                    <a:pt x="239" y="82"/>
                    <a:pt x="232" y="86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36" y="142"/>
                    <a:pt x="127" y="144"/>
                    <a:pt x="119" y="144"/>
                  </a:cubicBezTo>
                  <a:close/>
                  <a:moveTo>
                    <a:pt x="124" y="5"/>
                  </a:moveTo>
                  <a:cubicBezTo>
                    <a:pt x="116" y="5"/>
                    <a:pt x="108" y="7"/>
                    <a:pt x="102" y="11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7" y="66"/>
                    <a:pt x="3" y="70"/>
                    <a:pt x="3" y="74"/>
                  </a:cubicBezTo>
                  <a:cubicBezTo>
                    <a:pt x="3" y="77"/>
                    <a:pt x="5" y="81"/>
                    <a:pt x="9" y="83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12" y="142"/>
                    <a:pt x="130" y="142"/>
                    <a:pt x="141" y="135"/>
                  </a:cubicBezTo>
                  <a:cubicBezTo>
                    <a:pt x="231" y="83"/>
                    <a:pt x="231" y="83"/>
                    <a:pt x="231" y="83"/>
                  </a:cubicBezTo>
                  <a:cubicBezTo>
                    <a:pt x="236" y="80"/>
                    <a:pt x="240" y="76"/>
                    <a:pt x="240" y="72"/>
                  </a:cubicBezTo>
                  <a:cubicBezTo>
                    <a:pt x="240" y="68"/>
                    <a:pt x="237" y="65"/>
                    <a:pt x="233" y="63"/>
                  </a:cubicBezTo>
                  <a:cubicBezTo>
                    <a:pt x="140" y="9"/>
                    <a:pt x="140" y="9"/>
                    <a:pt x="140" y="9"/>
                  </a:cubicBezTo>
                  <a:cubicBezTo>
                    <a:pt x="136" y="6"/>
                    <a:pt x="130" y="5"/>
                    <a:pt x="124" y="5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6" name="Freeform 1590">
              <a:extLst>
                <a:ext uri="{FF2B5EF4-FFF2-40B4-BE49-F238E27FC236}">
                  <a16:creationId xmlns:a16="http://schemas.microsoft.com/office/drawing/2014/main" id="{1CCCC0BD-D399-4FCD-9C15-C2B6603C8B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73989" y="4620538"/>
              <a:ext cx="530938" cy="431122"/>
            </a:xfrm>
            <a:custGeom>
              <a:avLst/>
              <a:gdLst>
                <a:gd name="T0" fmla="*/ 0 w 250"/>
                <a:gd name="T1" fmla="*/ 145 h 203"/>
                <a:gd name="T2" fmla="*/ 0 w 250"/>
                <a:gd name="T3" fmla="*/ 203 h 203"/>
                <a:gd name="T4" fmla="*/ 27 w 250"/>
                <a:gd name="T5" fmla="*/ 199 h 203"/>
                <a:gd name="T6" fmla="*/ 62 w 250"/>
                <a:gd name="T7" fmla="*/ 183 h 203"/>
                <a:gd name="T8" fmla="*/ 239 w 250"/>
                <a:gd name="T9" fmla="*/ 79 h 203"/>
                <a:gd name="T10" fmla="*/ 250 w 250"/>
                <a:gd name="T11" fmla="*/ 64 h 203"/>
                <a:gd name="T12" fmla="*/ 250 w 250"/>
                <a:gd name="T13" fmla="*/ 0 h 203"/>
                <a:gd name="T14" fmla="*/ 243 w 250"/>
                <a:gd name="T15" fmla="*/ 18 h 203"/>
                <a:gd name="T16" fmla="*/ 204 w 250"/>
                <a:gd name="T17" fmla="*/ 41 h 203"/>
                <a:gd name="T18" fmla="*/ 27 w 250"/>
                <a:gd name="T19" fmla="*/ 141 h 203"/>
                <a:gd name="T20" fmla="*/ 0 w 250"/>
                <a:gd name="T21" fmla="*/ 14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203">
                  <a:moveTo>
                    <a:pt x="0" y="145"/>
                  </a:moveTo>
                  <a:lnTo>
                    <a:pt x="0" y="203"/>
                  </a:lnTo>
                  <a:lnTo>
                    <a:pt x="27" y="199"/>
                  </a:lnTo>
                  <a:lnTo>
                    <a:pt x="62" y="183"/>
                  </a:lnTo>
                  <a:lnTo>
                    <a:pt x="239" y="79"/>
                  </a:lnTo>
                  <a:lnTo>
                    <a:pt x="250" y="64"/>
                  </a:lnTo>
                  <a:lnTo>
                    <a:pt x="250" y="0"/>
                  </a:lnTo>
                  <a:lnTo>
                    <a:pt x="243" y="18"/>
                  </a:lnTo>
                  <a:lnTo>
                    <a:pt x="204" y="41"/>
                  </a:lnTo>
                  <a:lnTo>
                    <a:pt x="27" y="141"/>
                  </a:lnTo>
                  <a:lnTo>
                    <a:pt x="0" y="145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7" name="Freeform 1591">
              <a:extLst>
                <a:ext uri="{FF2B5EF4-FFF2-40B4-BE49-F238E27FC236}">
                  <a16:creationId xmlns:a16="http://schemas.microsoft.com/office/drawing/2014/main" id="{7CB73813-DC9F-4917-B204-31E62725CA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99657" y="4915739"/>
              <a:ext cx="29733" cy="135920"/>
            </a:xfrm>
            <a:custGeom>
              <a:avLst/>
              <a:gdLst>
                <a:gd name="T0" fmla="*/ 14 w 14"/>
                <a:gd name="T1" fmla="*/ 4 h 64"/>
                <a:gd name="T2" fmla="*/ 14 w 14"/>
                <a:gd name="T3" fmla="*/ 64 h 64"/>
                <a:gd name="T4" fmla="*/ 0 w 14"/>
                <a:gd name="T5" fmla="*/ 58 h 64"/>
                <a:gd name="T6" fmla="*/ 0 w 14"/>
                <a:gd name="T7" fmla="*/ 0 h 64"/>
                <a:gd name="T8" fmla="*/ 14 w 14"/>
                <a:gd name="T9" fmla="*/ 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4">
                  <a:moveTo>
                    <a:pt x="14" y="4"/>
                  </a:moveTo>
                  <a:lnTo>
                    <a:pt x="14" y="64"/>
                  </a:lnTo>
                  <a:lnTo>
                    <a:pt x="0" y="58"/>
                  </a:lnTo>
                  <a:lnTo>
                    <a:pt x="0" y="0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8" name="Freeform 1592">
              <a:extLst>
                <a:ext uri="{FF2B5EF4-FFF2-40B4-BE49-F238E27FC236}">
                  <a16:creationId xmlns:a16="http://schemas.microsoft.com/office/drawing/2014/main" id="{3007DBC3-422B-4278-9420-26997AA88F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8803" y="4629033"/>
              <a:ext cx="31857" cy="163530"/>
            </a:xfrm>
            <a:custGeom>
              <a:avLst/>
              <a:gdLst>
                <a:gd name="T0" fmla="*/ 15 w 15"/>
                <a:gd name="T1" fmla="*/ 21 h 77"/>
                <a:gd name="T2" fmla="*/ 15 w 15"/>
                <a:gd name="T3" fmla="*/ 77 h 77"/>
                <a:gd name="T4" fmla="*/ 7 w 15"/>
                <a:gd name="T5" fmla="*/ 71 h 77"/>
                <a:gd name="T6" fmla="*/ 0 w 15"/>
                <a:gd name="T7" fmla="*/ 31 h 77"/>
                <a:gd name="T8" fmla="*/ 3 w 15"/>
                <a:gd name="T9" fmla="*/ 0 h 77"/>
                <a:gd name="T10" fmla="*/ 15 w 15"/>
                <a:gd name="T11" fmla="*/ 21 h 77"/>
                <a:gd name="T12" fmla="*/ 15 w 15"/>
                <a:gd name="T13" fmla="*/ 2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7">
                  <a:moveTo>
                    <a:pt x="15" y="21"/>
                  </a:moveTo>
                  <a:lnTo>
                    <a:pt x="15" y="77"/>
                  </a:lnTo>
                  <a:lnTo>
                    <a:pt x="7" y="71"/>
                  </a:lnTo>
                  <a:lnTo>
                    <a:pt x="0" y="31"/>
                  </a:lnTo>
                  <a:lnTo>
                    <a:pt x="3" y="0"/>
                  </a:lnTo>
                  <a:lnTo>
                    <a:pt x="15" y="21"/>
                  </a:lnTo>
                  <a:lnTo>
                    <a:pt x="15" y="21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9" name="Freeform 1593">
              <a:extLst>
                <a:ext uri="{FF2B5EF4-FFF2-40B4-BE49-F238E27FC236}">
                  <a16:creationId xmlns:a16="http://schemas.microsoft.com/office/drawing/2014/main" id="{3EC191D0-FC25-44EE-B0E6-6025501F2B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316" y="4505855"/>
              <a:ext cx="388647" cy="220870"/>
            </a:xfrm>
            <a:custGeom>
              <a:avLst/>
              <a:gdLst>
                <a:gd name="T0" fmla="*/ 52 w 183"/>
                <a:gd name="T1" fmla="*/ 104 h 104"/>
                <a:gd name="T2" fmla="*/ 0 w 183"/>
                <a:gd name="T3" fmla="*/ 74 h 104"/>
                <a:gd name="T4" fmla="*/ 120 w 183"/>
                <a:gd name="T5" fmla="*/ 0 h 104"/>
                <a:gd name="T6" fmla="*/ 183 w 183"/>
                <a:gd name="T7" fmla="*/ 35 h 104"/>
                <a:gd name="T8" fmla="*/ 52 w 183"/>
                <a:gd name="T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04">
                  <a:moveTo>
                    <a:pt x="52" y="104"/>
                  </a:moveTo>
                  <a:lnTo>
                    <a:pt x="0" y="74"/>
                  </a:lnTo>
                  <a:lnTo>
                    <a:pt x="120" y="0"/>
                  </a:lnTo>
                  <a:lnTo>
                    <a:pt x="183" y="35"/>
                  </a:lnTo>
                  <a:lnTo>
                    <a:pt x="52" y="10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0" name="Freeform 1594">
              <a:extLst>
                <a:ext uri="{FF2B5EF4-FFF2-40B4-BE49-F238E27FC236}">
                  <a16:creationId xmlns:a16="http://schemas.microsoft.com/office/drawing/2014/main" id="{F4579972-58A3-44B0-A496-A9AD708974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27449" y="4457008"/>
              <a:ext cx="420503" cy="242108"/>
            </a:xfrm>
            <a:custGeom>
              <a:avLst/>
              <a:gdLst>
                <a:gd name="T0" fmla="*/ 59 w 198"/>
                <a:gd name="T1" fmla="*/ 114 h 114"/>
                <a:gd name="T2" fmla="*/ 0 w 198"/>
                <a:gd name="T3" fmla="*/ 81 h 114"/>
                <a:gd name="T4" fmla="*/ 127 w 198"/>
                <a:gd name="T5" fmla="*/ 0 h 114"/>
                <a:gd name="T6" fmla="*/ 198 w 198"/>
                <a:gd name="T7" fmla="*/ 41 h 114"/>
                <a:gd name="T8" fmla="*/ 59 w 198"/>
                <a:gd name="T9" fmla="*/ 114 h 114"/>
                <a:gd name="T10" fmla="*/ 15 w 198"/>
                <a:gd name="T11" fmla="*/ 81 h 114"/>
                <a:gd name="T12" fmla="*/ 59 w 198"/>
                <a:gd name="T13" fmla="*/ 106 h 114"/>
                <a:gd name="T14" fmla="*/ 183 w 198"/>
                <a:gd name="T15" fmla="*/ 41 h 114"/>
                <a:gd name="T16" fmla="*/ 127 w 198"/>
                <a:gd name="T17" fmla="*/ 8 h 114"/>
                <a:gd name="T18" fmla="*/ 15 w 198"/>
                <a:gd name="T19" fmla="*/ 8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114">
                  <a:moveTo>
                    <a:pt x="59" y="114"/>
                  </a:moveTo>
                  <a:lnTo>
                    <a:pt x="0" y="81"/>
                  </a:lnTo>
                  <a:lnTo>
                    <a:pt x="127" y="0"/>
                  </a:lnTo>
                  <a:lnTo>
                    <a:pt x="198" y="41"/>
                  </a:lnTo>
                  <a:lnTo>
                    <a:pt x="59" y="114"/>
                  </a:lnTo>
                  <a:close/>
                  <a:moveTo>
                    <a:pt x="15" y="81"/>
                  </a:moveTo>
                  <a:lnTo>
                    <a:pt x="59" y="106"/>
                  </a:lnTo>
                  <a:lnTo>
                    <a:pt x="183" y="41"/>
                  </a:lnTo>
                  <a:lnTo>
                    <a:pt x="127" y="8"/>
                  </a:lnTo>
                  <a:lnTo>
                    <a:pt x="15" y="81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1" name="Freeform 1595">
              <a:extLst>
                <a:ext uri="{FF2B5EF4-FFF2-40B4-BE49-F238E27FC236}">
                  <a16:creationId xmlns:a16="http://schemas.microsoft.com/office/drawing/2014/main" id="{48E7275A-897B-4FAA-A4AD-3CDD4DEA0A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3386" y="4694869"/>
              <a:ext cx="176272" cy="101940"/>
            </a:xfrm>
            <a:custGeom>
              <a:avLst/>
              <a:gdLst>
                <a:gd name="T0" fmla="*/ 49 w 83"/>
                <a:gd name="T1" fmla="*/ 48 h 48"/>
                <a:gd name="T2" fmla="*/ 0 w 83"/>
                <a:gd name="T3" fmla="*/ 19 h 48"/>
                <a:gd name="T4" fmla="*/ 31 w 83"/>
                <a:gd name="T5" fmla="*/ 0 h 48"/>
                <a:gd name="T6" fmla="*/ 83 w 83"/>
                <a:gd name="T7" fmla="*/ 29 h 48"/>
                <a:gd name="T8" fmla="*/ 49 w 8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48">
                  <a:moveTo>
                    <a:pt x="49" y="48"/>
                  </a:moveTo>
                  <a:lnTo>
                    <a:pt x="0" y="19"/>
                  </a:lnTo>
                  <a:lnTo>
                    <a:pt x="31" y="0"/>
                  </a:lnTo>
                  <a:lnTo>
                    <a:pt x="83" y="29"/>
                  </a:lnTo>
                  <a:lnTo>
                    <a:pt x="49" y="4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2" name="Freeform 1596">
              <a:extLst>
                <a:ext uri="{FF2B5EF4-FFF2-40B4-BE49-F238E27FC236}">
                  <a16:creationId xmlns:a16="http://schemas.microsoft.com/office/drawing/2014/main" id="{26B6A31E-8F59-4BE0-B8B5-D132E6ECA9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04271" y="4650271"/>
              <a:ext cx="208128" cy="118930"/>
            </a:xfrm>
            <a:custGeom>
              <a:avLst/>
              <a:gdLst>
                <a:gd name="T0" fmla="*/ 58 w 98"/>
                <a:gd name="T1" fmla="*/ 56 h 56"/>
                <a:gd name="T2" fmla="*/ 0 w 98"/>
                <a:gd name="T3" fmla="*/ 23 h 56"/>
                <a:gd name="T4" fmla="*/ 40 w 98"/>
                <a:gd name="T5" fmla="*/ 0 h 56"/>
                <a:gd name="T6" fmla="*/ 98 w 98"/>
                <a:gd name="T7" fmla="*/ 33 h 56"/>
                <a:gd name="T8" fmla="*/ 58 w 98"/>
                <a:gd name="T9" fmla="*/ 56 h 56"/>
                <a:gd name="T10" fmla="*/ 15 w 98"/>
                <a:gd name="T11" fmla="*/ 23 h 56"/>
                <a:gd name="T12" fmla="*/ 58 w 98"/>
                <a:gd name="T13" fmla="*/ 48 h 56"/>
                <a:gd name="T14" fmla="*/ 83 w 98"/>
                <a:gd name="T15" fmla="*/ 33 h 56"/>
                <a:gd name="T16" fmla="*/ 40 w 98"/>
                <a:gd name="T17" fmla="*/ 9 h 56"/>
                <a:gd name="T18" fmla="*/ 15 w 98"/>
                <a:gd name="T19" fmla="*/ 2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" h="56">
                  <a:moveTo>
                    <a:pt x="58" y="56"/>
                  </a:moveTo>
                  <a:lnTo>
                    <a:pt x="0" y="23"/>
                  </a:lnTo>
                  <a:lnTo>
                    <a:pt x="40" y="0"/>
                  </a:lnTo>
                  <a:lnTo>
                    <a:pt x="98" y="33"/>
                  </a:lnTo>
                  <a:lnTo>
                    <a:pt x="58" y="56"/>
                  </a:lnTo>
                  <a:close/>
                  <a:moveTo>
                    <a:pt x="15" y="23"/>
                  </a:moveTo>
                  <a:lnTo>
                    <a:pt x="58" y="48"/>
                  </a:lnTo>
                  <a:lnTo>
                    <a:pt x="83" y="33"/>
                  </a:lnTo>
                  <a:lnTo>
                    <a:pt x="40" y="9"/>
                  </a:lnTo>
                  <a:lnTo>
                    <a:pt x="15" y="23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3" name="Freeform 1597">
              <a:extLst>
                <a:ext uri="{FF2B5EF4-FFF2-40B4-BE49-F238E27FC236}">
                  <a16:creationId xmlns:a16="http://schemas.microsoft.com/office/drawing/2014/main" id="{756649B3-FE7C-41C4-9A58-95312ACC5B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53461" y="5397832"/>
              <a:ext cx="679601" cy="422627"/>
            </a:xfrm>
            <a:custGeom>
              <a:avLst/>
              <a:gdLst>
                <a:gd name="T0" fmla="*/ 154 w 154"/>
                <a:gd name="T1" fmla="*/ 16 h 96"/>
                <a:gd name="T2" fmla="*/ 147 w 154"/>
                <a:gd name="T3" fmla="*/ 18 h 96"/>
                <a:gd name="T4" fmla="*/ 139 w 154"/>
                <a:gd name="T5" fmla="*/ 12 h 96"/>
                <a:gd name="T6" fmla="*/ 139 w 154"/>
                <a:gd name="T7" fmla="*/ 12 h 96"/>
                <a:gd name="T8" fmla="*/ 80 w 154"/>
                <a:gd name="T9" fmla="*/ 9 h 96"/>
                <a:gd name="T10" fmla="*/ 19 w 154"/>
                <a:gd name="T11" fmla="*/ 45 h 96"/>
                <a:gd name="T12" fmla="*/ 0 w 154"/>
                <a:gd name="T13" fmla="*/ 51 h 96"/>
                <a:gd name="T14" fmla="*/ 0 w 154"/>
                <a:gd name="T15" fmla="*/ 65 h 96"/>
                <a:gd name="T16" fmla="*/ 0 w 154"/>
                <a:gd name="T17" fmla="*/ 65 h 96"/>
                <a:gd name="T18" fmla="*/ 14 w 154"/>
                <a:gd name="T19" fmla="*/ 84 h 96"/>
                <a:gd name="T20" fmla="*/ 73 w 154"/>
                <a:gd name="T21" fmla="*/ 87 h 96"/>
                <a:gd name="T22" fmla="*/ 144 w 154"/>
                <a:gd name="T23" fmla="*/ 46 h 96"/>
                <a:gd name="T24" fmla="*/ 154 w 154"/>
                <a:gd name="T25" fmla="*/ 31 h 96"/>
                <a:gd name="T26" fmla="*/ 154 w 154"/>
                <a:gd name="T27" fmla="*/ 31 h 96"/>
                <a:gd name="T28" fmla="*/ 154 w 154"/>
                <a:gd name="T29" fmla="*/ 1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96">
                  <a:moveTo>
                    <a:pt x="154" y="16"/>
                  </a:moveTo>
                  <a:cubicBezTo>
                    <a:pt x="147" y="18"/>
                    <a:pt x="147" y="18"/>
                    <a:pt x="147" y="18"/>
                  </a:cubicBezTo>
                  <a:cubicBezTo>
                    <a:pt x="145" y="16"/>
                    <a:pt x="142" y="13"/>
                    <a:pt x="139" y="12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22" y="1"/>
                    <a:pt x="95" y="0"/>
                    <a:pt x="80" y="9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2"/>
                    <a:pt x="5" y="79"/>
                    <a:pt x="14" y="84"/>
                  </a:cubicBezTo>
                  <a:cubicBezTo>
                    <a:pt x="32" y="95"/>
                    <a:pt x="58" y="96"/>
                    <a:pt x="73" y="87"/>
                  </a:cubicBezTo>
                  <a:cubicBezTo>
                    <a:pt x="144" y="46"/>
                    <a:pt x="144" y="46"/>
                    <a:pt x="144" y="46"/>
                  </a:cubicBezTo>
                  <a:cubicBezTo>
                    <a:pt x="150" y="42"/>
                    <a:pt x="154" y="37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lnTo>
                    <a:pt x="154" y="1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4" name="Freeform 1598">
              <a:extLst>
                <a:ext uri="{FF2B5EF4-FFF2-40B4-BE49-F238E27FC236}">
                  <a16:creationId xmlns:a16="http://schemas.microsoft.com/office/drawing/2014/main" id="{88C72F40-482D-43F6-A2FE-BD92DB3CC0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844966" y="5387212"/>
              <a:ext cx="698715" cy="428998"/>
            </a:xfrm>
            <a:custGeom>
              <a:avLst/>
              <a:gdLst>
                <a:gd name="T0" fmla="*/ 50 w 158"/>
                <a:gd name="T1" fmla="*/ 97 h 97"/>
                <a:gd name="T2" fmla="*/ 15 w 158"/>
                <a:gd name="T3" fmla="*/ 88 h 97"/>
                <a:gd name="T4" fmla="*/ 0 w 158"/>
                <a:gd name="T5" fmla="*/ 70 h 97"/>
                <a:gd name="T6" fmla="*/ 0 w 158"/>
                <a:gd name="T7" fmla="*/ 70 h 97"/>
                <a:gd name="T8" fmla="*/ 0 w 158"/>
                <a:gd name="T9" fmla="*/ 67 h 97"/>
                <a:gd name="T10" fmla="*/ 0 w 158"/>
                <a:gd name="T11" fmla="*/ 51 h 97"/>
                <a:gd name="T12" fmla="*/ 20 w 158"/>
                <a:gd name="T13" fmla="*/ 45 h 97"/>
                <a:gd name="T14" fmla="*/ 81 w 158"/>
                <a:gd name="T15" fmla="*/ 9 h 97"/>
                <a:gd name="T16" fmla="*/ 142 w 158"/>
                <a:gd name="T17" fmla="*/ 12 h 97"/>
                <a:gd name="T18" fmla="*/ 150 w 158"/>
                <a:gd name="T19" fmla="*/ 17 h 97"/>
                <a:gd name="T20" fmla="*/ 158 w 158"/>
                <a:gd name="T21" fmla="*/ 18 h 97"/>
                <a:gd name="T22" fmla="*/ 158 w 158"/>
                <a:gd name="T23" fmla="*/ 35 h 97"/>
                <a:gd name="T24" fmla="*/ 147 w 158"/>
                <a:gd name="T25" fmla="*/ 50 h 97"/>
                <a:gd name="T26" fmla="*/ 76 w 158"/>
                <a:gd name="T27" fmla="*/ 91 h 97"/>
                <a:gd name="T28" fmla="*/ 50 w 158"/>
                <a:gd name="T29" fmla="*/ 97 h 97"/>
                <a:gd name="T30" fmla="*/ 4 w 158"/>
                <a:gd name="T31" fmla="*/ 67 h 97"/>
                <a:gd name="T32" fmla="*/ 4 w 158"/>
                <a:gd name="T33" fmla="*/ 67 h 97"/>
                <a:gd name="T34" fmla="*/ 17 w 158"/>
                <a:gd name="T35" fmla="*/ 85 h 97"/>
                <a:gd name="T36" fmla="*/ 74 w 158"/>
                <a:gd name="T37" fmla="*/ 87 h 97"/>
                <a:gd name="T38" fmla="*/ 144 w 158"/>
                <a:gd name="T39" fmla="*/ 46 h 97"/>
                <a:gd name="T40" fmla="*/ 154 w 158"/>
                <a:gd name="T41" fmla="*/ 33 h 97"/>
                <a:gd name="T42" fmla="*/ 154 w 158"/>
                <a:gd name="T43" fmla="*/ 33 h 97"/>
                <a:gd name="T44" fmla="*/ 154 w 158"/>
                <a:gd name="T45" fmla="*/ 21 h 97"/>
                <a:gd name="T46" fmla="*/ 149 w 158"/>
                <a:gd name="T47" fmla="*/ 22 h 97"/>
                <a:gd name="T48" fmla="*/ 148 w 158"/>
                <a:gd name="T49" fmla="*/ 21 h 97"/>
                <a:gd name="T50" fmla="*/ 140 w 158"/>
                <a:gd name="T51" fmla="*/ 15 h 97"/>
                <a:gd name="T52" fmla="*/ 83 w 158"/>
                <a:gd name="T53" fmla="*/ 13 h 97"/>
                <a:gd name="T54" fmla="*/ 21 w 158"/>
                <a:gd name="T55" fmla="*/ 49 h 97"/>
                <a:gd name="T56" fmla="*/ 4 w 158"/>
                <a:gd name="T57" fmla="*/ 54 h 97"/>
                <a:gd name="T58" fmla="*/ 4 w 158"/>
                <a:gd name="T59" fmla="*/ 6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8" h="97">
                  <a:moveTo>
                    <a:pt x="50" y="97"/>
                  </a:moveTo>
                  <a:cubicBezTo>
                    <a:pt x="38" y="97"/>
                    <a:pt x="25" y="94"/>
                    <a:pt x="15" y="88"/>
                  </a:cubicBezTo>
                  <a:cubicBezTo>
                    <a:pt x="7" y="83"/>
                    <a:pt x="1" y="77"/>
                    <a:pt x="0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97" y="0"/>
                    <a:pt x="124" y="1"/>
                    <a:pt x="142" y="12"/>
                  </a:cubicBezTo>
                  <a:cubicBezTo>
                    <a:pt x="145" y="13"/>
                    <a:pt x="148" y="15"/>
                    <a:pt x="150" y="17"/>
                  </a:cubicBezTo>
                  <a:cubicBezTo>
                    <a:pt x="158" y="18"/>
                    <a:pt x="158" y="18"/>
                    <a:pt x="158" y="18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7" y="41"/>
                    <a:pt x="153" y="46"/>
                    <a:pt x="147" y="50"/>
                  </a:cubicBezTo>
                  <a:cubicBezTo>
                    <a:pt x="76" y="91"/>
                    <a:pt x="76" y="91"/>
                    <a:pt x="76" y="91"/>
                  </a:cubicBezTo>
                  <a:cubicBezTo>
                    <a:pt x="69" y="95"/>
                    <a:pt x="60" y="97"/>
                    <a:pt x="50" y="97"/>
                  </a:cubicBezTo>
                  <a:close/>
                  <a:moveTo>
                    <a:pt x="4" y="67"/>
                  </a:moveTo>
                  <a:cubicBezTo>
                    <a:pt x="4" y="67"/>
                    <a:pt x="4" y="67"/>
                    <a:pt x="4" y="67"/>
                  </a:cubicBezTo>
                  <a:cubicBezTo>
                    <a:pt x="4" y="73"/>
                    <a:pt x="9" y="80"/>
                    <a:pt x="17" y="85"/>
                  </a:cubicBezTo>
                  <a:cubicBezTo>
                    <a:pt x="34" y="94"/>
                    <a:pt x="60" y="96"/>
                    <a:pt x="74" y="87"/>
                  </a:cubicBezTo>
                  <a:cubicBezTo>
                    <a:pt x="144" y="46"/>
                    <a:pt x="144" y="46"/>
                    <a:pt x="144" y="46"/>
                  </a:cubicBezTo>
                  <a:cubicBezTo>
                    <a:pt x="150" y="43"/>
                    <a:pt x="154" y="38"/>
                    <a:pt x="154" y="33"/>
                  </a:cubicBezTo>
                  <a:cubicBezTo>
                    <a:pt x="154" y="33"/>
                    <a:pt x="154" y="33"/>
                    <a:pt x="154" y="33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46" y="19"/>
                    <a:pt x="143" y="17"/>
                    <a:pt x="140" y="15"/>
                  </a:cubicBezTo>
                  <a:cubicBezTo>
                    <a:pt x="123" y="6"/>
                    <a:pt x="98" y="4"/>
                    <a:pt x="83" y="13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4" y="54"/>
                    <a:pt x="4" y="54"/>
                    <a:pt x="4" y="54"/>
                  </a:cubicBezTo>
                  <a:lnTo>
                    <a:pt x="4" y="67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5" name="Freeform 1599">
              <a:extLst>
                <a:ext uri="{FF2B5EF4-FFF2-40B4-BE49-F238E27FC236}">
                  <a16:creationId xmlns:a16="http://schemas.microsoft.com/office/drawing/2014/main" id="{06300543-FCED-4778-A22C-D4E1D7A30A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32223" y="5329871"/>
              <a:ext cx="724200" cy="424751"/>
            </a:xfrm>
            <a:custGeom>
              <a:avLst/>
              <a:gdLst>
                <a:gd name="T0" fmla="*/ 149 w 164"/>
                <a:gd name="T1" fmla="*/ 46 h 96"/>
                <a:gd name="T2" fmla="*/ 78 w 164"/>
                <a:gd name="T3" fmla="*/ 87 h 96"/>
                <a:gd name="T4" fmla="*/ 19 w 164"/>
                <a:gd name="T5" fmla="*/ 85 h 96"/>
                <a:gd name="T6" fmla="*/ 19 w 164"/>
                <a:gd name="T7" fmla="*/ 85 h 96"/>
                <a:gd name="T8" fmla="*/ 15 w 164"/>
                <a:gd name="T9" fmla="*/ 50 h 96"/>
                <a:gd name="T10" fmla="*/ 85 w 164"/>
                <a:gd name="T11" fmla="*/ 9 h 96"/>
                <a:gd name="T12" fmla="*/ 144 w 164"/>
                <a:gd name="T13" fmla="*/ 12 h 96"/>
                <a:gd name="T14" fmla="*/ 144 w 164"/>
                <a:gd name="T15" fmla="*/ 12 h 96"/>
                <a:gd name="T16" fmla="*/ 149 w 164"/>
                <a:gd name="T17" fmla="*/ 4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96">
                  <a:moveTo>
                    <a:pt x="149" y="46"/>
                  </a:moveTo>
                  <a:cubicBezTo>
                    <a:pt x="78" y="87"/>
                    <a:pt x="78" y="87"/>
                    <a:pt x="78" y="87"/>
                  </a:cubicBezTo>
                  <a:cubicBezTo>
                    <a:pt x="63" y="96"/>
                    <a:pt x="37" y="95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2" y="74"/>
                    <a:pt x="0" y="59"/>
                    <a:pt x="15" y="50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100" y="0"/>
                    <a:pt x="127" y="2"/>
                    <a:pt x="144" y="12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62" y="22"/>
                    <a:pt x="164" y="37"/>
                    <a:pt x="149" y="4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6" name="Freeform 1600">
              <a:extLst>
                <a:ext uri="{FF2B5EF4-FFF2-40B4-BE49-F238E27FC236}">
                  <a16:creationId xmlns:a16="http://schemas.microsoft.com/office/drawing/2014/main" id="{AC077F2F-DACF-44F6-8F89-43835BBA00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53461" y="5370222"/>
              <a:ext cx="675353" cy="384400"/>
            </a:xfrm>
            <a:custGeom>
              <a:avLst/>
              <a:gdLst>
                <a:gd name="T0" fmla="*/ 139 w 153"/>
                <a:gd name="T1" fmla="*/ 11 h 87"/>
                <a:gd name="T2" fmla="*/ 80 w 153"/>
                <a:gd name="T3" fmla="*/ 8 h 87"/>
                <a:gd name="T4" fmla="*/ 10 w 153"/>
                <a:gd name="T5" fmla="*/ 49 h 87"/>
                <a:gd name="T6" fmla="*/ 0 w 153"/>
                <a:gd name="T7" fmla="*/ 60 h 87"/>
                <a:gd name="T8" fmla="*/ 14 w 153"/>
                <a:gd name="T9" fmla="*/ 76 h 87"/>
                <a:gd name="T10" fmla="*/ 73 w 153"/>
                <a:gd name="T11" fmla="*/ 78 h 87"/>
                <a:gd name="T12" fmla="*/ 144 w 153"/>
                <a:gd name="T13" fmla="*/ 37 h 87"/>
                <a:gd name="T14" fmla="*/ 153 w 153"/>
                <a:gd name="T15" fmla="*/ 26 h 87"/>
                <a:gd name="T16" fmla="*/ 139 w 153"/>
                <a:gd name="T17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87">
                  <a:moveTo>
                    <a:pt x="139" y="11"/>
                  </a:moveTo>
                  <a:cubicBezTo>
                    <a:pt x="122" y="1"/>
                    <a:pt x="95" y="0"/>
                    <a:pt x="80" y="8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5" y="52"/>
                    <a:pt x="2" y="56"/>
                    <a:pt x="0" y="60"/>
                  </a:cubicBezTo>
                  <a:cubicBezTo>
                    <a:pt x="2" y="66"/>
                    <a:pt x="7" y="71"/>
                    <a:pt x="14" y="76"/>
                  </a:cubicBezTo>
                  <a:cubicBezTo>
                    <a:pt x="32" y="86"/>
                    <a:pt x="58" y="87"/>
                    <a:pt x="73" y="78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9" y="34"/>
                    <a:pt x="152" y="30"/>
                    <a:pt x="153" y="26"/>
                  </a:cubicBezTo>
                  <a:cubicBezTo>
                    <a:pt x="152" y="21"/>
                    <a:pt x="147" y="15"/>
                    <a:pt x="139" y="11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7" name="Freeform 1601">
              <a:extLst>
                <a:ext uri="{FF2B5EF4-FFF2-40B4-BE49-F238E27FC236}">
                  <a16:creationId xmlns:a16="http://schemas.microsoft.com/office/drawing/2014/main" id="{A66EBAC1-0B6A-47CC-AC96-3A8832193C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844966" y="5321376"/>
              <a:ext cx="698715" cy="428998"/>
            </a:xfrm>
            <a:custGeom>
              <a:avLst/>
              <a:gdLst>
                <a:gd name="T0" fmla="*/ 50 w 158"/>
                <a:gd name="T1" fmla="*/ 97 h 97"/>
                <a:gd name="T2" fmla="*/ 15 w 158"/>
                <a:gd name="T3" fmla="*/ 88 h 97"/>
                <a:gd name="T4" fmla="*/ 0 w 158"/>
                <a:gd name="T5" fmla="*/ 67 h 97"/>
                <a:gd name="T6" fmla="*/ 11 w 158"/>
                <a:gd name="T7" fmla="*/ 50 h 97"/>
                <a:gd name="T8" fmla="*/ 81 w 158"/>
                <a:gd name="T9" fmla="*/ 9 h 97"/>
                <a:gd name="T10" fmla="*/ 142 w 158"/>
                <a:gd name="T11" fmla="*/ 12 h 97"/>
                <a:gd name="T12" fmla="*/ 158 w 158"/>
                <a:gd name="T13" fmla="*/ 33 h 97"/>
                <a:gd name="T14" fmla="*/ 147 w 158"/>
                <a:gd name="T15" fmla="*/ 50 h 97"/>
                <a:gd name="T16" fmla="*/ 147 w 158"/>
                <a:gd name="T17" fmla="*/ 50 h 97"/>
                <a:gd name="T18" fmla="*/ 76 w 158"/>
                <a:gd name="T19" fmla="*/ 91 h 97"/>
                <a:gd name="T20" fmla="*/ 50 w 158"/>
                <a:gd name="T21" fmla="*/ 97 h 97"/>
                <a:gd name="T22" fmla="*/ 108 w 158"/>
                <a:gd name="T23" fmla="*/ 7 h 97"/>
                <a:gd name="T24" fmla="*/ 83 w 158"/>
                <a:gd name="T25" fmla="*/ 13 h 97"/>
                <a:gd name="T26" fmla="*/ 13 w 158"/>
                <a:gd name="T27" fmla="*/ 54 h 97"/>
                <a:gd name="T28" fmla="*/ 4 w 158"/>
                <a:gd name="T29" fmla="*/ 67 h 97"/>
                <a:gd name="T30" fmla="*/ 17 w 158"/>
                <a:gd name="T31" fmla="*/ 85 h 97"/>
                <a:gd name="T32" fmla="*/ 74 w 158"/>
                <a:gd name="T33" fmla="*/ 87 h 97"/>
                <a:gd name="T34" fmla="*/ 144 w 158"/>
                <a:gd name="T35" fmla="*/ 46 h 97"/>
                <a:gd name="T36" fmla="*/ 154 w 158"/>
                <a:gd name="T37" fmla="*/ 33 h 97"/>
                <a:gd name="T38" fmla="*/ 140 w 158"/>
                <a:gd name="T39" fmla="*/ 16 h 97"/>
                <a:gd name="T40" fmla="*/ 108 w 158"/>
                <a:gd name="T41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97">
                  <a:moveTo>
                    <a:pt x="50" y="97"/>
                  </a:moveTo>
                  <a:cubicBezTo>
                    <a:pt x="38" y="97"/>
                    <a:pt x="25" y="94"/>
                    <a:pt x="15" y="88"/>
                  </a:cubicBezTo>
                  <a:cubicBezTo>
                    <a:pt x="5" y="83"/>
                    <a:pt x="0" y="75"/>
                    <a:pt x="0" y="67"/>
                  </a:cubicBezTo>
                  <a:cubicBezTo>
                    <a:pt x="0" y="60"/>
                    <a:pt x="4" y="55"/>
                    <a:pt x="11" y="50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97" y="0"/>
                    <a:pt x="124" y="1"/>
                    <a:pt x="142" y="12"/>
                  </a:cubicBezTo>
                  <a:cubicBezTo>
                    <a:pt x="152" y="18"/>
                    <a:pt x="158" y="25"/>
                    <a:pt x="158" y="33"/>
                  </a:cubicBezTo>
                  <a:cubicBezTo>
                    <a:pt x="158" y="40"/>
                    <a:pt x="154" y="46"/>
                    <a:pt x="147" y="50"/>
                  </a:cubicBezTo>
                  <a:cubicBezTo>
                    <a:pt x="147" y="50"/>
                    <a:pt x="147" y="50"/>
                    <a:pt x="147" y="50"/>
                  </a:cubicBezTo>
                  <a:cubicBezTo>
                    <a:pt x="76" y="91"/>
                    <a:pt x="76" y="91"/>
                    <a:pt x="76" y="91"/>
                  </a:cubicBezTo>
                  <a:cubicBezTo>
                    <a:pt x="69" y="95"/>
                    <a:pt x="60" y="97"/>
                    <a:pt x="50" y="97"/>
                  </a:cubicBezTo>
                  <a:close/>
                  <a:moveTo>
                    <a:pt x="108" y="7"/>
                  </a:moveTo>
                  <a:cubicBezTo>
                    <a:pt x="99" y="7"/>
                    <a:pt x="90" y="9"/>
                    <a:pt x="83" y="13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7" y="57"/>
                    <a:pt x="4" y="62"/>
                    <a:pt x="4" y="67"/>
                  </a:cubicBezTo>
                  <a:cubicBezTo>
                    <a:pt x="4" y="73"/>
                    <a:pt x="9" y="80"/>
                    <a:pt x="17" y="85"/>
                  </a:cubicBezTo>
                  <a:cubicBezTo>
                    <a:pt x="34" y="95"/>
                    <a:pt x="60" y="96"/>
                    <a:pt x="74" y="87"/>
                  </a:cubicBezTo>
                  <a:cubicBezTo>
                    <a:pt x="144" y="46"/>
                    <a:pt x="144" y="46"/>
                    <a:pt x="144" y="46"/>
                  </a:cubicBezTo>
                  <a:cubicBezTo>
                    <a:pt x="150" y="43"/>
                    <a:pt x="154" y="38"/>
                    <a:pt x="154" y="33"/>
                  </a:cubicBezTo>
                  <a:cubicBezTo>
                    <a:pt x="154" y="27"/>
                    <a:pt x="149" y="21"/>
                    <a:pt x="140" y="16"/>
                  </a:cubicBezTo>
                  <a:cubicBezTo>
                    <a:pt x="131" y="10"/>
                    <a:pt x="119" y="7"/>
                    <a:pt x="108" y="7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8" name="Freeform 1602">
              <a:extLst>
                <a:ext uri="{FF2B5EF4-FFF2-40B4-BE49-F238E27FC236}">
                  <a16:creationId xmlns:a16="http://schemas.microsoft.com/office/drawing/2014/main" id="{8F9A7C04-E4FF-40CD-AB35-687F183CE6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63529" y="5410574"/>
              <a:ext cx="316440" cy="184767"/>
            </a:xfrm>
            <a:custGeom>
              <a:avLst/>
              <a:gdLst>
                <a:gd name="T0" fmla="*/ 59 w 72"/>
                <a:gd name="T1" fmla="*/ 8 h 42"/>
                <a:gd name="T2" fmla="*/ 59 w 72"/>
                <a:gd name="T3" fmla="*/ 35 h 42"/>
                <a:gd name="T4" fmla="*/ 13 w 72"/>
                <a:gd name="T5" fmla="*/ 35 h 42"/>
                <a:gd name="T6" fmla="*/ 13 w 72"/>
                <a:gd name="T7" fmla="*/ 8 h 42"/>
                <a:gd name="T8" fmla="*/ 59 w 72"/>
                <a:gd name="T9" fmla="*/ 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42">
                  <a:moveTo>
                    <a:pt x="59" y="8"/>
                  </a:moveTo>
                  <a:cubicBezTo>
                    <a:pt x="72" y="15"/>
                    <a:pt x="72" y="27"/>
                    <a:pt x="59" y="35"/>
                  </a:cubicBezTo>
                  <a:cubicBezTo>
                    <a:pt x="47" y="42"/>
                    <a:pt x="26" y="42"/>
                    <a:pt x="13" y="35"/>
                  </a:cubicBezTo>
                  <a:cubicBezTo>
                    <a:pt x="0" y="27"/>
                    <a:pt x="0" y="15"/>
                    <a:pt x="13" y="8"/>
                  </a:cubicBezTo>
                  <a:cubicBezTo>
                    <a:pt x="26" y="0"/>
                    <a:pt x="47" y="0"/>
                    <a:pt x="59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9" name="Freeform 1603">
              <a:extLst>
                <a:ext uri="{FF2B5EF4-FFF2-40B4-BE49-F238E27FC236}">
                  <a16:creationId xmlns:a16="http://schemas.microsoft.com/office/drawing/2014/main" id="{09A343C0-A38E-434D-B91A-BBEA4A9938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167776" y="5361727"/>
              <a:ext cx="307945" cy="193262"/>
            </a:xfrm>
            <a:custGeom>
              <a:avLst/>
              <a:gdLst>
                <a:gd name="T0" fmla="*/ 35 w 70"/>
                <a:gd name="T1" fmla="*/ 44 h 44"/>
                <a:gd name="T2" fmla="*/ 11 w 70"/>
                <a:gd name="T3" fmla="*/ 39 h 44"/>
                <a:gd name="T4" fmla="*/ 0 w 70"/>
                <a:gd name="T5" fmla="*/ 23 h 44"/>
                <a:gd name="T6" fmla="*/ 11 w 70"/>
                <a:gd name="T7" fmla="*/ 8 h 44"/>
                <a:gd name="T8" fmla="*/ 60 w 70"/>
                <a:gd name="T9" fmla="*/ 8 h 44"/>
                <a:gd name="T10" fmla="*/ 60 w 70"/>
                <a:gd name="T11" fmla="*/ 8 h 44"/>
                <a:gd name="T12" fmla="*/ 70 w 70"/>
                <a:gd name="T13" fmla="*/ 23 h 44"/>
                <a:gd name="T14" fmla="*/ 60 w 70"/>
                <a:gd name="T15" fmla="*/ 39 h 44"/>
                <a:gd name="T16" fmla="*/ 35 w 70"/>
                <a:gd name="T17" fmla="*/ 44 h 44"/>
                <a:gd name="T18" fmla="*/ 35 w 70"/>
                <a:gd name="T19" fmla="*/ 6 h 44"/>
                <a:gd name="T20" fmla="*/ 13 w 70"/>
                <a:gd name="T21" fmla="*/ 12 h 44"/>
                <a:gd name="T22" fmla="*/ 5 w 70"/>
                <a:gd name="T23" fmla="*/ 23 h 44"/>
                <a:gd name="T24" fmla="*/ 13 w 70"/>
                <a:gd name="T25" fmla="*/ 35 h 44"/>
                <a:gd name="T26" fmla="*/ 57 w 70"/>
                <a:gd name="T27" fmla="*/ 35 h 44"/>
                <a:gd name="T28" fmla="*/ 66 w 70"/>
                <a:gd name="T29" fmla="*/ 23 h 44"/>
                <a:gd name="T30" fmla="*/ 57 w 70"/>
                <a:gd name="T31" fmla="*/ 12 h 44"/>
                <a:gd name="T32" fmla="*/ 57 w 70"/>
                <a:gd name="T33" fmla="*/ 12 h 44"/>
                <a:gd name="T34" fmla="*/ 35 w 70"/>
                <a:gd name="T35" fmla="*/ 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0" h="44">
                  <a:moveTo>
                    <a:pt x="35" y="44"/>
                  </a:moveTo>
                  <a:cubicBezTo>
                    <a:pt x="27" y="44"/>
                    <a:pt x="18" y="42"/>
                    <a:pt x="11" y="39"/>
                  </a:cubicBezTo>
                  <a:cubicBezTo>
                    <a:pt x="4" y="35"/>
                    <a:pt x="0" y="29"/>
                    <a:pt x="0" y="23"/>
                  </a:cubicBezTo>
                  <a:cubicBezTo>
                    <a:pt x="0" y="17"/>
                    <a:pt x="4" y="12"/>
                    <a:pt x="11" y="8"/>
                  </a:cubicBezTo>
                  <a:cubicBezTo>
                    <a:pt x="24" y="0"/>
                    <a:pt x="46" y="0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6" y="12"/>
                    <a:pt x="70" y="17"/>
                    <a:pt x="70" y="23"/>
                  </a:cubicBezTo>
                  <a:cubicBezTo>
                    <a:pt x="70" y="29"/>
                    <a:pt x="66" y="35"/>
                    <a:pt x="60" y="39"/>
                  </a:cubicBezTo>
                  <a:cubicBezTo>
                    <a:pt x="53" y="42"/>
                    <a:pt x="44" y="44"/>
                    <a:pt x="35" y="44"/>
                  </a:cubicBezTo>
                  <a:close/>
                  <a:moveTo>
                    <a:pt x="35" y="6"/>
                  </a:moveTo>
                  <a:cubicBezTo>
                    <a:pt x="27" y="6"/>
                    <a:pt x="19" y="8"/>
                    <a:pt x="13" y="12"/>
                  </a:cubicBezTo>
                  <a:cubicBezTo>
                    <a:pt x="8" y="15"/>
                    <a:pt x="5" y="19"/>
                    <a:pt x="5" y="23"/>
                  </a:cubicBezTo>
                  <a:cubicBezTo>
                    <a:pt x="5" y="28"/>
                    <a:pt x="8" y="32"/>
                    <a:pt x="13" y="35"/>
                  </a:cubicBezTo>
                  <a:cubicBezTo>
                    <a:pt x="25" y="42"/>
                    <a:pt x="45" y="42"/>
                    <a:pt x="57" y="35"/>
                  </a:cubicBezTo>
                  <a:cubicBezTo>
                    <a:pt x="63" y="32"/>
                    <a:pt x="66" y="28"/>
                    <a:pt x="66" y="23"/>
                  </a:cubicBezTo>
                  <a:cubicBezTo>
                    <a:pt x="66" y="19"/>
                    <a:pt x="63" y="15"/>
                    <a:pt x="57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1" y="8"/>
                    <a:pt x="43" y="6"/>
                    <a:pt x="35" y="6"/>
                  </a:cubicBez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0" name="Freeform 1604">
              <a:extLst>
                <a:ext uri="{FF2B5EF4-FFF2-40B4-BE49-F238E27FC236}">
                  <a16:creationId xmlns:a16="http://schemas.microsoft.com/office/drawing/2014/main" id="{07046D70-A8D6-49D1-B123-439583CC6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14683" y="5493400"/>
              <a:ext cx="422627" cy="310068"/>
            </a:xfrm>
            <a:custGeom>
              <a:avLst/>
              <a:gdLst>
                <a:gd name="T0" fmla="*/ 0 w 199"/>
                <a:gd name="T1" fmla="*/ 117 h 146"/>
                <a:gd name="T2" fmla="*/ 0 w 199"/>
                <a:gd name="T3" fmla="*/ 146 h 146"/>
                <a:gd name="T4" fmla="*/ 25 w 199"/>
                <a:gd name="T5" fmla="*/ 137 h 146"/>
                <a:gd name="T6" fmla="*/ 187 w 199"/>
                <a:gd name="T7" fmla="*/ 42 h 146"/>
                <a:gd name="T8" fmla="*/ 199 w 199"/>
                <a:gd name="T9" fmla="*/ 21 h 146"/>
                <a:gd name="T10" fmla="*/ 195 w 199"/>
                <a:gd name="T11" fmla="*/ 0 h 146"/>
                <a:gd name="T12" fmla="*/ 37 w 199"/>
                <a:gd name="T13" fmla="*/ 100 h 146"/>
                <a:gd name="T14" fmla="*/ 0 w 199"/>
                <a:gd name="T15" fmla="*/ 11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9" h="146">
                  <a:moveTo>
                    <a:pt x="0" y="117"/>
                  </a:moveTo>
                  <a:lnTo>
                    <a:pt x="0" y="146"/>
                  </a:lnTo>
                  <a:lnTo>
                    <a:pt x="25" y="137"/>
                  </a:lnTo>
                  <a:lnTo>
                    <a:pt x="187" y="42"/>
                  </a:lnTo>
                  <a:lnTo>
                    <a:pt x="199" y="21"/>
                  </a:lnTo>
                  <a:lnTo>
                    <a:pt x="195" y="0"/>
                  </a:lnTo>
                  <a:lnTo>
                    <a:pt x="37" y="100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1" name="Freeform 1605">
              <a:extLst>
                <a:ext uri="{FF2B5EF4-FFF2-40B4-BE49-F238E27FC236}">
                  <a16:creationId xmlns:a16="http://schemas.microsoft.com/office/drawing/2014/main" id="{A8D650A5-1F49-4E14-AAC0-63EE3375BE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6990" y="5737632"/>
              <a:ext cx="44599" cy="70085"/>
            </a:xfrm>
            <a:custGeom>
              <a:avLst/>
              <a:gdLst>
                <a:gd name="T0" fmla="*/ 21 w 21"/>
                <a:gd name="T1" fmla="*/ 2 h 33"/>
                <a:gd name="T2" fmla="*/ 21 w 21"/>
                <a:gd name="T3" fmla="*/ 33 h 33"/>
                <a:gd name="T4" fmla="*/ 0 w 21"/>
                <a:gd name="T5" fmla="*/ 33 h 33"/>
                <a:gd name="T6" fmla="*/ 0 w 21"/>
                <a:gd name="T7" fmla="*/ 0 h 33"/>
                <a:gd name="T8" fmla="*/ 21 w 21"/>
                <a:gd name="T9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33">
                  <a:moveTo>
                    <a:pt x="21" y="2"/>
                  </a:moveTo>
                  <a:lnTo>
                    <a:pt x="21" y="33"/>
                  </a:lnTo>
                  <a:lnTo>
                    <a:pt x="0" y="33"/>
                  </a:lnTo>
                  <a:lnTo>
                    <a:pt x="0" y="0"/>
                  </a:lnTo>
                  <a:lnTo>
                    <a:pt x="21" y="2"/>
                  </a:lnTo>
                  <a:close/>
                </a:path>
              </a:pathLst>
            </a:custGeom>
            <a:solidFill>
              <a:srgbClr val="1611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5/19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image" Target="../media/image13.jpg"/><Relationship Id="rId4" Type="http://schemas.openxmlformats.org/officeDocument/2006/relationships/image" Target="../media/image12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13.jpg"/><Relationship Id="rId4" Type="http://schemas.openxmlformats.org/officeDocument/2006/relationships/image" Target="../media/image12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5" Type="http://schemas.openxmlformats.org/officeDocument/2006/relationships/image" Target="../media/image13.jpg"/><Relationship Id="rId4" Type="http://schemas.openxmlformats.org/officeDocument/2006/relationships/image" Target="../media/image12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E72002A1-3E36-4A66-9C40-942D67514F88}"/>
              </a:ext>
            </a:extLst>
          </p:cNvPr>
          <p:cNvSpPr/>
          <p:nvPr/>
        </p:nvSpPr>
        <p:spPr>
          <a:xfrm>
            <a:off x="1560285" y="4562260"/>
            <a:ext cx="2256972" cy="44969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1574799" y="4601290"/>
            <a:ext cx="7558013" cy="558799"/>
          </a:xfrm>
        </p:spPr>
        <p:txBody>
          <a:bodyPr>
            <a:normAutofit/>
          </a:bodyPr>
          <a:lstStyle/>
          <a:p>
            <a:r>
              <a:rPr lang="en-US" altLang="zh-CN" sz="2400" dirty="0">
                <a:solidFill>
                  <a:schemeClr val="tx1"/>
                </a:solidFill>
              </a:rPr>
              <a:t>Name matters</a:t>
            </a:r>
            <a:r>
              <a:rPr lang="zh-CN" altLang="en-US" sz="2400" dirty="0">
                <a:solidFill>
                  <a:schemeClr val="tx1"/>
                </a:solidFill>
              </a:rPr>
              <a:t>！</a:t>
            </a:r>
            <a:endParaRPr lang="en-US" altLang="zh-CN" sz="2400" dirty="0">
              <a:solidFill>
                <a:schemeClr val="tx1"/>
              </a:solidFill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Louis Wang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COMPSCI 702 Seminar</a:t>
            </a:r>
            <a:endParaRPr lang="en-US" altLang="en-US" dirty="0"/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26C86EAC-64DD-4E21-A3E6-BADF6C92B881}"/>
              </a:ext>
            </a:extLst>
          </p:cNvPr>
          <p:cNvSpPr/>
          <p:nvPr/>
        </p:nvSpPr>
        <p:spPr>
          <a:xfrm>
            <a:off x="1574799" y="1203404"/>
            <a:ext cx="5118101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8800" b="1" i="1" u="sng" dirty="0">
                <a:solidFill>
                  <a:schemeClr val="bg1"/>
                </a:solidFill>
                <a:latin typeface="Arial Narrow" panose="020B0606020202030204" pitchFamily="34" charset="0"/>
              </a:rPr>
              <a:t>Mobile App Squatting</a:t>
            </a:r>
            <a:endParaRPr lang="zh-CN" altLang="en-US" sz="8800" b="1" i="1" u="sng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1B6197-2C1C-4E4C-8D33-F8D6D3EF0D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B2046F-57D6-426F-B070-E53199B2F0AB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162596" y="1231190"/>
            <a:ext cx="5865218" cy="5112463"/>
          </a:xfrm>
          <a:prstGeom prst="rect">
            <a:avLst/>
          </a:prstGeom>
        </p:spPr>
      </p:pic>
      <p:sp>
        <p:nvSpPr>
          <p:cNvPr id="7" name="标题 1">
            <a:extLst>
              <a:ext uri="{FF2B5EF4-FFF2-40B4-BE49-F238E27FC236}">
                <a16:creationId xmlns:a16="http://schemas.microsoft.com/office/drawing/2014/main" id="{2643C900-3A1E-4F6E-8353-9C7316841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5" y="0"/>
            <a:ext cx="10850563" cy="1028700"/>
          </a:xfrm>
        </p:spPr>
        <p:txBody>
          <a:bodyPr/>
          <a:lstStyle/>
          <a:p>
            <a:r>
              <a:rPr lang="en-NZ" altLang="zh-CN" sz="2800" i="0" u="none" strike="noStrike" baseline="0" dirty="0"/>
              <a:t>Squatting Generation Model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63934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7D1FD6-4DCD-4089-B756-70737541E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2E01C66-DFF4-46BC-A4D6-22EB8AFF7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4912" y="1402535"/>
            <a:ext cx="7900586" cy="4586728"/>
          </a:xfrm>
          <a:prstGeom prst="rect">
            <a:avLst/>
          </a:prstGeom>
        </p:spPr>
      </p:pic>
      <p:sp>
        <p:nvSpPr>
          <p:cNvPr id="7" name="标题 1">
            <a:extLst>
              <a:ext uri="{FF2B5EF4-FFF2-40B4-BE49-F238E27FC236}">
                <a16:creationId xmlns:a16="http://schemas.microsoft.com/office/drawing/2014/main" id="{61E2914C-5367-450B-A2A2-BF564C0549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5" y="0"/>
            <a:ext cx="10850563" cy="1028700"/>
          </a:xfrm>
        </p:spPr>
        <p:txBody>
          <a:bodyPr/>
          <a:lstStyle/>
          <a:p>
            <a:r>
              <a:rPr lang="en-NZ" altLang="zh-CN" sz="2800" i="0" u="none" strike="noStrike" baseline="0" dirty="0"/>
              <a:t>Squatting Generation Model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540175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821D371-328E-47AC-B02B-86078C31AA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altLang="zh-CN" dirty="0"/>
              <a:t>Advantages of </a:t>
            </a:r>
            <a:r>
              <a:rPr lang="en-NZ" altLang="zh-CN" dirty="0" err="1"/>
              <a:t>AppCrazy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FDC11FC-B18D-42C6-8290-AC99012D2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27767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ACDEBB2-4C1C-45D6-8521-5E02173F0B21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2139412"/>
            <a:ext cx="10845800" cy="2998275"/>
            <a:chOff x="673100" y="2139412"/>
            <a:chExt cx="10845800" cy="2998275"/>
          </a:xfrm>
        </p:grpSpPr>
        <p:grpSp>
          <p:nvGrpSpPr>
            <p:cNvPr id="6" name="iṣ1íḍê">
              <a:extLst>
                <a:ext uri="{FF2B5EF4-FFF2-40B4-BE49-F238E27FC236}">
                  <a16:creationId xmlns:a16="http://schemas.microsoft.com/office/drawing/2014/main" id="{7E0CBA82-56FC-4F77-A3D1-7DB9F35B80A9}"/>
                </a:ext>
              </a:extLst>
            </p:cNvPr>
            <p:cNvGrpSpPr/>
            <p:nvPr/>
          </p:nvGrpSpPr>
          <p:grpSpPr>
            <a:xfrm>
              <a:off x="4233264" y="2139412"/>
              <a:ext cx="3725471" cy="2903257"/>
              <a:chOff x="4105270" y="2172550"/>
              <a:chExt cx="3725471" cy="2903257"/>
            </a:xfrm>
          </p:grpSpPr>
          <p:sp>
            <p:nvSpPr>
              <p:cNvPr id="18" name="îş1ïďé">
                <a:extLst>
                  <a:ext uri="{FF2B5EF4-FFF2-40B4-BE49-F238E27FC236}">
                    <a16:creationId xmlns:a16="http://schemas.microsoft.com/office/drawing/2014/main" id="{42A74274-893B-4F91-BE3F-3932F4746D3F}"/>
                  </a:ext>
                </a:extLst>
              </p:cNvPr>
              <p:cNvSpPr/>
              <p:nvPr/>
            </p:nvSpPr>
            <p:spPr>
              <a:xfrm flipH="1">
                <a:off x="4105270" y="2201293"/>
                <a:ext cx="2247773" cy="1735792"/>
              </a:xfrm>
              <a:custGeom>
                <a:avLst/>
                <a:gdLst>
                  <a:gd name="connsiteX0" fmla="*/ 1500961 w 2402522"/>
                  <a:gd name="connsiteY0" fmla="*/ 379 h 1855293"/>
                  <a:gd name="connsiteX1" fmla="*/ 2258040 w 2402522"/>
                  <a:gd name="connsiteY1" fmla="*/ 430391 h 1855293"/>
                  <a:gd name="connsiteX2" fmla="*/ 2324916 w 2402522"/>
                  <a:gd name="connsiteY2" fmla="*/ 1298497 h 1855293"/>
                  <a:gd name="connsiteX3" fmla="*/ 1972131 w 2402522"/>
                  <a:gd name="connsiteY3" fmla="*/ 1709958 h 1855293"/>
                  <a:gd name="connsiteX4" fmla="*/ 1804289 w 2402522"/>
                  <a:gd name="connsiteY4" fmla="*/ 1794183 h 1855293"/>
                  <a:gd name="connsiteX5" fmla="*/ 1703481 w 2402522"/>
                  <a:gd name="connsiteY5" fmla="*/ 1821496 h 1855293"/>
                  <a:gd name="connsiteX6" fmla="*/ 1705549 w 2402522"/>
                  <a:gd name="connsiteY6" fmla="*/ 1824741 h 1855293"/>
                  <a:gd name="connsiteX7" fmla="*/ 1686949 w 2402522"/>
                  <a:gd name="connsiteY7" fmla="*/ 1825975 h 1855293"/>
                  <a:gd name="connsiteX8" fmla="*/ 1628410 w 2402522"/>
                  <a:gd name="connsiteY8" fmla="*/ 1841834 h 1855293"/>
                  <a:gd name="connsiteX9" fmla="*/ 1539068 w 2402522"/>
                  <a:gd name="connsiteY9" fmla="*/ 1852302 h 1855293"/>
                  <a:gd name="connsiteX10" fmla="*/ 1472337 w 2402522"/>
                  <a:gd name="connsiteY10" fmla="*/ 1853614 h 1855293"/>
                  <a:gd name="connsiteX11" fmla="*/ 1472337 w 2402522"/>
                  <a:gd name="connsiteY11" fmla="*/ 1855293 h 1855293"/>
                  <a:gd name="connsiteX12" fmla="*/ 0 w 2402522"/>
                  <a:gd name="connsiteY12" fmla="*/ 1855293 h 1855293"/>
                  <a:gd name="connsiteX13" fmla="*/ 369083 w 2402522"/>
                  <a:gd name="connsiteY13" fmla="*/ 1074912 h 1855293"/>
                  <a:gd name="connsiteX14" fmla="*/ 444650 w 2402522"/>
                  <a:gd name="connsiteY14" fmla="*/ 931337 h 1855293"/>
                  <a:gd name="connsiteX15" fmla="*/ 644898 w 2402522"/>
                  <a:gd name="connsiteY15" fmla="*/ 514845 h 1855293"/>
                  <a:gd name="connsiteX16" fmla="*/ 645800 w 2402522"/>
                  <a:gd name="connsiteY16" fmla="*/ 515278 h 1855293"/>
                  <a:gd name="connsiteX17" fmla="*/ 665339 w 2402522"/>
                  <a:gd name="connsiteY17" fmla="*/ 475771 h 1855293"/>
                  <a:gd name="connsiteX18" fmla="*/ 712840 w 2402522"/>
                  <a:gd name="connsiteY18" fmla="*/ 399380 h 1855293"/>
                  <a:gd name="connsiteX19" fmla="*/ 750416 w 2402522"/>
                  <a:gd name="connsiteY19" fmla="*/ 350396 h 1855293"/>
                  <a:gd name="connsiteX20" fmla="*/ 757540 w 2402522"/>
                  <a:gd name="connsiteY20" fmla="*/ 336863 h 1855293"/>
                  <a:gd name="connsiteX21" fmla="*/ 759019 w 2402522"/>
                  <a:gd name="connsiteY21" fmla="*/ 339183 h 1855293"/>
                  <a:gd name="connsiteX22" fmla="*/ 768048 w 2402522"/>
                  <a:gd name="connsiteY22" fmla="*/ 327413 h 1855293"/>
                  <a:gd name="connsiteX23" fmla="*/ 978474 w 2402522"/>
                  <a:gd name="connsiteY23" fmla="*/ 144481 h 1855293"/>
                  <a:gd name="connsiteX24" fmla="*/ 1500961 w 2402522"/>
                  <a:gd name="connsiteY24" fmla="*/ 379 h 1855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402522" h="1855293">
                    <a:moveTo>
                      <a:pt x="1500961" y="379"/>
                    </a:moveTo>
                    <a:cubicBezTo>
                      <a:pt x="1798454" y="8885"/>
                      <a:pt x="2086546" y="160207"/>
                      <a:pt x="2258040" y="430391"/>
                    </a:cubicBezTo>
                    <a:cubicBezTo>
                      <a:pt x="2429535" y="700575"/>
                      <a:pt x="2443843" y="1025676"/>
                      <a:pt x="2324916" y="1298497"/>
                    </a:cubicBezTo>
                    <a:cubicBezTo>
                      <a:pt x="2253561" y="1462190"/>
                      <a:pt x="2134241" y="1607061"/>
                      <a:pt x="1972131" y="1709958"/>
                    </a:cubicBezTo>
                    <a:cubicBezTo>
                      <a:pt x="1918094" y="1744257"/>
                      <a:pt x="1861861" y="1772268"/>
                      <a:pt x="1804289" y="1794183"/>
                    </a:cubicBezTo>
                    <a:lnTo>
                      <a:pt x="1703481" y="1821496"/>
                    </a:lnTo>
                    <a:lnTo>
                      <a:pt x="1705549" y="1824741"/>
                    </a:lnTo>
                    <a:lnTo>
                      <a:pt x="1686949" y="1825975"/>
                    </a:lnTo>
                    <a:lnTo>
                      <a:pt x="1628410" y="1841834"/>
                    </a:lnTo>
                    <a:cubicBezTo>
                      <a:pt x="1598714" y="1846791"/>
                      <a:pt x="1568897" y="1850273"/>
                      <a:pt x="1539068" y="1852302"/>
                    </a:cubicBezTo>
                    <a:lnTo>
                      <a:pt x="1472337" y="1853614"/>
                    </a:lnTo>
                    <a:lnTo>
                      <a:pt x="1472337" y="1855293"/>
                    </a:lnTo>
                    <a:lnTo>
                      <a:pt x="0" y="1855293"/>
                    </a:lnTo>
                    <a:lnTo>
                      <a:pt x="369083" y="1074912"/>
                    </a:lnTo>
                    <a:lnTo>
                      <a:pt x="444650" y="931337"/>
                    </a:lnTo>
                    <a:lnTo>
                      <a:pt x="644898" y="514845"/>
                    </a:lnTo>
                    <a:lnTo>
                      <a:pt x="645800" y="515278"/>
                    </a:lnTo>
                    <a:lnTo>
                      <a:pt x="665339" y="475771"/>
                    </a:lnTo>
                    <a:cubicBezTo>
                      <a:pt x="679872" y="449642"/>
                      <a:pt x="695714" y="424142"/>
                      <a:pt x="712840" y="399380"/>
                    </a:cubicBezTo>
                    <a:lnTo>
                      <a:pt x="750416" y="350396"/>
                    </a:lnTo>
                    <a:lnTo>
                      <a:pt x="757540" y="336863"/>
                    </a:lnTo>
                    <a:lnTo>
                      <a:pt x="759019" y="339183"/>
                    </a:lnTo>
                    <a:lnTo>
                      <a:pt x="768048" y="327413"/>
                    </a:lnTo>
                    <a:cubicBezTo>
                      <a:pt x="827061" y="257872"/>
                      <a:pt x="897418" y="195929"/>
                      <a:pt x="978474" y="144481"/>
                    </a:cubicBezTo>
                    <a:cubicBezTo>
                      <a:pt x="1140584" y="41585"/>
                      <a:pt x="1322465" y="-4725"/>
                      <a:pt x="1500961" y="37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9" name="î$ľîḍè">
                <a:extLst>
                  <a:ext uri="{FF2B5EF4-FFF2-40B4-BE49-F238E27FC236}">
                    <a16:creationId xmlns:a16="http://schemas.microsoft.com/office/drawing/2014/main" id="{72A3D715-A426-4630-AC7B-865CF0245C7B}"/>
                  </a:ext>
                </a:extLst>
              </p:cNvPr>
              <p:cNvSpPr/>
              <p:nvPr/>
            </p:nvSpPr>
            <p:spPr>
              <a:xfrm flipH="1" flipV="1">
                <a:off x="4749189" y="3937085"/>
                <a:ext cx="1474595" cy="1138722"/>
              </a:xfrm>
              <a:custGeom>
                <a:avLst/>
                <a:gdLst>
                  <a:gd name="connsiteX0" fmla="*/ 1500961 w 2402522"/>
                  <a:gd name="connsiteY0" fmla="*/ 379 h 1855293"/>
                  <a:gd name="connsiteX1" fmla="*/ 2258040 w 2402522"/>
                  <a:gd name="connsiteY1" fmla="*/ 430391 h 1855293"/>
                  <a:gd name="connsiteX2" fmla="*/ 2324916 w 2402522"/>
                  <a:gd name="connsiteY2" fmla="*/ 1298497 h 1855293"/>
                  <a:gd name="connsiteX3" fmla="*/ 1972131 w 2402522"/>
                  <a:gd name="connsiteY3" fmla="*/ 1709958 h 1855293"/>
                  <a:gd name="connsiteX4" fmla="*/ 1804289 w 2402522"/>
                  <a:gd name="connsiteY4" fmla="*/ 1794183 h 1855293"/>
                  <a:gd name="connsiteX5" fmla="*/ 1703481 w 2402522"/>
                  <a:gd name="connsiteY5" fmla="*/ 1821496 h 1855293"/>
                  <a:gd name="connsiteX6" fmla="*/ 1705549 w 2402522"/>
                  <a:gd name="connsiteY6" fmla="*/ 1824741 h 1855293"/>
                  <a:gd name="connsiteX7" fmla="*/ 1686949 w 2402522"/>
                  <a:gd name="connsiteY7" fmla="*/ 1825975 h 1855293"/>
                  <a:gd name="connsiteX8" fmla="*/ 1628410 w 2402522"/>
                  <a:gd name="connsiteY8" fmla="*/ 1841834 h 1855293"/>
                  <a:gd name="connsiteX9" fmla="*/ 1539068 w 2402522"/>
                  <a:gd name="connsiteY9" fmla="*/ 1852302 h 1855293"/>
                  <a:gd name="connsiteX10" fmla="*/ 1472337 w 2402522"/>
                  <a:gd name="connsiteY10" fmla="*/ 1853614 h 1855293"/>
                  <a:gd name="connsiteX11" fmla="*/ 1472337 w 2402522"/>
                  <a:gd name="connsiteY11" fmla="*/ 1855293 h 1855293"/>
                  <a:gd name="connsiteX12" fmla="*/ 0 w 2402522"/>
                  <a:gd name="connsiteY12" fmla="*/ 1855293 h 1855293"/>
                  <a:gd name="connsiteX13" fmla="*/ 369083 w 2402522"/>
                  <a:gd name="connsiteY13" fmla="*/ 1074912 h 1855293"/>
                  <a:gd name="connsiteX14" fmla="*/ 444650 w 2402522"/>
                  <a:gd name="connsiteY14" fmla="*/ 931337 h 1855293"/>
                  <a:gd name="connsiteX15" fmla="*/ 644898 w 2402522"/>
                  <a:gd name="connsiteY15" fmla="*/ 514845 h 1855293"/>
                  <a:gd name="connsiteX16" fmla="*/ 645800 w 2402522"/>
                  <a:gd name="connsiteY16" fmla="*/ 515278 h 1855293"/>
                  <a:gd name="connsiteX17" fmla="*/ 665339 w 2402522"/>
                  <a:gd name="connsiteY17" fmla="*/ 475771 h 1855293"/>
                  <a:gd name="connsiteX18" fmla="*/ 712840 w 2402522"/>
                  <a:gd name="connsiteY18" fmla="*/ 399380 h 1855293"/>
                  <a:gd name="connsiteX19" fmla="*/ 750416 w 2402522"/>
                  <a:gd name="connsiteY19" fmla="*/ 350396 h 1855293"/>
                  <a:gd name="connsiteX20" fmla="*/ 757540 w 2402522"/>
                  <a:gd name="connsiteY20" fmla="*/ 336863 h 1855293"/>
                  <a:gd name="connsiteX21" fmla="*/ 759019 w 2402522"/>
                  <a:gd name="connsiteY21" fmla="*/ 339183 h 1855293"/>
                  <a:gd name="connsiteX22" fmla="*/ 768048 w 2402522"/>
                  <a:gd name="connsiteY22" fmla="*/ 327413 h 1855293"/>
                  <a:gd name="connsiteX23" fmla="*/ 978474 w 2402522"/>
                  <a:gd name="connsiteY23" fmla="*/ 144481 h 1855293"/>
                  <a:gd name="connsiteX24" fmla="*/ 1500961 w 2402522"/>
                  <a:gd name="connsiteY24" fmla="*/ 379 h 1855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402522" h="1855293">
                    <a:moveTo>
                      <a:pt x="1500961" y="379"/>
                    </a:moveTo>
                    <a:cubicBezTo>
                      <a:pt x="1798454" y="8885"/>
                      <a:pt x="2086546" y="160207"/>
                      <a:pt x="2258040" y="430391"/>
                    </a:cubicBezTo>
                    <a:cubicBezTo>
                      <a:pt x="2429535" y="700575"/>
                      <a:pt x="2443843" y="1025676"/>
                      <a:pt x="2324916" y="1298497"/>
                    </a:cubicBezTo>
                    <a:cubicBezTo>
                      <a:pt x="2253561" y="1462190"/>
                      <a:pt x="2134241" y="1607061"/>
                      <a:pt x="1972131" y="1709958"/>
                    </a:cubicBezTo>
                    <a:cubicBezTo>
                      <a:pt x="1918094" y="1744257"/>
                      <a:pt x="1861861" y="1772268"/>
                      <a:pt x="1804289" y="1794183"/>
                    </a:cubicBezTo>
                    <a:lnTo>
                      <a:pt x="1703481" y="1821496"/>
                    </a:lnTo>
                    <a:lnTo>
                      <a:pt x="1705549" y="1824741"/>
                    </a:lnTo>
                    <a:lnTo>
                      <a:pt x="1686949" y="1825975"/>
                    </a:lnTo>
                    <a:lnTo>
                      <a:pt x="1628410" y="1841834"/>
                    </a:lnTo>
                    <a:cubicBezTo>
                      <a:pt x="1598714" y="1846791"/>
                      <a:pt x="1568897" y="1850273"/>
                      <a:pt x="1539068" y="1852302"/>
                    </a:cubicBezTo>
                    <a:lnTo>
                      <a:pt x="1472337" y="1853614"/>
                    </a:lnTo>
                    <a:lnTo>
                      <a:pt x="1472337" y="1855293"/>
                    </a:lnTo>
                    <a:lnTo>
                      <a:pt x="0" y="1855293"/>
                    </a:lnTo>
                    <a:lnTo>
                      <a:pt x="369083" y="1074912"/>
                    </a:lnTo>
                    <a:lnTo>
                      <a:pt x="444650" y="931337"/>
                    </a:lnTo>
                    <a:lnTo>
                      <a:pt x="644898" y="514845"/>
                    </a:lnTo>
                    <a:lnTo>
                      <a:pt x="645800" y="515278"/>
                    </a:lnTo>
                    <a:lnTo>
                      <a:pt x="665339" y="475771"/>
                    </a:lnTo>
                    <a:cubicBezTo>
                      <a:pt x="679872" y="449642"/>
                      <a:pt x="695714" y="424142"/>
                      <a:pt x="712840" y="399380"/>
                    </a:cubicBezTo>
                    <a:lnTo>
                      <a:pt x="750416" y="350396"/>
                    </a:lnTo>
                    <a:lnTo>
                      <a:pt x="757540" y="336863"/>
                    </a:lnTo>
                    <a:lnTo>
                      <a:pt x="759019" y="339183"/>
                    </a:lnTo>
                    <a:lnTo>
                      <a:pt x="768048" y="327413"/>
                    </a:lnTo>
                    <a:cubicBezTo>
                      <a:pt x="827061" y="257872"/>
                      <a:pt x="897418" y="195929"/>
                      <a:pt x="978474" y="144481"/>
                    </a:cubicBezTo>
                    <a:cubicBezTo>
                      <a:pt x="1140584" y="41585"/>
                      <a:pt x="1322465" y="-4725"/>
                      <a:pt x="1500961" y="379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0" name="ïŝḷídé">
                <a:extLst>
                  <a:ext uri="{FF2B5EF4-FFF2-40B4-BE49-F238E27FC236}">
                    <a16:creationId xmlns:a16="http://schemas.microsoft.com/office/drawing/2014/main" id="{89FD79DB-5F1A-4C76-8413-542C42D4E06F}"/>
                  </a:ext>
                </a:extLst>
              </p:cNvPr>
              <p:cNvSpPr/>
              <p:nvPr/>
            </p:nvSpPr>
            <p:spPr>
              <a:xfrm rot="3940857">
                <a:off x="5838958" y="2428541"/>
                <a:ext cx="2247773" cy="1735792"/>
              </a:xfrm>
              <a:custGeom>
                <a:avLst/>
                <a:gdLst>
                  <a:gd name="connsiteX0" fmla="*/ 1500961 w 2402522"/>
                  <a:gd name="connsiteY0" fmla="*/ 379 h 1855293"/>
                  <a:gd name="connsiteX1" fmla="*/ 2258040 w 2402522"/>
                  <a:gd name="connsiteY1" fmla="*/ 430391 h 1855293"/>
                  <a:gd name="connsiteX2" fmla="*/ 2324916 w 2402522"/>
                  <a:gd name="connsiteY2" fmla="*/ 1298497 h 1855293"/>
                  <a:gd name="connsiteX3" fmla="*/ 1972131 w 2402522"/>
                  <a:gd name="connsiteY3" fmla="*/ 1709958 h 1855293"/>
                  <a:gd name="connsiteX4" fmla="*/ 1804289 w 2402522"/>
                  <a:gd name="connsiteY4" fmla="*/ 1794183 h 1855293"/>
                  <a:gd name="connsiteX5" fmla="*/ 1703481 w 2402522"/>
                  <a:gd name="connsiteY5" fmla="*/ 1821496 h 1855293"/>
                  <a:gd name="connsiteX6" fmla="*/ 1705549 w 2402522"/>
                  <a:gd name="connsiteY6" fmla="*/ 1824741 h 1855293"/>
                  <a:gd name="connsiteX7" fmla="*/ 1686949 w 2402522"/>
                  <a:gd name="connsiteY7" fmla="*/ 1825975 h 1855293"/>
                  <a:gd name="connsiteX8" fmla="*/ 1628410 w 2402522"/>
                  <a:gd name="connsiteY8" fmla="*/ 1841834 h 1855293"/>
                  <a:gd name="connsiteX9" fmla="*/ 1539068 w 2402522"/>
                  <a:gd name="connsiteY9" fmla="*/ 1852302 h 1855293"/>
                  <a:gd name="connsiteX10" fmla="*/ 1472337 w 2402522"/>
                  <a:gd name="connsiteY10" fmla="*/ 1853614 h 1855293"/>
                  <a:gd name="connsiteX11" fmla="*/ 1472337 w 2402522"/>
                  <a:gd name="connsiteY11" fmla="*/ 1855293 h 1855293"/>
                  <a:gd name="connsiteX12" fmla="*/ 0 w 2402522"/>
                  <a:gd name="connsiteY12" fmla="*/ 1855293 h 1855293"/>
                  <a:gd name="connsiteX13" fmla="*/ 369083 w 2402522"/>
                  <a:gd name="connsiteY13" fmla="*/ 1074912 h 1855293"/>
                  <a:gd name="connsiteX14" fmla="*/ 444650 w 2402522"/>
                  <a:gd name="connsiteY14" fmla="*/ 931337 h 1855293"/>
                  <a:gd name="connsiteX15" fmla="*/ 644898 w 2402522"/>
                  <a:gd name="connsiteY15" fmla="*/ 514845 h 1855293"/>
                  <a:gd name="connsiteX16" fmla="*/ 645800 w 2402522"/>
                  <a:gd name="connsiteY16" fmla="*/ 515278 h 1855293"/>
                  <a:gd name="connsiteX17" fmla="*/ 665339 w 2402522"/>
                  <a:gd name="connsiteY17" fmla="*/ 475771 h 1855293"/>
                  <a:gd name="connsiteX18" fmla="*/ 712840 w 2402522"/>
                  <a:gd name="connsiteY18" fmla="*/ 399380 h 1855293"/>
                  <a:gd name="connsiteX19" fmla="*/ 750416 w 2402522"/>
                  <a:gd name="connsiteY19" fmla="*/ 350396 h 1855293"/>
                  <a:gd name="connsiteX20" fmla="*/ 757540 w 2402522"/>
                  <a:gd name="connsiteY20" fmla="*/ 336863 h 1855293"/>
                  <a:gd name="connsiteX21" fmla="*/ 759019 w 2402522"/>
                  <a:gd name="connsiteY21" fmla="*/ 339183 h 1855293"/>
                  <a:gd name="connsiteX22" fmla="*/ 768048 w 2402522"/>
                  <a:gd name="connsiteY22" fmla="*/ 327413 h 1855293"/>
                  <a:gd name="connsiteX23" fmla="*/ 978474 w 2402522"/>
                  <a:gd name="connsiteY23" fmla="*/ 144481 h 1855293"/>
                  <a:gd name="connsiteX24" fmla="*/ 1500961 w 2402522"/>
                  <a:gd name="connsiteY24" fmla="*/ 379 h 1855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402522" h="1855293">
                    <a:moveTo>
                      <a:pt x="1500961" y="379"/>
                    </a:moveTo>
                    <a:cubicBezTo>
                      <a:pt x="1798454" y="8885"/>
                      <a:pt x="2086546" y="160207"/>
                      <a:pt x="2258040" y="430391"/>
                    </a:cubicBezTo>
                    <a:cubicBezTo>
                      <a:pt x="2429535" y="700575"/>
                      <a:pt x="2443843" y="1025676"/>
                      <a:pt x="2324916" y="1298497"/>
                    </a:cubicBezTo>
                    <a:cubicBezTo>
                      <a:pt x="2253561" y="1462190"/>
                      <a:pt x="2134241" y="1607061"/>
                      <a:pt x="1972131" y="1709958"/>
                    </a:cubicBezTo>
                    <a:cubicBezTo>
                      <a:pt x="1918094" y="1744257"/>
                      <a:pt x="1861861" y="1772268"/>
                      <a:pt x="1804289" y="1794183"/>
                    </a:cubicBezTo>
                    <a:lnTo>
                      <a:pt x="1703481" y="1821496"/>
                    </a:lnTo>
                    <a:lnTo>
                      <a:pt x="1705549" y="1824741"/>
                    </a:lnTo>
                    <a:lnTo>
                      <a:pt x="1686949" y="1825975"/>
                    </a:lnTo>
                    <a:lnTo>
                      <a:pt x="1628410" y="1841834"/>
                    </a:lnTo>
                    <a:cubicBezTo>
                      <a:pt x="1598714" y="1846791"/>
                      <a:pt x="1568897" y="1850273"/>
                      <a:pt x="1539068" y="1852302"/>
                    </a:cubicBezTo>
                    <a:lnTo>
                      <a:pt x="1472337" y="1853614"/>
                    </a:lnTo>
                    <a:lnTo>
                      <a:pt x="1472337" y="1855293"/>
                    </a:lnTo>
                    <a:lnTo>
                      <a:pt x="0" y="1855293"/>
                    </a:lnTo>
                    <a:lnTo>
                      <a:pt x="369083" y="1074912"/>
                    </a:lnTo>
                    <a:lnTo>
                      <a:pt x="444650" y="931337"/>
                    </a:lnTo>
                    <a:lnTo>
                      <a:pt x="644898" y="514845"/>
                    </a:lnTo>
                    <a:lnTo>
                      <a:pt x="645800" y="515278"/>
                    </a:lnTo>
                    <a:lnTo>
                      <a:pt x="665339" y="475771"/>
                    </a:lnTo>
                    <a:cubicBezTo>
                      <a:pt x="679872" y="449642"/>
                      <a:pt x="695714" y="424142"/>
                      <a:pt x="712840" y="399380"/>
                    </a:cubicBezTo>
                    <a:lnTo>
                      <a:pt x="750416" y="350396"/>
                    </a:lnTo>
                    <a:lnTo>
                      <a:pt x="757540" y="336863"/>
                    </a:lnTo>
                    <a:lnTo>
                      <a:pt x="759019" y="339183"/>
                    </a:lnTo>
                    <a:lnTo>
                      <a:pt x="768048" y="327413"/>
                    </a:lnTo>
                    <a:cubicBezTo>
                      <a:pt x="827061" y="257872"/>
                      <a:pt x="897418" y="195929"/>
                      <a:pt x="978474" y="144481"/>
                    </a:cubicBezTo>
                    <a:cubicBezTo>
                      <a:pt x="1140584" y="41585"/>
                      <a:pt x="1322465" y="-4725"/>
                      <a:pt x="1500961" y="37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1" name="îśḻïḓê">
                <a:extLst>
                  <a:ext uri="{FF2B5EF4-FFF2-40B4-BE49-F238E27FC236}">
                    <a16:creationId xmlns:a16="http://schemas.microsoft.com/office/drawing/2014/main" id="{427E52D7-BFDE-4B42-95A4-440A10E158F8}"/>
                  </a:ext>
                </a:extLst>
              </p:cNvPr>
              <p:cNvSpPr/>
              <p:nvPr/>
            </p:nvSpPr>
            <p:spPr>
              <a:xfrm>
                <a:off x="4772212" y="2802682"/>
                <a:ext cx="494397" cy="611250"/>
              </a:xfrm>
              <a:custGeom>
                <a:avLst/>
                <a:gdLst>
                  <a:gd name="connsiteX0" fmla="*/ 56946 w 489936"/>
                  <a:gd name="connsiteY0" fmla="*/ 454159 h 605734"/>
                  <a:gd name="connsiteX1" fmla="*/ 432989 w 489936"/>
                  <a:gd name="connsiteY1" fmla="*/ 454159 h 605734"/>
                  <a:gd name="connsiteX2" fmla="*/ 432989 w 489936"/>
                  <a:gd name="connsiteY2" fmla="*/ 552245 h 605734"/>
                  <a:gd name="connsiteX3" fmla="*/ 56946 w 489936"/>
                  <a:gd name="connsiteY3" fmla="*/ 552245 h 605734"/>
                  <a:gd name="connsiteX4" fmla="*/ 218027 w 489936"/>
                  <a:gd name="connsiteY4" fmla="*/ 167240 h 605734"/>
                  <a:gd name="connsiteX5" fmla="*/ 270224 w 489936"/>
                  <a:gd name="connsiteY5" fmla="*/ 343219 h 605734"/>
                  <a:gd name="connsiteX6" fmla="*/ 322421 w 489936"/>
                  <a:gd name="connsiteY6" fmla="*/ 269521 h 605734"/>
                  <a:gd name="connsiteX7" fmla="*/ 361990 w 489936"/>
                  <a:gd name="connsiteY7" fmla="*/ 314636 h 605734"/>
                  <a:gd name="connsiteX8" fmla="*/ 432989 w 489936"/>
                  <a:gd name="connsiteY8" fmla="*/ 314636 h 605734"/>
                  <a:gd name="connsiteX9" fmla="*/ 432989 w 489936"/>
                  <a:gd name="connsiteY9" fmla="*/ 333411 h 605734"/>
                  <a:gd name="connsiteX10" fmla="*/ 353290 w 489936"/>
                  <a:gd name="connsiteY10" fmla="*/ 333411 h 605734"/>
                  <a:gd name="connsiteX11" fmla="*/ 324105 w 489936"/>
                  <a:gd name="connsiteY11" fmla="*/ 299785 h 605734"/>
                  <a:gd name="connsiteX12" fmla="*/ 263208 w 489936"/>
                  <a:gd name="connsiteY12" fmla="*/ 385812 h 605734"/>
                  <a:gd name="connsiteX13" fmla="*/ 224762 w 489936"/>
                  <a:gd name="connsiteY13" fmla="*/ 255229 h 605734"/>
                  <a:gd name="connsiteX14" fmla="*/ 198664 w 489936"/>
                  <a:gd name="connsiteY14" fmla="*/ 438494 h 605734"/>
                  <a:gd name="connsiteX15" fmla="*/ 150395 w 489936"/>
                  <a:gd name="connsiteY15" fmla="*/ 300905 h 605734"/>
                  <a:gd name="connsiteX16" fmla="*/ 131313 w 489936"/>
                  <a:gd name="connsiteY16" fmla="*/ 333411 h 605734"/>
                  <a:gd name="connsiteX17" fmla="*/ 56946 w 489936"/>
                  <a:gd name="connsiteY17" fmla="*/ 333411 h 605734"/>
                  <a:gd name="connsiteX18" fmla="*/ 56946 w 489936"/>
                  <a:gd name="connsiteY18" fmla="*/ 314636 h 605734"/>
                  <a:gd name="connsiteX19" fmla="*/ 120368 w 489936"/>
                  <a:gd name="connsiteY19" fmla="*/ 314636 h 605734"/>
                  <a:gd name="connsiteX20" fmla="*/ 154605 w 489936"/>
                  <a:gd name="connsiteY20" fmla="*/ 256350 h 605734"/>
                  <a:gd name="connsiteX21" fmla="*/ 190806 w 489936"/>
                  <a:gd name="connsiteY21" fmla="*/ 359472 h 605734"/>
                  <a:gd name="connsiteX22" fmla="*/ 23290 w 489936"/>
                  <a:gd name="connsiteY22" fmla="*/ 71444 h 605734"/>
                  <a:gd name="connsiteX23" fmla="*/ 23290 w 489936"/>
                  <a:gd name="connsiteY23" fmla="*/ 570712 h 605734"/>
                  <a:gd name="connsiteX24" fmla="*/ 35076 w 489936"/>
                  <a:gd name="connsiteY24" fmla="*/ 582199 h 605734"/>
                  <a:gd name="connsiteX25" fmla="*/ 454860 w 489936"/>
                  <a:gd name="connsiteY25" fmla="*/ 582199 h 605734"/>
                  <a:gd name="connsiteX26" fmla="*/ 466646 w 489936"/>
                  <a:gd name="connsiteY26" fmla="*/ 570712 h 605734"/>
                  <a:gd name="connsiteX27" fmla="*/ 466646 w 489936"/>
                  <a:gd name="connsiteY27" fmla="*/ 71444 h 605734"/>
                  <a:gd name="connsiteX28" fmla="*/ 440550 w 489936"/>
                  <a:gd name="connsiteY28" fmla="*/ 24935 h 605734"/>
                  <a:gd name="connsiteX29" fmla="*/ 423713 w 489936"/>
                  <a:gd name="connsiteY29" fmla="*/ 41466 h 605734"/>
                  <a:gd name="connsiteX30" fmla="*/ 440550 w 489936"/>
                  <a:gd name="connsiteY30" fmla="*/ 58276 h 605734"/>
                  <a:gd name="connsiteX31" fmla="*/ 457105 w 489936"/>
                  <a:gd name="connsiteY31" fmla="*/ 41466 h 605734"/>
                  <a:gd name="connsiteX32" fmla="*/ 440550 w 489936"/>
                  <a:gd name="connsiteY32" fmla="*/ 24935 h 605734"/>
                  <a:gd name="connsiteX33" fmla="*/ 384148 w 489936"/>
                  <a:gd name="connsiteY33" fmla="*/ 24935 h 605734"/>
                  <a:gd name="connsiteX34" fmla="*/ 367312 w 489936"/>
                  <a:gd name="connsiteY34" fmla="*/ 41466 h 605734"/>
                  <a:gd name="connsiteX35" fmla="*/ 384148 w 489936"/>
                  <a:gd name="connsiteY35" fmla="*/ 58276 h 605734"/>
                  <a:gd name="connsiteX36" fmla="*/ 400984 w 489936"/>
                  <a:gd name="connsiteY36" fmla="*/ 41466 h 605734"/>
                  <a:gd name="connsiteX37" fmla="*/ 384148 w 489936"/>
                  <a:gd name="connsiteY37" fmla="*/ 24935 h 605734"/>
                  <a:gd name="connsiteX38" fmla="*/ 327746 w 489936"/>
                  <a:gd name="connsiteY38" fmla="*/ 24935 h 605734"/>
                  <a:gd name="connsiteX39" fmla="*/ 311191 w 489936"/>
                  <a:gd name="connsiteY39" fmla="*/ 41466 h 605734"/>
                  <a:gd name="connsiteX40" fmla="*/ 327746 w 489936"/>
                  <a:gd name="connsiteY40" fmla="*/ 58276 h 605734"/>
                  <a:gd name="connsiteX41" fmla="*/ 344583 w 489936"/>
                  <a:gd name="connsiteY41" fmla="*/ 41466 h 605734"/>
                  <a:gd name="connsiteX42" fmla="*/ 327746 w 489936"/>
                  <a:gd name="connsiteY42" fmla="*/ 24935 h 605734"/>
                  <a:gd name="connsiteX43" fmla="*/ 35076 w 489936"/>
                  <a:gd name="connsiteY43" fmla="*/ 0 h 605734"/>
                  <a:gd name="connsiteX44" fmla="*/ 454860 w 489936"/>
                  <a:gd name="connsiteY44" fmla="*/ 0 h 605734"/>
                  <a:gd name="connsiteX45" fmla="*/ 489936 w 489936"/>
                  <a:gd name="connsiteY45" fmla="*/ 35022 h 605734"/>
                  <a:gd name="connsiteX46" fmla="*/ 489936 w 489936"/>
                  <a:gd name="connsiteY46" fmla="*/ 570712 h 605734"/>
                  <a:gd name="connsiteX47" fmla="*/ 454860 w 489936"/>
                  <a:gd name="connsiteY47" fmla="*/ 605734 h 605734"/>
                  <a:gd name="connsiteX48" fmla="*/ 35076 w 489936"/>
                  <a:gd name="connsiteY48" fmla="*/ 605734 h 605734"/>
                  <a:gd name="connsiteX49" fmla="*/ 0 w 489936"/>
                  <a:gd name="connsiteY49" fmla="*/ 570712 h 605734"/>
                  <a:gd name="connsiteX50" fmla="*/ 0 w 489936"/>
                  <a:gd name="connsiteY50" fmla="*/ 35022 h 605734"/>
                  <a:gd name="connsiteX51" fmla="*/ 35076 w 489936"/>
                  <a:gd name="connsiteY51" fmla="*/ 0 h 60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9936" h="605734">
                    <a:moveTo>
                      <a:pt x="56946" y="454159"/>
                    </a:moveTo>
                    <a:lnTo>
                      <a:pt x="432989" y="454159"/>
                    </a:lnTo>
                    <a:lnTo>
                      <a:pt x="432989" y="552245"/>
                    </a:lnTo>
                    <a:lnTo>
                      <a:pt x="56946" y="552245"/>
                    </a:lnTo>
                    <a:close/>
                    <a:moveTo>
                      <a:pt x="218027" y="167240"/>
                    </a:moveTo>
                    <a:lnTo>
                      <a:pt x="270224" y="343219"/>
                    </a:lnTo>
                    <a:lnTo>
                      <a:pt x="322421" y="269521"/>
                    </a:lnTo>
                    <a:lnTo>
                      <a:pt x="361990" y="314636"/>
                    </a:lnTo>
                    <a:lnTo>
                      <a:pt x="432989" y="314636"/>
                    </a:lnTo>
                    <a:lnTo>
                      <a:pt x="432989" y="333411"/>
                    </a:lnTo>
                    <a:lnTo>
                      <a:pt x="353290" y="333411"/>
                    </a:lnTo>
                    <a:lnTo>
                      <a:pt x="324105" y="299785"/>
                    </a:lnTo>
                    <a:lnTo>
                      <a:pt x="263208" y="385812"/>
                    </a:lnTo>
                    <a:lnTo>
                      <a:pt x="224762" y="255229"/>
                    </a:lnTo>
                    <a:lnTo>
                      <a:pt x="198664" y="438494"/>
                    </a:lnTo>
                    <a:lnTo>
                      <a:pt x="150395" y="300905"/>
                    </a:lnTo>
                    <a:lnTo>
                      <a:pt x="131313" y="333411"/>
                    </a:lnTo>
                    <a:lnTo>
                      <a:pt x="56946" y="333411"/>
                    </a:lnTo>
                    <a:lnTo>
                      <a:pt x="56946" y="314636"/>
                    </a:lnTo>
                    <a:lnTo>
                      <a:pt x="120368" y="314636"/>
                    </a:lnTo>
                    <a:lnTo>
                      <a:pt x="154605" y="256350"/>
                    </a:lnTo>
                    <a:lnTo>
                      <a:pt x="190806" y="359472"/>
                    </a:lnTo>
                    <a:close/>
                    <a:moveTo>
                      <a:pt x="23290" y="71444"/>
                    </a:moveTo>
                    <a:lnTo>
                      <a:pt x="23290" y="570712"/>
                    </a:lnTo>
                    <a:cubicBezTo>
                      <a:pt x="23290" y="577156"/>
                      <a:pt x="28622" y="582199"/>
                      <a:pt x="35076" y="582199"/>
                    </a:cubicBezTo>
                    <a:lnTo>
                      <a:pt x="454860" y="582199"/>
                    </a:lnTo>
                    <a:cubicBezTo>
                      <a:pt x="461314" y="582199"/>
                      <a:pt x="466646" y="577156"/>
                      <a:pt x="466646" y="570712"/>
                    </a:cubicBezTo>
                    <a:lnTo>
                      <a:pt x="466646" y="71444"/>
                    </a:lnTo>
                    <a:close/>
                    <a:moveTo>
                      <a:pt x="440550" y="24935"/>
                    </a:moveTo>
                    <a:cubicBezTo>
                      <a:pt x="431290" y="24935"/>
                      <a:pt x="423713" y="32220"/>
                      <a:pt x="423713" y="41466"/>
                    </a:cubicBezTo>
                    <a:cubicBezTo>
                      <a:pt x="423713" y="50711"/>
                      <a:pt x="431290" y="58276"/>
                      <a:pt x="440550" y="58276"/>
                    </a:cubicBezTo>
                    <a:cubicBezTo>
                      <a:pt x="449810" y="58276"/>
                      <a:pt x="457105" y="50711"/>
                      <a:pt x="457105" y="41466"/>
                    </a:cubicBezTo>
                    <a:cubicBezTo>
                      <a:pt x="457105" y="32220"/>
                      <a:pt x="449810" y="24935"/>
                      <a:pt x="440550" y="24935"/>
                    </a:cubicBezTo>
                    <a:close/>
                    <a:moveTo>
                      <a:pt x="384148" y="24935"/>
                    </a:moveTo>
                    <a:cubicBezTo>
                      <a:pt x="374888" y="24935"/>
                      <a:pt x="367312" y="32220"/>
                      <a:pt x="367312" y="41466"/>
                    </a:cubicBezTo>
                    <a:cubicBezTo>
                      <a:pt x="367312" y="50711"/>
                      <a:pt x="374888" y="58276"/>
                      <a:pt x="384148" y="58276"/>
                    </a:cubicBezTo>
                    <a:cubicBezTo>
                      <a:pt x="393408" y="58276"/>
                      <a:pt x="400984" y="50711"/>
                      <a:pt x="400984" y="41466"/>
                    </a:cubicBezTo>
                    <a:cubicBezTo>
                      <a:pt x="400984" y="32220"/>
                      <a:pt x="393408" y="24935"/>
                      <a:pt x="384148" y="24935"/>
                    </a:cubicBezTo>
                    <a:close/>
                    <a:moveTo>
                      <a:pt x="327746" y="24935"/>
                    </a:moveTo>
                    <a:cubicBezTo>
                      <a:pt x="318486" y="24935"/>
                      <a:pt x="311191" y="32220"/>
                      <a:pt x="311191" y="41466"/>
                    </a:cubicBezTo>
                    <a:cubicBezTo>
                      <a:pt x="311191" y="50711"/>
                      <a:pt x="318486" y="58276"/>
                      <a:pt x="327746" y="58276"/>
                    </a:cubicBezTo>
                    <a:cubicBezTo>
                      <a:pt x="337006" y="58276"/>
                      <a:pt x="344583" y="50711"/>
                      <a:pt x="344583" y="41466"/>
                    </a:cubicBezTo>
                    <a:cubicBezTo>
                      <a:pt x="344583" y="32220"/>
                      <a:pt x="337006" y="24935"/>
                      <a:pt x="327746" y="24935"/>
                    </a:cubicBezTo>
                    <a:close/>
                    <a:moveTo>
                      <a:pt x="35076" y="0"/>
                    </a:moveTo>
                    <a:lnTo>
                      <a:pt x="454860" y="0"/>
                    </a:lnTo>
                    <a:cubicBezTo>
                      <a:pt x="474222" y="0"/>
                      <a:pt x="489936" y="15690"/>
                      <a:pt x="489936" y="35022"/>
                    </a:cubicBezTo>
                    <a:lnTo>
                      <a:pt x="489936" y="570712"/>
                    </a:lnTo>
                    <a:cubicBezTo>
                      <a:pt x="489936" y="590044"/>
                      <a:pt x="474222" y="605734"/>
                      <a:pt x="454860" y="605734"/>
                    </a:cubicBezTo>
                    <a:lnTo>
                      <a:pt x="35076" y="605734"/>
                    </a:lnTo>
                    <a:cubicBezTo>
                      <a:pt x="15714" y="605734"/>
                      <a:pt x="0" y="590044"/>
                      <a:pt x="0" y="570712"/>
                    </a:cubicBezTo>
                    <a:lnTo>
                      <a:pt x="0" y="35022"/>
                    </a:lnTo>
                    <a:cubicBezTo>
                      <a:pt x="0" y="15690"/>
                      <a:pt x="15714" y="0"/>
                      <a:pt x="350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22" name="işļiďe">
                <a:extLst>
                  <a:ext uri="{FF2B5EF4-FFF2-40B4-BE49-F238E27FC236}">
                    <a16:creationId xmlns:a16="http://schemas.microsoft.com/office/drawing/2014/main" id="{EFF27B3E-6246-4C42-9F36-20A8DE0972E0}"/>
                  </a:ext>
                </a:extLst>
              </p:cNvPr>
              <p:cNvSpPr/>
              <p:nvPr/>
            </p:nvSpPr>
            <p:spPr>
              <a:xfrm>
                <a:off x="5195888" y="4320139"/>
                <a:ext cx="283860" cy="350952"/>
              </a:xfrm>
              <a:custGeom>
                <a:avLst/>
                <a:gdLst>
                  <a:gd name="connsiteX0" fmla="*/ 56946 w 489936"/>
                  <a:gd name="connsiteY0" fmla="*/ 454159 h 605734"/>
                  <a:gd name="connsiteX1" fmla="*/ 432989 w 489936"/>
                  <a:gd name="connsiteY1" fmla="*/ 454159 h 605734"/>
                  <a:gd name="connsiteX2" fmla="*/ 432989 w 489936"/>
                  <a:gd name="connsiteY2" fmla="*/ 552245 h 605734"/>
                  <a:gd name="connsiteX3" fmla="*/ 56946 w 489936"/>
                  <a:gd name="connsiteY3" fmla="*/ 552245 h 605734"/>
                  <a:gd name="connsiteX4" fmla="*/ 218027 w 489936"/>
                  <a:gd name="connsiteY4" fmla="*/ 167240 h 605734"/>
                  <a:gd name="connsiteX5" fmla="*/ 270224 w 489936"/>
                  <a:gd name="connsiteY5" fmla="*/ 343219 h 605734"/>
                  <a:gd name="connsiteX6" fmla="*/ 322421 w 489936"/>
                  <a:gd name="connsiteY6" fmla="*/ 269521 h 605734"/>
                  <a:gd name="connsiteX7" fmla="*/ 361990 w 489936"/>
                  <a:gd name="connsiteY7" fmla="*/ 314636 h 605734"/>
                  <a:gd name="connsiteX8" fmla="*/ 432989 w 489936"/>
                  <a:gd name="connsiteY8" fmla="*/ 314636 h 605734"/>
                  <a:gd name="connsiteX9" fmla="*/ 432989 w 489936"/>
                  <a:gd name="connsiteY9" fmla="*/ 333411 h 605734"/>
                  <a:gd name="connsiteX10" fmla="*/ 353290 w 489936"/>
                  <a:gd name="connsiteY10" fmla="*/ 333411 h 605734"/>
                  <a:gd name="connsiteX11" fmla="*/ 324105 w 489936"/>
                  <a:gd name="connsiteY11" fmla="*/ 299785 h 605734"/>
                  <a:gd name="connsiteX12" fmla="*/ 263208 w 489936"/>
                  <a:gd name="connsiteY12" fmla="*/ 385812 h 605734"/>
                  <a:gd name="connsiteX13" fmla="*/ 224762 w 489936"/>
                  <a:gd name="connsiteY13" fmla="*/ 255229 h 605734"/>
                  <a:gd name="connsiteX14" fmla="*/ 198664 w 489936"/>
                  <a:gd name="connsiteY14" fmla="*/ 438494 h 605734"/>
                  <a:gd name="connsiteX15" fmla="*/ 150395 w 489936"/>
                  <a:gd name="connsiteY15" fmla="*/ 300905 h 605734"/>
                  <a:gd name="connsiteX16" fmla="*/ 131313 w 489936"/>
                  <a:gd name="connsiteY16" fmla="*/ 333411 h 605734"/>
                  <a:gd name="connsiteX17" fmla="*/ 56946 w 489936"/>
                  <a:gd name="connsiteY17" fmla="*/ 333411 h 605734"/>
                  <a:gd name="connsiteX18" fmla="*/ 56946 w 489936"/>
                  <a:gd name="connsiteY18" fmla="*/ 314636 h 605734"/>
                  <a:gd name="connsiteX19" fmla="*/ 120368 w 489936"/>
                  <a:gd name="connsiteY19" fmla="*/ 314636 h 605734"/>
                  <a:gd name="connsiteX20" fmla="*/ 154605 w 489936"/>
                  <a:gd name="connsiteY20" fmla="*/ 256350 h 605734"/>
                  <a:gd name="connsiteX21" fmla="*/ 190806 w 489936"/>
                  <a:gd name="connsiteY21" fmla="*/ 359472 h 605734"/>
                  <a:gd name="connsiteX22" fmla="*/ 23290 w 489936"/>
                  <a:gd name="connsiteY22" fmla="*/ 71444 h 605734"/>
                  <a:gd name="connsiteX23" fmla="*/ 23290 w 489936"/>
                  <a:gd name="connsiteY23" fmla="*/ 570712 h 605734"/>
                  <a:gd name="connsiteX24" fmla="*/ 35076 w 489936"/>
                  <a:gd name="connsiteY24" fmla="*/ 582199 h 605734"/>
                  <a:gd name="connsiteX25" fmla="*/ 454860 w 489936"/>
                  <a:gd name="connsiteY25" fmla="*/ 582199 h 605734"/>
                  <a:gd name="connsiteX26" fmla="*/ 466646 w 489936"/>
                  <a:gd name="connsiteY26" fmla="*/ 570712 h 605734"/>
                  <a:gd name="connsiteX27" fmla="*/ 466646 w 489936"/>
                  <a:gd name="connsiteY27" fmla="*/ 71444 h 605734"/>
                  <a:gd name="connsiteX28" fmla="*/ 440550 w 489936"/>
                  <a:gd name="connsiteY28" fmla="*/ 24935 h 605734"/>
                  <a:gd name="connsiteX29" fmla="*/ 423713 w 489936"/>
                  <a:gd name="connsiteY29" fmla="*/ 41466 h 605734"/>
                  <a:gd name="connsiteX30" fmla="*/ 440550 w 489936"/>
                  <a:gd name="connsiteY30" fmla="*/ 58276 h 605734"/>
                  <a:gd name="connsiteX31" fmla="*/ 457105 w 489936"/>
                  <a:gd name="connsiteY31" fmla="*/ 41466 h 605734"/>
                  <a:gd name="connsiteX32" fmla="*/ 440550 w 489936"/>
                  <a:gd name="connsiteY32" fmla="*/ 24935 h 605734"/>
                  <a:gd name="connsiteX33" fmla="*/ 384148 w 489936"/>
                  <a:gd name="connsiteY33" fmla="*/ 24935 h 605734"/>
                  <a:gd name="connsiteX34" fmla="*/ 367312 w 489936"/>
                  <a:gd name="connsiteY34" fmla="*/ 41466 h 605734"/>
                  <a:gd name="connsiteX35" fmla="*/ 384148 w 489936"/>
                  <a:gd name="connsiteY35" fmla="*/ 58276 h 605734"/>
                  <a:gd name="connsiteX36" fmla="*/ 400984 w 489936"/>
                  <a:gd name="connsiteY36" fmla="*/ 41466 h 605734"/>
                  <a:gd name="connsiteX37" fmla="*/ 384148 w 489936"/>
                  <a:gd name="connsiteY37" fmla="*/ 24935 h 605734"/>
                  <a:gd name="connsiteX38" fmla="*/ 327746 w 489936"/>
                  <a:gd name="connsiteY38" fmla="*/ 24935 h 605734"/>
                  <a:gd name="connsiteX39" fmla="*/ 311191 w 489936"/>
                  <a:gd name="connsiteY39" fmla="*/ 41466 h 605734"/>
                  <a:gd name="connsiteX40" fmla="*/ 327746 w 489936"/>
                  <a:gd name="connsiteY40" fmla="*/ 58276 h 605734"/>
                  <a:gd name="connsiteX41" fmla="*/ 344583 w 489936"/>
                  <a:gd name="connsiteY41" fmla="*/ 41466 h 605734"/>
                  <a:gd name="connsiteX42" fmla="*/ 327746 w 489936"/>
                  <a:gd name="connsiteY42" fmla="*/ 24935 h 605734"/>
                  <a:gd name="connsiteX43" fmla="*/ 35076 w 489936"/>
                  <a:gd name="connsiteY43" fmla="*/ 0 h 605734"/>
                  <a:gd name="connsiteX44" fmla="*/ 454860 w 489936"/>
                  <a:gd name="connsiteY44" fmla="*/ 0 h 605734"/>
                  <a:gd name="connsiteX45" fmla="*/ 489936 w 489936"/>
                  <a:gd name="connsiteY45" fmla="*/ 35022 h 605734"/>
                  <a:gd name="connsiteX46" fmla="*/ 489936 w 489936"/>
                  <a:gd name="connsiteY46" fmla="*/ 570712 h 605734"/>
                  <a:gd name="connsiteX47" fmla="*/ 454860 w 489936"/>
                  <a:gd name="connsiteY47" fmla="*/ 605734 h 605734"/>
                  <a:gd name="connsiteX48" fmla="*/ 35076 w 489936"/>
                  <a:gd name="connsiteY48" fmla="*/ 605734 h 605734"/>
                  <a:gd name="connsiteX49" fmla="*/ 0 w 489936"/>
                  <a:gd name="connsiteY49" fmla="*/ 570712 h 605734"/>
                  <a:gd name="connsiteX50" fmla="*/ 0 w 489936"/>
                  <a:gd name="connsiteY50" fmla="*/ 35022 h 605734"/>
                  <a:gd name="connsiteX51" fmla="*/ 35076 w 489936"/>
                  <a:gd name="connsiteY51" fmla="*/ 0 h 60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9936" h="605734">
                    <a:moveTo>
                      <a:pt x="56946" y="454159"/>
                    </a:moveTo>
                    <a:lnTo>
                      <a:pt x="432989" y="454159"/>
                    </a:lnTo>
                    <a:lnTo>
                      <a:pt x="432989" y="552245"/>
                    </a:lnTo>
                    <a:lnTo>
                      <a:pt x="56946" y="552245"/>
                    </a:lnTo>
                    <a:close/>
                    <a:moveTo>
                      <a:pt x="218027" y="167240"/>
                    </a:moveTo>
                    <a:lnTo>
                      <a:pt x="270224" y="343219"/>
                    </a:lnTo>
                    <a:lnTo>
                      <a:pt x="322421" y="269521"/>
                    </a:lnTo>
                    <a:lnTo>
                      <a:pt x="361990" y="314636"/>
                    </a:lnTo>
                    <a:lnTo>
                      <a:pt x="432989" y="314636"/>
                    </a:lnTo>
                    <a:lnTo>
                      <a:pt x="432989" y="333411"/>
                    </a:lnTo>
                    <a:lnTo>
                      <a:pt x="353290" y="333411"/>
                    </a:lnTo>
                    <a:lnTo>
                      <a:pt x="324105" y="299785"/>
                    </a:lnTo>
                    <a:lnTo>
                      <a:pt x="263208" y="385812"/>
                    </a:lnTo>
                    <a:lnTo>
                      <a:pt x="224762" y="255229"/>
                    </a:lnTo>
                    <a:lnTo>
                      <a:pt x="198664" y="438494"/>
                    </a:lnTo>
                    <a:lnTo>
                      <a:pt x="150395" y="300905"/>
                    </a:lnTo>
                    <a:lnTo>
                      <a:pt x="131313" y="333411"/>
                    </a:lnTo>
                    <a:lnTo>
                      <a:pt x="56946" y="333411"/>
                    </a:lnTo>
                    <a:lnTo>
                      <a:pt x="56946" y="314636"/>
                    </a:lnTo>
                    <a:lnTo>
                      <a:pt x="120368" y="314636"/>
                    </a:lnTo>
                    <a:lnTo>
                      <a:pt x="154605" y="256350"/>
                    </a:lnTo>
                    <a:lnTo>
                      <a:pt x="190806" y="359472"/>
                    </a:lnTo>
                    <a:close/>
                    <a:moveTo>
                      <a:pt x="23290" y="71444"/>
                    </a:moveTo>
                    <a:lnTo>
                      <a:pt x="23290" y="570712"/>
                    </a:lnTo>
                    <a:cubicBezTo>
                      <a:pt x="23290" y="577156"/>
                      <a:pt x="28622" y="582199"/>
                      <a:pt x="35076" y="582199"/>
                    </a:cubicBezTo>
                    <a:lnTo>
                      <a:pt x="454860" y="582199"/>
                    </a:lnTo>
                    <a:cubicBezTo>
                      <a:pt x="461314" y="582199"/>
                      <a:pt x="466646" y="577156"/>
                      <a:pt x="466646" y="570712"/>
                    </a:cubicBezTo>
                    <a:lnTo>
                      <a:pt x="466646" y="71444"/>
                    </a:lnTo>
                    <a:close/>
                    <a:moveTo>
                      <a:pt x="440550" y="24935"/>
                    </a:moveTo>
                    <a:cubicBezTo>
                      <a:pt x="431290" y="24935"/>
                      <a:pt x="423713" y="32220"/>
                      <a:pt x="423713" y="41466"/>
                    </a:cubicBezTo>
                    <a:cubicBezTo>
                      <a:pt x="423713" y="50711"/>
                      <a:pt x="431290" y="58276"/>
                      <a:pt x="440550" y="58276"/>
                    </a:cubicBezTo>
                    <a:cubicBezTo>
                      <a:pt x="449810" y="58276"/>
                      <a:pt x="457105" y="50711"/>
                      <a:pt x="457105" y="41466"/>
                    </a:cubicBezTo>
                    <a:cubicBezTo>
                      <a:pt x="457105" y="32220"/>
                      <a:pt x="449810" y="24935"/>
                      <a:pt x="440550" y="24935"/>
                    </a:cubicBezTo>
                    <a:close/>
                    <a:moveTo>
                      <a:pt x="384148" y="24935"/>
                    </a:moveTo>
                    <a:cubicBezTo>
                      <a:pt x="374888" y="24935"/>
                      <a:pt x="367312" y="32220"/>
                      <a:pt x="367312" y="41466"/>
                    </a:cubicBezTo>
                    <a:cubicBezTo>
                      <a:pt x="367312" y="50711"/>
                      <a:pt x="374888" y="58276"/>
                      <a:pt x="384148" y="58276"/>
                    </a:cubicBezTo>
                    <a:cubicBezTo>
                      <a:pt x="393408" y="58276"/>
                      <a:pt x="400984" y="50711"/>
                      <a:pt x="400984" y="41466"/>
                    </a:cubicBezTo>
                    <a:cubicBezTo>
                      <a:pt x="400984" y="32220"/>
                      <a:pt x="393408" y="24935"/>
                      <a:pt x="384148" y="24935"/>
                    </a:cubicBezTo>
                    <a:close/>
                    <a:moveTo>
                      <a:pt x="327746" y="24935"/>
                    </a:moveTo>
                    <a:cubicBezTo>
                      <a:pt x="318486" y="24935"/>
                      <a:pt x="311191" y="32220"/>
                      <a:pt x="311191" y="41466"/>
                    </a:cubicBezTo>
                    <a:cubicBezTo>
                      <a:pt x="311191" y="50711"/>
                      <a:pt x="318486" y="58276"/>
                      <a:pt x="327746" y="58276"/>
                    </a:cubicBezTo>
                    <a:cubicBezTo>
                      <a:pt x="337006" y="58276"/>
                      <a:pt x="344583" y="50711"/>
                      <a:pt x="344583" y="41466"/>
                    </a:cubicBezTo>
                    <a:cubicBezTo>
                      <a:pt x="344583" y="32220"/>
                      <a:pt x="337006" y="24935"/>
                      <a:pt x="327746" y="24935"/>
                    </a:cubicBezTo>
                    <a:close/>
                    <a:moveTo>
                      <a:pt x="35076" y="0"/>
                    </a:moveTo>
                    <a:lnTo>
                      <a:pt x="454860" y="0"/>
                    </a:lnTo>
                    <a:cubicBezTo>
                      <a:pt x="474222" y="0"/>
                      <a:pt x="489936" y="15690"/>
                      <a:pt x="489936" y="35022"/>
                    </a:cubicBezTo>
                    <a:lnTo>
                      <a:pt x="489936" y="570712"/>
                    </a:lnTo>
                    <a:cubicBezTo>
                      <a:pt x="489936" y="590044"/>
                      <a:pt x="474222" y="605734"/>
                      <a:pt x="454860" y="605734"/>
                    </a:cubicBezTo>
                    <a:lnTo>
                      <a:pt x="35076" y="605734"/>
                    </a:lnTo>
                    <a:cubicBezTo>
                      <a:pt x="15714" y="605734"/>
                      <a:pt x="0" y="590044"/>
                      <a:pt x="0" y="570712"/>
                    </a:cubicBezTo>
                    <a:lnTo>
                      <a:pt x="0" y="35022"/>
                    </a:lnTo>
                    <a:cubicBezTo>
                      <a:pt x="0" y="15690"/>
                      <a:pt x="15714" y="0"/>
                      <a:pt x="350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23" name="íṡḻíḋê">
                <a:extLst>
                  <a:ext uri="{FF2B5EF4-FFF2-40B4-BE49-F238E27FC236}">
                    <a16:creationId xmlns:a16="http://schemas.microsoft.com/office/drawing/2014/main" id="{A0725ACE-205D-4D79-8AA8-BFC3C4BE58C9}"/>
                  </a:ext>
                </a:extLst>
              </p:cNvPr>
              <p:cNvSpPr/>
              <p:nvPr/>
            </p:nvSpPr>
            <p:spPr>
              <a:xfrm>
                <a:off x="6795558" y="3170106"/>
                <a:ext cx="494397" cy="611250"/>
              </a:xfrm>
              <a:custGeom>
                <a:avLst/>
                <a:gdLst>
                  <a:gd name="connsiteX0" fmla="*/ 56946 w 489936"/>
                  <a:gd name="connsiteY0" fmla="*/ 454159 h 605734"/>
                  <a:gd name="connsiteX1" fmla="*/ 432989 w 489936"/>
                  <a:gd name="connsiteY1" fmla="*/ 454159 h 605734"/>
                  <a:gd name="connsiteX2" fmla="*/ 432989 w 489936"/>
                  <a:gd name="connsiteY2" fmla="*/ 552245 h 605734"/>
                  <a:gd name="connsiteX3" fmla="*/ 56946 w 489936"/>
                  <a:gd name="connsiteY3" fmla="*/ 552245 h 605734"/>
                  <a:gd name="connsiteX4" fmla="*/ 218027 w 489936"/>
                  <a:gd name="connsiteY4" fmla="*/ 167240 h 605734"/>
                  <a:gd name="connsiteX5" fmla="*/ 270224 w 489936"/>
                  <a:gd name="connsiteY5" fmla="*/ 343219 h 605734"/>
                  <a:gd name="connsiteX6" fmla="*/ 322421 w 489936"/>
                  <a:gd name="connsiteY6" fmla="*/ 269521 h 605734"/>
                  <a:gd name="connsiteX7" fmla="*/ 361990 w 489936"/>
                  <a:gd name="connsiteY7" fmla="*/ 314636 h 605734"/>
                  <a:gd name="connsiteX8" fmla="*/ 432989 w 489936"/>
                  <a:gd name="connsiteY8" fmla="*/ 314636 h 605734"/>
                  <a:gd name="connsiteX9" fmla="*/ 432989 w 489936"/>
                  <a:gd name="connsiteY9" fmla="*/ 333411 h 605734"/>
                  <a:gd name="connsiteX10" fmla="*/ 353290 w 489936"/>
                  <a:gd name="connsiteY10" fmla="*/ 333411 h 605734"/>
                  <a:gd name="connsiteX11" fmla="*/ 324105 w 489936"/>
                  <a:gd name="connsiteY11" fmla="*/ 299785 h 605734"/>
                  <a:gd name="connsiteX12" fmla="*/ 263208 w 489936"/>
                  <a:gd name="connsiteY12" fmla="*/ 385812 h 605734"/>
                  <a:gd name="connsiteX13" fmla="*/ 224762 w 489936"/>
                  <a:gd name="connsiteY13" fmla="*/ 255229 h 605734"/>
                  <a:gd name="connsiteX14" fmla="*/ 198664 w 489936"/>
                  <a:gd name="connsiteY14" fmla="*/ 438494 h 605734"/>
                  <a:gd name="connsiteX15" fmla="*/ 150395 w 489936"/>
                  <a:gd name="connsiteY15" fmla="*/ 300905 h 605734"/>
                  <a:gd name="connsiteX16" fmla="*/ 131313 w 489936"/>
                  <a:gd name="connsiteY16" fmla="*/ 333411 h 605734"/>
                  <a:gd name="connsiteX17" fmla="*/ 56946 w 489936"/>
                  <a:gd name="connsiteY17" fmla="*/ 333411 h 605734"/>
                  <a:gd name="connsiteX18" fmla="*/ 56946 w 489936"/>
                  <a:gd name="connsiteY18" fmla="*/ 314636 h 605734"/>
                  <a:gd name="connsiteX19" fmla="*/ 120368 w 489936"/>
                  <a:gd name="connsiteY19" fmla="*/ 314636 h 605734"/>
                  <a:gd name="connsiteX20" fmla="*/ 154605 w 489936"/>
                  <a:gd name="connsiteY20" fmla="*/ 256350 h 605734"/>
                  <a:gd name="connsiteX21" fmla="*/ 190806 w 489936"/>
                  <a:gd name="connsiteY21" fmla="*/ 359472 h 605734"/>
                  <a:gd name="connsiteX22" fmla="*/ 23290 w 489936"/>
                  <a:gd name="connsiteY22" fmla="*/ 71444 h 605734"/>
                  <a:gd name="connsiteX23" fmla="*/ 23290 w 489936"/>
                  <a:gd name="connsiteY23" fmla="*/ 570712 h 605734"/>
                  <a:gd name="connsiteX24" fmla="*/ 35076 w 489936"/>
                  <a:gd name="connsiteY24" fmla="*/ 582199 h 605734"/>
                  <a:gd name="connsiteX25" fmla="*/ 454860 w 489936"/>
                  <a:gd name="connsiteY25" fmla="*/ 582199 h 605734"/>
                  <a:gd name="connsiteX26" fmla="*/ 466646 w 489936"/>
                  <a:gd name="connsiteY26" fmla="*/ 570712 h 605734"/>
                  <a:gd name="connsiteX27" fmla="*/ 466646 w 489936"/>
                  <a:gd name="connsiteY27" fmla="*/ 71444 h 605734"/>
                  <a:gd name="connsiteX28" fmla="*/ 440550 w 489936"/>
                  <a:gd name="connsiteY28" fmla="*/ 24935 h 605734"/>
                  <a:gd name="connsiteX29" fmla="*/ 423713 w 489936"/>
                  <a:gd name="connsiteY29" fmla="*/ 41466 h 605734"/>
                  <a:gd name="connsiteX30" fmla="*/ 440550 w 489936"/>
                  <a:gd name="connsiteY30" fmla="*/ 58276 h 605734"/>
                  <a:gd name="connsiteX31" fmla="*/ 457105 w 489936"/>
                  <a:gd name="connsiteY31" fmla="*/ 41466 h 605734"/>
                  <a:gd name="connsiteX32" fmla="*/ 440550 w 489936"/>
                  <a:gd name="connsiteY32" fmla="*/ 24935 h 605734"/>
                  <a:gd name="connsiteX33" fmla="*/ 384148 w 489936"/>
                  <a:gd name="connsiteY33" fmla="*/ 24935 h 605734"/>
                  <a:gd name="connsiteX34" fmla="*/ 367312 w 489936"/>
                  <a:gd name="connsiteY34" fmla="*/ 41466 h 605734"/>
                  <a:gd name="connsiteX35" fmla="*/ 384148 w 489936"/>
                  <a:gd name="connsiteY35" fmla="*/ 58276 h 605734"/>
                  <a:gd name="connsiteX36" fmla="*/ 400984 w 489936"/>
                  <a:gd name="connsiteY36" fmla="*/ 41466 h 605734"/>
                  <a:gd name="connsiteX37" fmla="*/ 384148 w 489936"/>
                  <a:gd name="connsiteY37" fmla="*/ 24935 h 605734"/>
                  <a:gd name="connsiteX38" fmla="*/ 327746 w 489936"/>
                  <a:gd name="connsiteY38" fmla="*/ 24935 h 605734"/>
                  <a:gd name="connsiteX39" fmla="*/ 311191 w 489936"/>
                  <a:gd name="connsiteY39" fmla="*/ 41466 h 605734"/>
                  <a:gd name="connsiteX40" fmla="*/ 327746 w 489936"/>
                  <a:gd name="connsiteY40" fmla="*/ 58276 h 605734"/>
                  <a:gd name="connsiteX41" fmla="*/ 344583 w 489936"/>
                  <a:gd name="connsiteY41" fmla="*/ 41466 h 605734"/>
                  <a:gd name="connsiteX42" fmla="*/ 327746 w 489936"/>
                  <a:gd name="connsiteY42" fmla="*/ 24935 h 605734"/>
                  <a:gd name="connsiteX43" fmla="*/ 35076 w 489936"/>
                  <a:gd name="connsiteY43" fmla="*/ 0 h 605734"/>
                  <a:gd name="connsiteX44" fmla="*/ 454860 w 489936"/>
                  <a:gd name="connsiteY44" fmla="*/ 0 h 605734"/>
                  <a:gd name="connsiteX45" fmla="*/ 489936 w 489936"/>
                  <a:gd name="connsiteY45" fmla="*/ 35022 h 605734"/>
                  <a:gd name="connsiteX46" fmla="*/ 489936 w 489936"/>
                  <a:gd name="connsiteY46" fmla="*/ 570712 h 605734"/>
                  <a:gd name="connsiteX47" fmla="*/ 454860 w 489936"/>
                  <a:gd name="connsiteY47" fmla="*/ 605734 h 605734"/>
                  <a:gd name="connsiteX48" fmla="*/ 35076 w 489936"/>
                  <a:gd name="connsiteY48" fmla="*/ 605734 h 605734"/>
                  <a:gd name="connsiteX49" fmla="*/ 0 w 489936"/>
                  <a:gd name="connsiteY49" fmla="*/ 570712 h 605734"/>
                  <a:gd name="connsiteX50" fmla="*/ 0 w 489936"/>
                  <a:gd name="connsiteY50" fmla="*/ 35022 h 605734"/>
                  <a:gd name="connsiteX51" fmla="*/ 35076 w 489936"/>
                  <a:gd name="connsiteY51" fmla="*/ 0 h 60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9936" h="605734">
                    <a:moveTo>
                      <a:pt x="56946" y="454159"/>
                    </a:moveTo>
                    <a:lnTo>
                      <a:pt x="432989" y="454159"/>
                    </a:lnTo>
                    <a:lnTo>
                      <a:pt x="432989" y="552245"/>
                    </a:lnTo>
                    <a:lnTo>
                      <a:pt x="56946" y="552245"/>
                    </a:lnTo>
                    <a:close/>
                    <a:moveTo>
                      <a:pt x="218027" y="167240"/>
                    </a:moveTo>
                    <a:lnTo>
                      <a:pt x="270224" y="343219"/>
                    </a:lnTo>
                    <a:lnTo>
                      <a:pt x="322421" y="269521"/>
                    </a:lnTo>
                    <a:lnTo>
                      <a:pt x="361990" y="314636"/>
                    </a:lnTo>
                    <a:lnTo>
                      <a:pt x="432989" y="314636"/>
                    </a:lnTo>
                    <a:lnTo>
                      <a:pt x="432989" y="333411"/>
                    </a:lnTo>
                    <a:lnTo>
                      <a:pt x="353290" y="333411"/>
                    </a:lnTo>
                    <a:lnTo>
                      <a:pt x="324105" y="299785"/>
                    </a:lnTo>
                    <a:lnTo>
                      <a:pt x="263208" y="385812"/>
                    </a:lnTo>
                    <a:lnTo>
                      <a:pt x="224762" y="255229"/>
                    </a:lnTo>
                    <a:lnTo>
                      <a:pt x="198664" y="438494"/>
                    </a:lnTo>
                    <a:lnTo>
                      <a:pt x="150395" y="300905"/>
                    </a:lnTo>
                    <a:lnTo>
                      <a:pt x="131313" y="333411"/>
                    </a:lnTo>
                    <a:lnTo>
                      <a:pt x="56946" y="333411"/>
                    </a:lnTo>
                    <a:lnTo>
                      <a:pt x="56946" y="314636"/>
                    </a:lnTo>
                    <a:lnTo>
                      <a:pt x="120368" y="314636"/>
                    </a:lnTo>
                    <a:lnTo>
                      <a:pt x="154605" y="256350"/>
                    </a:lnTo>
                    <a:lnTo>
                      <a:pt x="190806" y="359472"/>
                    </a:lnTo>
                    <a:close/>
                    <a:moveTo>
                      <a:pt x="23290" y="71444"/>
                    </a:moveTo>
                    <a:lnTo>
                      <a:pt x="23290" y="570712"/>
                    </a:lnTo>
                    <a:cubicBezTo>
                      <a:pt x="23290" y="577156"/>
                      <a:pt x="28622" y="582199"/>
                      <a:pt x="35076" y="582199"/>
                    </a:cubicBezTo>
                    <a:lnTo>
                      <a:pt x="454860" y="582199"/>
                    </a:lnTo>
                    <a:cubicBezTo>
                      <a:pt x="461314" y="582199"/>
                      <a:pt x="466646" y="577156"/>
                      <a:pt x="466646" y="570712"/>
                    </a:cubicBezTo>
                    <a:lnTo>
                      <a:pt x="466646" y="71444"/>
                    </a:lnTo>
                    <a:close/>
                    <a:moveTo>
                      <a:pt x="440550" y="24935"/>
                    </a:moveTo>
                    <a:cubicBezTo>
                      <a:pt x="431290" y="24935"/>
                      <a:pt x="423713" y="32220"/>
                      <a:pt x="423713" y="41466"/>
                    </a:cubicBezTo>
                    <a:cubicBezTo>
                      <a:pt x="423713" y="50711"/>
                      <a:pt x="431290" y="58276"/>
                      <a:pt x="440550" y="58276"/>
                    </a:cubicBezTo>
                    <a:cubicBezTo>
                      <a:pt x="449810" y="58276"/>
                      <a:pt x="457105" y="50711"/>
                      <a:pt x="457105" y="41466"/>
                    </a:cubicBezTo>
                    <a:cubicBezTo>
                      <a:pt x="457105" y="32220"/>
                      <a:pt x="449810" y="24935"/>
                      <a:pt x="440550" y="24935"/>
                    </a:cubicBezTo>
                    <a:close/>
                    <a:moveTo>
                      <a:pt x="384148" y="24935"/>
                    </a:moveTo>
                    <a:cubicBezTo>
                      <a:pt x="374888" y="24935"/>
                      <a:pt x="367312" y="32220"/>
                      <a:pt x="367312" y="41466"/>
                    </a:cubicBezTo>
                    <a:cubicBezTo>
                      <a:pt x="367312" y="50711"/>
                      <a:pt x="374888" y="58276"/>
                      <a:pt x="384148" y="58276"/>
                    </a:cubicBezTo>
                    <a:cubicBezTo>
                      <a:pt x="393408" y="58276"/>
                      <a:pt x="400984" y="50711"/>
                      <a:pt x="400984" y="41466"/>
                    </a:cubicBezTo>
                    <a:cubicBezTo>
                      <a:pt x="400984" y="32220"/>
                      <a:pt x="393408" y="24935"/>
                      <a:pt x="384148" y="24935"/>
                    </a:cubicBezTo>
                    <a:close/>
                    <a:moveTo>
                      <a:pt x="327746" y="24935"/>
                    </a:moveTo>
                    <a:cubicBezTo>
                      <a:pt x="318486" y="24935"/>
                      <a:pt x="311191" y="32220"/>
                      <a:pt x="311191" y="41466"/>
                    </a:cubicBezTo>
                    <a:cubicBezTo>
                      <a:pt x="311191" y="50711"/>
                      <a:pt x="318486" y="58276"/>
                      <a:pt x="327746" y="58276"/>
                    </a:cubicBezTo>
                    <a:cubicBezTo>
                      <a:pt x="337006" y="58276"/>
                      <a:pt x="344583" y="50711"/>
                      <a:pt x="344583" y="41466"/>
                    </a:cubicBezTo>
                    <a:cubicBezTo>
                      <a:pt x="344583" y="32220"/>
                      <a:pt x="337006" y="24935"/>
                      <a:pt x="327746" y="24935"/>
                    </a:cubicBezTo>
                    <a:close/>
                    <a:moveTo>
                      <a:pt x="35076" y="0"/>
                    </a:moveTo>
                    <a:lnTo>
                      <a:pt x="454860" y="0"/>
                    </a:lnTo>
                    <a:cubicBezTo>
                      <a:pt x="474222" y="0"/>
                      <a:pt x="489936" y="15690"/>
                      <a:pt x="489936" y="35022"/>
                    </a:cubicBezTo>
                    <a:lnTo>
                      <a:pt x="489936" y="570712"/>
                    </a:lnTo>
                    <a:cubicBezTo>
                      <a:pt x="489936" y="590044"/>
                      <a:pt x="474222" y="605734"/>
                      <a:pt x="454860" y="605734"/>
                    </a:cubicBezTo>
                    <a:lnTo>
                      <a:pt x="35076" y="605734"/>
                    </a:lnTo>
                    <a:cubicBezTo>
                      <a:pt x="15714" y="605734"/>
                      <a:pt x="0" y="590044"/>
                      <a:pt x="0" y="570712"/>
                    </a:cubicBezTo>
                    <a:lnTo>
                      <a:pt x="0" y="35022"/>
                    </a:lnTo>
                    <a:cubicBezTo>
                      <a:pt x="0" y="15690"/>
                      <a:pt x="15714" y="0"/>
                      <a:pt x="350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39787A3A-371F-4B7F-94A8-A2595302730C}"/>
                </a:ext>
              </a:extLst>
            </p:cNvPr>
            <p:cNvCxnSpPr>
              <a:stCxn id="19" idx="12"/>
            </p:cNvCxnSpPr>
            <p:nvPr/>
          </p:nvCxnSpPr>
          <p:spPr>
            <a:xfrm flipH="1">
              <a:off x="673100" y="3903947"/>
              <a:ext cx="567867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íslîďê">
              <a:extLst>
                <a:ext uri="{FF2B5EF4-FFF2-40B4-BE49-F238E27FC236}">
                  <a16:creationId xmlns:a16="http://schemas.microsoft.com/office/drawing/2014/main" id="{2C0D9046-A5D0-4B5B-B32F-6FE5068158FD}"/>
                </a:ext>
              </a:extLst>
            </p:cNvPr>
            <p:cNvGrpSpPr/>
            <p:nvPr/>
          </p:nvGrpSpPr>
          <p:grpSpPr>
            <a:xfrm>
              <a:off x="673100" y="2670207"/>
              <a:ext cx="3171237" cy="2467480"/>
              <a:chOff x="673100" y="2670207"/>
              <a:chExt cx="3302911" cy="2467480"/>
            </a:xfrm>
          </p:grpSpPr>
          <p:grpSp>
            <p:nvGrpSpPr>
              <p:cNvPr id="12" name="íṥ1iḋé">
                <a:extLst>
                  <a:ext uri="{FF2B5EF4-FFF2-40B4-BE49-F238E27FC236}">
                    <a16:creationId xmlns:a16="http://schemas.microsoft.com/office/drawing/2014/main" id="{784FEB7A-11A9-4DCE-9C02-AD4BF7906846}"/>
                  </a:ext>
                </a:extLst>
              </p:cNvPr>
              <p:cNvGrpSpPr/>
              <p:nvPr/>
            </p:nvGrpSpPr>
            <p:grpSpPr>
              <a:xfrm>
                <a:off x="673100" y="2670207"/>
                <a:ext cx="3302911" cy="1030224"/>
                <a:chOff x="5966654" y="1551508"/>
                <a:chExt cx="1910608" cy="1030224"/>
              </a:xfrm>
            </p:grpSpPr>
            <p:sp>
              <p:nvSpPr>
                <p:cNvPr id="16" name="iŝlïdè">
                  <a:extLst>
                    <a:ext uri="{FF2B5EF4-FFF2-40B4-BE49-F238E27FC236}">
                      <a16:creationId xmlns:a16="http://schemas.microsoft.com/office/drawing/2014/main" id="{6B4C8EFA-AE13-43DF-87EF-19070F40DB47}"/>
                    </a:ext>
                  </a:extLst>
                </p:cNvPr>
                <p:cNvSpPr/>
                <p:nvPr/>
              </p:nvSpPr>
              <p:spPr bwMode="auto">
                <a:xfrm>
                  <a:off x="5966654" y="1551508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/>
                  <a:r>
                    <a:rPr lang="en-US" altLang="zh-CN" sz="1600" b="1" kern="0" dirty="0"/>
                    <a:t> Model Efficiency</a:t>
                  </a:r>
                  <a:endParaRPr lang="zh-CN" altLang="en-US" sz="1600" b="1" kern="0" dirty="0"/>
                </a:p>
              </p:txBody>
            </p:sp>
            <p:sp>
              <p:nvSpPr>
                <p:cNvPr id="17" name="îšľiḑê">
                  <a:extLst>
                    <a:ext uri="{FF2B5EF4-FFF2-40B4-BE49-F238E27FC236}">
                      <a16:creationId xmlns:a16="http://schemas.microsoft.com/office/drawing/2014/main" id="{28D87A01-EBC8-41C1-9C9B-E43F3DDD69BE}"/>
                    </a:ext>
                  </a:extLst>
                </p:cNvPr>
                <p:cNvSpPr/>
                <p:nvPr/>
              </p:nvSpPr>
              <p:spPr>
                <a:xfrm>
                  <a:off x="5966654" y="1943621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171450" lvl="0" indent="-171450" algn="r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400" dirty="0">
                      <a:solidFill>
                        <a:schemeClr val="tx1"/>
                      </a:solidFill>
                    </a:rPr>
                    <a:t>All of the 11 generation models are effective</a:t>
                  </a:r>
                </a:p>
              </p:txBody>
            </p:sp>
          </p:grpSp>
          <p:grpSp>
            <p:nvGrpSpPr>
              <p:cNvPr id="13" name="îş1íḓé">
                <a:extLst>
                  <a:ext uri="{FF2B5EF4-FFF2-40B4-BE49-F238E27FC236}">
                    <a16:creationId xmlns:a16="http://schemas.microsoft.com/office/drawing/2014/main" id="{784FEB7A-11A9-4DCE-9C02-AD4BF7906846}"/>
                  </a:ext>
                </a:extLst>
              </p:cNvPr>
              <p:cNvGrpSpPr/>
              <p:nvPr/>
            </p:nvGrpSpPr>
            <p:grpSpPr>
              <a:xfrm>
                <a:off x="673100" y="4107463"/>
                <a:ext cx="3302911" cy="1030224"/>
                <a:chOff x="5966654" y="1551508"/>
                <a:chExt cx="1910608" cy="1030224"/>
              </a:xfrm>
            </p:grpSpPr>
            <p:sp>
              <p:nvSpPr>
                <p:cNvPr id="14" name="işḻïḍê">
                  <a:extLst>
                    <a:ext uri="{FF2B5EF4-FFF2-40B4-BE49-F238E27FC236}">
                      <a16:creationId xmlns:a16="http://schemas.microsoft.com/office/drawing/2014/main" id="{6B4C8EFA-AE13-43DF-87EF-19070F40DB47}"/>
                    </a:ext>
                  </a:extLst>
                </p:cNvPr>
                <p:cNvSpPr/>
                <p:nvPr/>
              </p:nvSpPr>
              <p:spPr bwMode="auto">
                <a:xfrm>
                  <a:off x="5966654" y="1551508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/>
                  <a:r>
                    <a:rPr lang="en-US" altLang="zh-CN" sz="1600" b="1" kern="0" dirty="0"/>
                    <a:t>The number of identified squatting apps</a:t>
                  </a:r>
                  <a:endParaRPr lang="zh-CN" altLang="en-US" sz="1600" b="1" kern="0" dirty="0"/>
                </a:p>
              </p:txBody>
            </p:sp>
            <p:sp>
              <p:nvSpPr>
                <p:cNvPr id="15" name="iŝlíḑê">
                  <a:extLst>
                    <a:ext uri="{FF2B5EF4-FFF2-40B4-BE49-F238E27FC236}">
                      <a16:creationId xmlns:a16="http://schemas.microsoft.com/office/drawing/2014/main" id="{28D87A01-EBC8-41C1-9C9B-E43F3DDD69BE}"/>
                    </a:ext>
                  </a:extLst>
                </p:cNvPr>
                <p:cNvSpPr/>
                <p:nvPr/>
              </p:nvSpPr>
              <p:spPr>
                <a:xfrm>
                  <a:off x="5966654" y="1943621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marL="171450" lvl="0" indent="-171450" algn="r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400" dirty="0">
                      <a:solidFill>
                        <a:schemeClr val="tx1"/>
                      </a:solidFill>
                    </a:rPr>
                    <a:t>Could identify 946 squatting apps</a:t>
                  </a:r>
                </a:p>
              </p:txBody>
            </p:sp>
          </p:grpSp>
        </p:grpSp>
        <p:grpSp>
          <p:nvGrpSpPr>
            <p:cNvPr id="9" name="i$ľíḑe">
              <a:extLst>
                <a:ext uri="{FF2B5EF4-FFF2-40B4-BE49-F238E27FC236}">
                  <a16:creationId xmlns:a16="http://schemas.microsoft.com/office/drawing/2014/main" id="{C0C5F7D7-E101-4B6C-9767-D6063F3BE8A4}"/>
                </a:ext>
              </a:extLst>
            </p:cNvPr>
            <p:cNvGrpSpPr/>
            <p:nvPr/>
          </p:nvGrpSpPr>
          <p:grpSpPr>
            <a:xfrm>
              <a:off x="8347663" y="2686607"/>
              <a:ext cx="3171237" cy="2434680"/>
              <a:chOff x="8215988" y="2686607"/>
              <a:chExt cx="3302911" cy="2434680"/>
            </a:xfrm>
          </p:grpSpPr>
          <p:sp>
            <p:nvSpPr>
              <p:cNvPr id="10" name="iṣľíḍe">
                <a:extLst>
                  <a:ext uri="{FF2B5EF4-FFF2-40B4-BE49-F238E27FC236}">
                    <a16:creationId xmlns:a16="http://schemas.microsoft.com/office/drawing/2014/main" id="{6B4C8EFA-AE13-43DF-87EF-19070F40DB47}"/>
                  </a:ext>
                </a:extLst>
              </p:cNvPr>
              <p:cNvSpPr/>
              <p:nvPr/>
            </p:nvSpPr>
            <p:spPr bwMode="auto">
              <a:xfrm>
                <a:off x="8215988" y="2686607"/>
                <a:ext cx="3302911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/>
                <a:r>
                  <a:rPr lang="en-US" altLang="zh-CN" sz="1600" b="1" kern="0" dirty="0"/>
                  <a:t>Keyword Efficiency</a:t>
                </a:r>
                <a:endParaRPr lang="zh-CN" altLang="en-US" sz="1600" b="1" kern="0" dirty="0"/>
              </a:p>
            </p:txBody>
          </p:sp>
          <p:sp>
            <p:nvSpPr>
              <p:cNvPr id="11" name="íṩľïdè">
                <a:extLst>
                  <a:ext uri="{FF2B5EF4-FFF2-40B4-BE49-F238E27FC236}">
                    <a16:creationId xmlns:a16="http://schemas.microsoft.com/office/drawing/2014/main" id="{28D87A01-EBC8-41C1-9C9B-E43F3DDD69BE}"/>
                  </a:ext>
                </a:extLst>
              </p:cNvPr>
              <p:cNvSpPr/>
              <p:nvPr/>
            </p:nvSpPr>
            <p:spPr>
              <a:xfrm>
                <a:off x="8215988" y="3078720"/>
                <a:ext cx="3302911" cy="204256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171450" lvl="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600" dirty="0">
                    <a:solidFill>
                      <a:schemeClr val="tx1"/>
                    </a:solidFill>
                  </a:rPr>
                  <a:t>Out of 1,442 deformed strings generated by </a:t>
                </a:r>
                <a:r>
                  <a:rPr lang="en-US" altLang="zh-CN" sz="1600" dirty="0" err="1">
                    <a:solidFill>
                      <a:schemeClr val="tx1"/>
                    </a:solidFill>
                  </a:rPr>
                  <a:t>AppCrazy</a:t>
                </a:r>
                <a:r>
                  <a:rPr lang="en-US" altLang="zh-CN" sz="1600" dirty="0">
                    <a:solidFill>
                      <a:schemeClr val="tx1"/>
                    </a:solidFill>
                  </a:rPr>
                  <a:t>, 46 strings are effective in discovering squatting apps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316475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i="0" dirty="0"/>
              <a:t>Research Questions</a:t>
            </a:r>
            <a:endParaRPr lang="zh-CN" altLang="en-US" i="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altLang="zh-CN" sz="1600" dirty="0"/>
              <a:t>Perform a large-scale measurement of app squatting abuse in the wild</a:t>
            </a:r>
            <a:endParaRPr lang="zh-CN" altLang="en-US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203547" y="3985058"/>
            <a:ext cx="1104224" cy="96008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E973ECBA-1429-4BFA-B85E-691E30031FBF}"/>
              </a:ext>
            </a:extLst>
          </p:cNvPr>
          <p:cNvCxnSpPr>
            <a:cxnSpLocks/>
          </p:cNvCxnSpPr>
          <p:nvPr/>
        </p:nvCxnSpPr>
        <p:spPr>
          <a:xfrm>
            <a:off x="2786743" y="4351269"/>
            <a:ext cx="46155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2665994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6F33F-C9E3-4F2E-B13F-301FB71B2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altLang="zh-CN" dirty="0"/>
              <a:t>Measuring Squatting Apps</a:t>
            </a:r>
            <a:endParaRPr lang="zh-CN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478320-51EA-4737-A2DF-6114B8F7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7" name="îṥļîḑe">
            <a:extLst>
              <a:ext uri="{FF2B5EF4-FFF2-40B4-BE49-F238E27FC236}">
                <a16:creationId xmlns:a16="http://schemas.microsoft.com/office/drawing/2014/main" id="{01D0A987-3A3C-4F7B-B7AE-6DFD2083A839}"/>
              </a:ext>
            </a:extLst>
          </p:cNvPr>
          <p:cNvSpPr/>
          <p:nvPr/>
        </p:nvSpPr>
        <p:spPr bwMode="auto">
          <a:xfrm>
            <a:off x="4142018" y="3228516"/>
            <a:ext cx="1338607" cy="1340974"/>
          </a:xfrm>
          <a:prstGeom prst="ellipse">
            <a:avLst/>
          </a:prstGeom>
          <a:blipFill>
            <a:blip r:embed="rId3"/>
            <a:stretch>
              <a:fillRect l="-89" r="-88"/>
            </a:stretch>
          </a:blip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ko-KR" altLang="en-US">
              <a:solidFill>
                <a:schemeClr val="lt1"/>
              </a:solidFill>
            </a:endParaRPr>
          </a:p>
        </p:txBody>
      </p:sp>
      <p:sp>
        <p:nvSpPr>
          <p:cNvPr id="8" name="ïş1ïdê">
            <a:extLst>
              <a:ext uri="{FF2B5EF4-FFF2-40B4-BE49-F238E27FC236}">
                <a16:creationId xmlns:a16="http://schemas.microsoft.com/office/drawing/2014/main" id="{BE8A4289-3922-4077-8DF8-51A5AA545945}"/>
              </a:ext>
            </a:extLst>
          </p:cNvPr>
          <p:cNvSpPr/>
          <p:nvPr/>
        </p:nvSpPr>
        <p:spPr bwMode="auto">
          <a:xfrm>
            <a:off x="3149119" y="4961704"/>
            <a:ext cx="1338607" cy="1340974"/>
          </a:xfrm>
          <a:prstGeom prst="ellipse">
            <a:avLst/>
          </a:prstGeom>
          <a:blipFill>
            <a:blip r:embed="rId4"/>
            <a:stretch>
              <a:fillRect l="-25371" r="-24894"/>
            </a:stretch>
          </a:blip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ko-KR" altLang="en-US">
              <a:solidFill>
                <a:schemeClr val="lt1"/>
              </a:solidFill>
            </a:endParaRPr>
          </a:p>
        </p:txBody>
      </p:sp>
      <p:sp>
        <p:nvSpPr>
          <p:cNvPr id="9" name="ïṩļïďe">
            <a:extLst>
              <a:ext uri="{FF2B5EF4-FFF2-40B4-BE49-F238E27FC236}">
                <a16:creationId xmlns:a16="http://schemas.microsoft.com/office/drawing/2014/main" id="{51B0B2F7-4797-4546-8BAC-127D41AA8DE2}"/>
              </a:ext>
            </a:extLst>
          </p:cNvPr>
          <p:cNvSpPr/>
          <p:nvPr/>
        </p:nvSpPr>
        <p:spPr bwMode="auto">
          <a:xfrm>
            <a:off x="3149119" y="1495327"/>
            <a:ext cx="1338607" cy="1340974"/>
          </a:xfrm>
          <a:prstGeom prst="ellipse">
            <a:avLst/>
          </a:prstGeom>
          <a:blipFill>
            <a:blip r:embed="rId5"/>
            <a:stretch>
              <a:fillRect l="-25371" r="-24894"/>
            </a:stretch>
          </a:blip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ko-KR" altLang="en-US">
              <a:solidFill>
                <a:schemeClr val="lt1"/>
              </a:solidFill>
            </a:endParaRPr>
          </a:p>
        </p:txBody>
      </p:sp>
      <p:sp>
        <p:nvSpPr>
          <p:cNvPr id="10" name="ïSļíďe">
            <a:extLst>
              <a:ext uri="{FF2B5EF4-FFF2-40B4-BE49-F238E27FC236}">
                <a16:creationId xmlns:a16="http://schemas.microsoft.com/office/drawing/2014/main" id="{D742DF66-09DB-4512-AAB3-4E2E991C52F6}"/>
              </a:ext>
            </a:extLst>
          </p:cNvPr>
          <p:cNvSpPr/>
          <p:nvPr/>
        </p:nvSpPr>
        <p:spPr>
          <a:xfrm>
            <a:off x="1174531" y="3008502"/>
            <a:ext cx="1781001" cy="1781001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12" name="išlîḓè">
            <a:extLst>
              <a:ext uri="{FF2B5EF4-FFF2-40B4-BE49-F238E27FC236}">
                <a16:creationId xmlns:a16="http://schemas.microsoft.com/office/drawing/2014/main" id="{6597703F-87E2-4EB5-940C-D13837759451}"/>
              </a:ext>
            </a:extLst>
          </p:cNvPr>
          <p:cNvSpPr/>
          <p:nvPr/>
        </p:nvSpPr>
        <p:spPr bwMode="auto">
          <a:xfrm>
            <a:off x="2613497" y="3716180"/>
            <a:ext cx="1258880" cy="365643"/>
          </a:xfrm>
          <a:custGeom>
            <a:avLst/>
            <a:gdLst>
              <a:gd name="T0" fmla="*/ 881 w 881"/>
              <a:gd name="T1" fmla="*/ 129 h 257"/>
              <a:gd name="T2" fmla="*/ 711 w 881"/>
              <a:gd name="T3" fmla="*/ 0 h 257"/>
              <a:gd name="T4" fmla="*/ 711 w 881"/>
              <a:gd name="T5" fmla="*/ 79 h 257"/>
              <a:gd name="T6" fmla="*/ 50 w 881"/>
              <a:gd name="T7" fmla="*/ 79 h 257"/>
              <a:gd name="T8" fmla="*/ 0 w 881"/>
              <a:gd name="T9" fmla="*/ 129 h 257"/>
              <a:gd name="T10" fmla="*/ 50 w 881"/>
              <a:gd name="T11" fmla="*/ 178 h 257"/>
              <a:gd name="T12" fmla="*/ 711 w 881"/>
              <a:gd name="T13" fmla="*/ 178 h 257"/>
              <a:gd name="T14" fmla="*/ 711 w 881"/>
              <a:gd name="T15" fmla="*/ 257 h 257"/>
              <a:gd name="T16" fmla="*/ 881 w 881"/>
              <a:gd name="T17" fmla="*/ 129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81" h="257">
                <a:moveTo>
                  <a:pt x="881" y="129"/>
                </a:moveTo>
                <a:cubicBezTo>
                  <a:pt x="711" y="0"/>
                  <a:pt x="711" y="0"/>
                  <a:pt x="711" y="0"/>
                </a:cubicBezTo>
                <a:cubicBezTo>
                  <a:pt x="711" y="79"/>
                  <a:pt x="711" y="79"/>
                  <a:pt x="711" y="79"/>
                </a:cubicBezTo>
                <a:cubicBezTo>
                  <a:pt x="50" y="79"/>
                  <a:pt x="50" y="79"/>
                  <a:pt x="50" y="79"/>
                </a:cubicBezTo>
                <a:cubicBezTo>
                  <a:pt x="21" y="79"/>
                  <a:pt x="0" y="100"/>
                  <a:pt x="0" y="129"/>
                </a:cubicBezTo>
                <a:cubicBezTo>
                  <a:pt x="0" y="153"/>
                  <a:pt x="20" y="178"/>
                  <a:pt x="50" y="178"/>
                </a:cubicBezTo>
                <a:cubicBezTo>
                  <a:pt x="711" y="178"/>
                  <a:pt x="711" y="178"/>
                  <a:pt x="711" y="178"/>
                </a:cubicBezTo>
                <a:cubicBezTo>
                  <a:pt x="711" y="257"/>
                  <a:pt x="711" y="257"/>
                  <a:pt x="711" y="257"/>
                </a:cubicBezTo>
                <a:lnTo>
                  <a:pt x="881" y="129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ïśḷïḑé">
            <a:extLst>
              <a:ext uri="{FF2B5EF4-FFF2-40B4-BE49-F238E27FC236}">
                <a16:creationId xmlns:a16="http://schemas.microsoft.com/office/drawing/2014/main" id="{A89E37C9-BB57-4335-ADBD-87FAD8251829}"/>
              </a:ext>
            </a:extLst>
          </p:cNvPr>
          <p:cNvSpPr/>
          <p:nvPr/>
        </p:nvSpPr>
        <p:spPr bwMode="auto">
          <a:xfrm>
            <a:off x="2449040" y="4373170"/>
            <a:ext cx="596048" cy="588535"/>
          </a:xfrm>
          <a:custGeom>
            <a:avLst/>
            <a:gdLst>
              <a:gd name="T0" fmla="*/ 330 w 417"/>
              <a:gd name="T1" fmla="*/ 259 h 413"/>
              <a:gd name="T2" fmla="*/ 87 w 417"/>
              <a:gd name="T3" fmla="*/ 20 h 413"/>
              <a:gd name="T4" fmla="*/ 16 w 417"/>
              <a:gd name="T5" fmla="*/ 20 h 413"/>
              <a:gd name="T6" fmla="*/ 0 w 417"/>
              <a:gd name="T7" fmla="*/ 52 h 413"/>
              <a:gd name="T8" fmla="*/ 16 w 417"/>
              <a:gd name="T9" fmla="*/ 91 h 413"/>
              <a:gd name="T10" fmla="*/ 258 w 417"/>
              <a:gd name="T11" fmla="*/ 329 h 413"/>
              <a:gd name="T12" fmla="*/ 204 w 417"/>
              <a:gd name="T13" fmla="*/ 383 h 413"/>
              <a:gd name="T14" fmla="*/ 417 w 417"/>
              <a:gd name="T15" fmla="*/ 413 h 413"/>
              <a:gd name="T16" fmla="*/ 387 w 417"/>
              <a:gd name="T17" fmla="*/ 203 h 413"/>
              <a:gd name="T18" fmla="*/ 330 w 417"/>
              <a:gd name="T19" fmla="*/ 259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7" h="413">
                <a:moveTo>
                  <a:pt x="330" y="259"/>
                </a:moveTo>
                <a:cubicBezTo>
                  <a:pt x="87" y="20"/>
                  <a:pt x="87" y="20"/>
                  <a:pt x="87" y="20"/>
                </a:cubicBezTo>
                <a:cubicBezTo>
                  <a:pt x="66" y="0"/>
                  <a:pt x="37" y="0"/>
                  <a:pt x="16" y="20"/>
                </a:cubicBezTo>
                <a:cubicBezTo>
                  <a:pt x="7" y="27"/>
                  <a:pt x="1" y="39"/>
                  <a:pt x="0" y="52"/>
                </a:cubicBezTo>
                <a:cubicBezTo>
                  <a:pt x="0" y="66"/>
                  <a:pt x="5" y="80"/>
                  <a:pt x="16" y="91"/>
                </a:cubicBezTo>
                <a:cubicBezTo>
                  <a:pt x="258" y="329"/>
                  <a:pt x="258" y="329"/>
                  <a:pt x="258" y="329"/>
                </a:cubicBezTo>
                <a:cubicBezTo>
                  <a:pt x="204" y="383"/>
                  <a:pt x="204" y="383"/>
                  <a:pt x="204" y="383"/>
                </a:cubicBezTo>
                <a:cubicBezTo>
                  <a:pt x="417" y="413"/>
                  <a:pt x="417" y="413"/>
                  <a:pt x="417" y="413"/>
                </a:cubicBezTo>
                <a:cubicBezTo>
                  <a:pt x="387" y="203"/>
                  <a:pt x="387" y="203"/>
                  <a:pt x="387" y="203"/>
                </a:cubicBezTo>
                <a:lnTo>
                  <a:pt x="330" y="259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4" name="îśḻiďê">
            <a:extLst>
              <a:ext uri="{FF2B5EF4-FFF2-40B4-BE49-F238E27FC236}">
                <a16:creationId xmlns:a16="http://schemas.microsoft.com/office/drawing/2014/main" id="{1345DD23-D788-42DD-B075-FDB5B3BD65B0}"/>
              </a:ext>
            </a:extLst>
          </p:cNvPr>
          <p:cNvSpPr/>
          <p:nvPr/>
        </p:nvSpPr>
        <p:spPr bwMode="auto">
          <a:xfrm>
            <a:off x="2449040" y="2836301"/>
            <a:ext cx="596048" cy="588535"/>
          </a:xfrm>
          <a:custGeom>
            <a:avLst/>
            <a:gdLst>
              <a:gd name="T0" fmla="*/ 50 w 417"/>
              <a:gd name="T1" fmla="*/ 411 h 411"/>
              <a:gd name="T2" fmla="*/ 87 w 417"/>
              <a:gd name="T3" fmla="*/ 398 h 411"/>
              <a:gd name="T4" fmla="*/ 330 w 417"/>
              <a:gd name="T5" fmla="*/ 157 h 411"/>
              <a:gd name="T6" fmla="*/ 387 w 417"/>
              <a:gd name="T7" fmla="*/ 210 h 411"/>
              <a:gd name="T8" fmla="*/ 417 w 417"/>
              <a:gd name="T9" fmla="*/ 0 h 411"/>
              <a:gd name="T10" fmla="*/ 205 w 417"/>
              <a:gd name="T11" fmla="*/ 30 h 411"/>
              <a:gd name="T12" fmla="*/ 259 w 417"/>
              <a:gd name="T13" fmla="*/ 86 h 411"/>
              <a:gd name="T14" fmla="*/ 16 w 417"/>
              <a:gd name="T15" fmla="*/ 327 h 411"/>
              <a:gd name="T16" fmla="*/ 0 w 417"/>
              <a:gd name="T17" fmla="*/ 363 h 411"/>
              <a:gd name="T18" fmla="*/ 16 w 417"/>
              <a:gd name="T19" fmla="*/ 398 h 411"/>
              <a:gd name="T20" fmla="*/ 50 w 417"/>
              <a:gd name="T21" fmla="*/ 411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17" h="411">
                <a:moveTo>
                  <a:pt x="50" y="411"/>
                </a:moveTo>
                <a:cubicBezTo>
                  <a:pt x="66" y="411"/>
                  <a:pt x="78" y="407"/>
                  <a:pt x="87" y="398"/>
                </a:cubicBezTo>
                <a:cubicBezTo>
                  <a:pt x="330" y="157"/>
                  <a:pt x="330" y="157"/>
                  <a:pt x="330" y="157"/>
                </a:cubicBezTo>
                <a:cubicBezTo>
                  <a:pt x="387" y="210"/>
                  <a:pt x="387" y="210"/>
                  <a:pt x="387" y="210"/>
                </a:cubicBezTo>
                <a:cubicBezTo>
                  <a:pt x="417" y="0"/>
                  <a:pt x="417" y="0"/>
                  <a:pt x="417" y="0"/>
                </a:cubicBezTo>
                <a:cubicBezTo>
                  <a:pt x="205" y="30"/>
                  <a:pt x="205" y="30"/>
                  <a:pt x="205" y="30"/>
                </a:cubicBezTo>
                <a:cubicBezTo>
                  <a:pt x="259" y="86"/>
                  <a:pt x="259" y="86"/>
                  <a:pt x="259" y="86"/>
                </a:cubicBezTo>
                <a:cubicBezTo>
                  <a:pt x="16" y="327"/>
                  <a:pt x="16" y="327"/>
                  <a:pt x="16" y="327"/>
                </a:cubicBezTo>
                <a:cubicBezTo>
                  <a:pt x="6" y="337"/>
                  <a:pt x="0" y="350"/>
                  <a:pt x="0" y="363"/>
                </a:cubicBezTo>
                <a:cubicBezTo>
                  <a:pt x="0" y="376"/>
                  <a:pt x="6" y="388"/>
                  <a:pt x="16" y="398"/>
                </a:cubicBezTo>
                <a:cubicBezTo>
                  <a:pt x="24" y="406"/>
                  <a:pt x="37" y="411"/>
                  <a:pt x="50" y="411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5" name="ïṡľïďé">
            <a:extLst>
              <a:ext uri="{FF2B5EF4-FFF2-40B4-BE49-F238E27FC236}">
                <a16:creationId xmlns:a16="http://schemas.microsoft.com/office/drawing/2014/main" id="{51540850-7D80-49CD-A4A2-809534618A2F}"/>
              </a:ext>
            </a:extLst>
          </p:cNvPr>
          <p:cNvSpPr/>
          <p:nvPr/>
        </p:nvSpPr>
        <p:spPr bwMode="auto">
          <a:xfrm>
            <a:off x="1616928" y="3556237"/>
            <a:ext cx="896204" cy="685530"/>
          </a:xfrm>
          <a:custGeom>
            <a:avLst/>
            <a:gdLst>
              <a:gd name="connsiteX0" fmla="*/ 361794 w 551492"/>
              <a:gd name="connsiteY0" fmla="*/ 308363 h 421851"/>
              <a:gd name="connsiteX1" fmla="*/ 530845 w 551492"/>
              <a:gd name="connsiteY1" fmla="*/ 308363 h 421851"/>
              <a:gd name="connsiteX2" fmla="*/ 551492 w 551492"/>
              <a:gd name="connsiteY2" fmla="*/ 329044 h 421851"/>
              <a:gd name="connsiteX3" fmla="*/ 551492 w 551492"/>
              <a:gd name="connsiteY3" fmla="*/ 362650 h 421851"/>
              <a:gd name="connsiteX4" fmla="*/ 530845 w 551492"/>
              <a:gd name="connsiteY4" fmla="*/ 383331 h 421851"/>
              <a:gd name="connsiteX5" fmla="*/ 378570 w 551492"/>
              <a:gd name="connsiteY5" fmla="*/ 383331 h 421851"/>
              <a:gd name="connsiteX6" fmla="*/ 378570 w 551492"/>
              <a:gd name="connsiteY6" fmla="*/ 369113 h 421851"/>
              <a:gd name="connsiteX7" fmla="*/ 361794 w 551492"/>
              <a:gd name="connsiteY7" fmla="*/ 308363 h 421851"/>
              <a:gd name="connsiteX8" fmla="*/ 313904 w 551492"/>
              <a:gd name="connsiteY8" fmla="*/ 172924 h 421851"/>
              <a:gd name="connsiteX9" fmla="*/ 530832 w 551492"/>
              <a:gd name="connsiteY9" fmla="*/ 172924 h 421851"/>
              <a:gd name="connsiteX10" fmla="*/ 551492 w 551492"/>
              <a:gd name="connsiteY10" fmla="*/ 193548 h 421851"/>
              <a:gd name="connsiteX11" fmla="*/ 551492 w 551492"/>
              <a:gd name="connsiteY11" fmla="*/ 225772 h 421851"/>
              <a:gd name="connsiteX12" fmla="*/ 530832 w 551492"/>
              <a:gd name="connsiteY12" fmla="*/ 247685 h 421851"/>
              <a:gd name="connsiteX13" fmla="*/ 271293 w 551492"/>
              <a:gd name="connsiteY13" fmla="*/ 247685 h 421851"/>
              <a:gd name="connsiteX14" fmla="*/ 271293 w 551492"/>
              <a:gd name="connsiteY14" fmla="*/ 227061 h 421851"/>
              <a:gd name="connsiteX15" fmla="*/ 272584 w 551492"/>
              <a:gd name="connsiteY15" fmla="*/ 224483 h 421851"/>
              <a:gd name="connsiteX16" fmla="*/ 313904 w 551492"/>
              <a:gd name="connsiteY16" fmla="*/ 172924 h 421851"/>
              <a:gd name="connsiteX17" fmla="*/ 281648 w 551492"/>
              <a:gd name="connsiteY17" fmla="*/ 36241 h 421851"/>
              <a:gd name="connsiteX18" fmla="*/ 530834 w 551492"/>
              <a:gd name="connsiteY18" fmla="*/ 36241 h 421851"/>
              <a:gd name="connsiteX19" fmla="*/ 551492 w 551492"/>
              <a:gd name="connsiteY19" fmla="*/ 58154 h 421851"/>
              <a:gd name="connsiteX20" fmla="*/ 551492 w 551492"/>
              <a:gd name="connsiteY20" fmla="*/ 90378 h 421851"/>
              <a:gd name="connsiteX21" fmla="*/ 530834 w 551492"/>
              <a:gd name="connsiteY21" fmla="*/ 111002 h 421851"/>
              <a:gd name="connsiteX22" fmla="*/ 308761 w 551492"/>
              <a:gd name="connsiteY22" fmla="*/ 111002 h 421851"/>
              <a:gd name="connsiteX23" fmla="*/ 295850 w 551492"/>
              <a:gd name="connsiteY23" fmla="*/ 96823 h 421851"/>
              <a:gd name="connsiteX24" fmla="*/ 281648 w 551492"/>
              <a:gd name="connsiteY24" fmla="*/ 36241 h 421851"/>
              <a:gd name="connsiteX25" fmla="*/ 176987 w 551492"/>
              <a:gd name="connsiteY25" fmla="*/ 0 h 421851"/>
              <a:gd name="connsiteX26" fmla="*/ 271294 w 551492"/>
              <a:gd name="connsiteY26" fmla="*/ 117396 h 421851"/>
              <a:gd name="connsiteX27" fmla="*/ 276461 w 551492"/>
              <a:gd name="connsiteY27" fmla="*/ 117396 h 421851"/>
              <a:gd name="connsiteX28" fmla="*/ 290672 w 551492"/>
              <a:gd name="connsiteY28" fmla="*/ 152228 h 421851"/>
              <a:gd name="connsiteX29" fmla="*/ 262251 w 551492"/>
              <a:gd name="connsiteY29" fmla="*/ 199960 h 421851"/>
              <a:gd name="connsiteX30" fmla="*/ 257083 w 551492"/>
              <a:gd name="connsiteY30" fmla="*/ 197380 h 421851"/>
              <a:gd name="connsiteX31" fmla="*/ 224786 w 551492"/>
              <a:gd name="connsiteY31" fmla="*/ 247692 h 421851"/>
              <a:gd name="connsiteX32" fmla="*/ 219619 w 551492"/>
              <a:gd name="connsiteY32" fmla="*/ 259303 h 421851"/>
              <a:gd name="connsiteX33" fmla="*/ 241581 w 551492"/>
              <a:gd name="connsiteY33" fmla="*/ 279944 h 421851"/>
              <a:gd name="connsiteX34" fmla="*/ 263543 w 551492"/>
              <a:gd name="connsiteY34" fmla="*/ 279944 h 421851"/>
              <a:gd name="connsiteX35" fmla="*/ 352682 w 551492"/>
              <a:gd name="connsiteY35" fmla="*/ 368958 h 421851"/>
              <a:gd name="connsiteX36" fmla="*/ 352682 w 551492"/>
              <a:gd name="connsiteY36" fmla="*/ 393470 h 421851"/>
              <a:gd name="connsiteX37" fmla="*/ 325553 w 551492"/>
              <a:gd name="connsiteY37" fmla="*/ 421851 h 421851"/>
              <a:gd name="connsiteX38" fmla="*/ 28421 w 551492"/>
              <a:gd name="connsiteY38" fmla="*/ 421851 h 421851"/>
              <a:gd name="connsiteX39" fmla="*/ 0 w 551492"/>
              <a:gd name="connsiteY39" fmla="*/ 393470 h 421851"/>
              <a:gd name="connsiteX40" fmla="*/ 0 w 551492"/>
              <a:gd name="connsiteY40" fmla="*/ 368958 h 421851"/>
              <a:gd name="connsiteX41" fmla="*/ 89139 w 551492"/>
              <a:gd name="connsiteY41" fmla="*/ 279944 h 421851"/>
              <a:gd name="connsiteX42" fmla="*/ 112393 w 551492"/>
              <a:gd name="connsiteY42" fmla="*/ 279944 h 421851"/>
              <a:gd name="connsiteX43" fmla="*/ 133063 w 551492"/>
              <a:gd name="connsiteY43" fmla="*/ 259303 h 421851"/>
              <a:gd name="connsiteX44" fmla="*/ 127896 w 551492"/>
              <a:gd name="connsiteY44" fmla="*/ 247692 h 421851"/>
              <a:gd name="connsiteX45" fmla="*/ 95599 w 551492"/>
              <a:gd name="connsiteY45" fmla="*/ 198670 h 421851"/>
              <a:gd name="connsiteX46" fmla="*/ 91723 w 551492"/>
              <a:gd name="connsiteY46" fmla="*/ 199960 h 421851"/>
              <a:gd name="connsiteX47" fmla="*/ 63302 w 551492"/>
              <a:gd name="connsiteY47" fmla="*/ 152228 h 421851"/>
              <a:gd name="connsiteX48" fmla="*/ 78804 w 551492"/>
              <a:gd name="connsiteY48" fmla="*/ 117396 h 421851"/>
              <a:gd name="connsiteX49" fmla="*/ 81388 w 551492"/>
              <a:gd name="connsiteY49" fmla="*/ 117396 h 421851"/>
              <a:gd name="connsiteX50" fmla="*/ 176987 w 551492"/>
              <a:gd name="connsiteY50" fmla="*/ 0 h 421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51492" h="421851">
                <a:moveTo>
                  <a:pt x="361794" y="308363"/>
                </a:moveTo>
                <a:lnTo>
                  <a:pt x="530845" y="308363"/>
                </a:lnTo>
                <a:cubicBezTo>
                  <a:pt x="541168" y="308363"/>
                  <a:pt x="551492" y="317411"/>
                  <a:pt x="551492" y="329044"/>
                </a:cubicBezTo>
                <a:lnTo>
                  <a:pt x="551492" y="362650"/>
                </a:lnTo>
                <a:cubicBezTo>
                  <a:pt x="551492" y="374283"/>
                  <a:pt x="541168" y="383331"/>
                  <a:pt x="530845" y="383331"/>
                </a:cubicBezTo>
                <a:lnTo>
                  <a:pt x="378570" y="383331"/>
                </a:lnTo>
                <a:lnTo>
                  <a:pt x="378570" y="369113"/>
                </a:lnTo>
                <a:cubicBezTo>
                  <a:pt x="378570" y="347140"/>
                  <a:pt x="372118" y="326459"/>
                  <a:pt x="361794" y="308363"/>
                </a:cubicBezTo>
                <a:close/>
                <a:moveTo>
                  <a:pt x="313904" y="172924"/>
                </a:moveTo>
                <a:lnTo>
                  <a:pt x="530832" y="172924"/>
                </a:lnTo>
                <a:cubicBezTo>
                  <a:pt x="541162" y="172924"/>
                  <a:pt x="551492" y="181947"/>
                  <a:pt x="551492" y="193548"/>
                </a:cubicBezTo>
                <a:lnTo>
                  <a:pt x="551492" y="225772"/>
                </a:lnTo>
                <a:cubicBezTo>
                  <a:pt x="551492" y="237373"/>
                  <a:pt x="541162" y="247685"/>
                  <a:pt x="530832" y="247685"/>
                </a:cubicBezTo>
                <a:lnTo>
                  <a:pt x="271293" y="247685"/>
                </a:lnTo>
                <a:lnTo>
                  <a:pt x="271293" y="227061"/>
                </a:lnTo>
                <a:cubicBezTo>
                  <a:pt x="271293" y="225772"/>
                  <a:pt x="272584" y="225772"/>
                  <a:pt x="272584" y="224483"/>
                </a:cubicBezTo>
                <a:cubicBezTo>
                  <a:pt x="293244" y="218038"/>
                  <a:pt x="307448" y="194837"/>
                  <a:pt x="313904" y="172924"/>
                </a:cubicBezTo>
                <a:close/>
                <a:moveTo>
                  <a:pt x="281648" y="36241"/>
                </a:moveTo>
                <a:lnTo>
                  <a:pt x="530834" y="36241"/>
                </a:lnTo>
                <a:cubicBezTo>
                  <a:pt x="541163" y="36241"/>
                  <a:pt x="551492" y="46553"/>
                  <a:pt x="551492" y="58154"/>
                </a:cubicBezTo>
                <a:lnTo>
                  <a:pt x="551492" y="90378"/>
                </a:lnTo>
                <a:cubicBezTo>
                  <a:pt x="551492" y="101979"/>
                  <a:pt x="541163" y="111002"/>
                  <a:pt x="530834" y="111002"/>
                </a:cubicBezTo>
                <a:lnTo>
                  <a:pt x="308761" y="111002"/>
                </a:lnTo>
                <a:cubicBezTo>
                  <a:pt x="304888" y="104557"/>
                  <a:pt x="301015" y="99401"/>
                  <a:pt x="295850" y="96823"/>
                </a:cubicBezTo>
                <a:cubicBezTo>
                  <a:pt x="293268" y="72333"/>
                  <a:pt x="288104" y="52998"/>
                  <a:pt x="281648" y="36241"/>
                </a:cubicBezTo>
                <a:close/>
                <a:moveTo>
                  <a:pt x="176987" y="0"/>
                </a:moveTo>
                <a:cubicBezTo>
                  <a:pt x="257083" y="0"/>
                  <a:pt x="270002" y="64503"/>
                  <a:pt x="271294" y="117396"/>
                </a:cubicBezTo>
                <a:cubicBezTo>
                  <a:pt x="272586" y="117396"/>
                  <a:pt x="273878" y="117396"/>
                  <a:pt x="276461" y="117396"/>
                </a:cubicBezTo>
                <a:cubicBezTo>
                  <a:pt x="289380" y="117396"/>
                  <a:pt x="290672" y="132877"/>
                  <a:pt x="290672" y="152228"/>
                </a:cubicBezTo>
                <a:cubicBezTo>
                  <a:pt x="290672" y="171579"/>
                  <a:pt x="275169" y="199960"/>
                  <a:pt x="262251" y="199960"/>
                </a:cubicBezTo>
                <a:cubicBezTo>
                  <a:pt x="260959" y="199960"/>
                  <a:pt x="258375" y="198670"/>
                  <a:pt x="257083" y="197380"/>
                </a:cubicBezTo>
                <a:cubicBezTo>
                  <a:pt x="249332" y="216731"/>
                  <a:pt x="237705" y="233502"/>
                  <a:pt x="224786" y="247692"/>
                </a:cubicBezTo>
                <a:cubicBezTo>
                  <a:pt x="220911" y="250272"/>
                  <a:pt x="219619" y="254143"/>
                  <a:pt x="219619" y="259303"/>
                </a:cubicBezTo>
                <a:cubicBezTo>
                  <a:pt x="219619" y="270913"/>
                  <a:pt x="228662" y="279944"/>
                  <a:pt x="241581" y="279944"/>
                </a:cubicBezTo>
                <a:lnTo>
                  <a:pt x="263543" y="279944"/>
                </a:lnTo>
                <a:cubicBezTo>
                  <a:pt x="312634" y="279944"/>
                  <a:pt x="352682" y="319936"/>
                  <a:pt x="352682" y="368958"/>
                </a:cubicBezTo>
                <a:lnTo>
                  <a:pt x="352682" y="393470"/>
                </a:lnTo>
                <a:cubicBezTo>
                  <a:pt x="352682" y="408950"/>
                  <a:pt x="341055" y="421851"/>
                  <a:pt x="325553" y="421851"/>
                </a:cubicBezTo>
                <a:lnTo>
                  <a:pt x="28421" y="421851"/>
                </a:lnTo>
                <a:cubicBezTo>
                  <a:pt x="12919" y="421851"/>
                  <a:pt x="0" y="408950"/>
                  <a:pt x="0" y="393470"/>
                </a:cubicBezTo>
                <a:lnTo>
                  <a:pt x="0" y="368958"/>
                </a:lnTo>
                <a:cubicBezTo>
                  <a:pt x="0" y="319936"/>
                  <a:pt x="40048" y="279944"/>
                  <a:pt x="89139" y="279944"/>
                </a:cubicBezTo>
                <a:lnTo>
                  <a:pt x="112393" y="279944"/>
                </a:lnTo>
                <a:cubicBezTo>
                  <a:pt x="124020" y="279944"/>
                  <a:pt x="133063" y="270913"/>
                  <a:pt x="133063" y="259303"/>
                </a:cubicBezTo>
                <a:cubicBezTo>
                  <a:pt x="133063" y="254143"/>
                  <a:pt x="131771" y="250272"/>
                  <a:pt x="127896" y="247692"/>
                </a:cubicBezTo>
                <a:cubicBezTo>
                  <a:pt x="114977" y="234792"/>
                  <a:pt x="104642" y="216731"/>
                  <a:pt x="95599" y="198670"/>
                </a:cubicBezTo>
                <a:cubicBezTo>
                  <a:pt x="94307" y="199960"/>
                  <a:pt x="93015" y="199960"/>
                  <a:pt x="91723" y="199960"/>
                </a:cubicBezTo>
                <a:cubicBezTo>
                  <a:pt x="78804" y="199960"/>
                  <a:pt x="63302" y="171579"/>
                  <a:pt x="63302" y="152228"/>
                </a:cubicBezTo>
                <a:cubicBezTo>
                  <a:pt x="63302" y="132877"/>
                  <a:pt x="65886" y="117396"/>
                  <a:pt x="78804" y="117396"/>
                </a:cubicBezTo>
                <a:cubicBezTo>
                  <a:pt x="80096" y="117396"/>
                  <a:pt x="80096" y="117396"/>
                  <a:pt x="81388" y="117396"/>
                </a:cubicBezTo>
                <a:cubicBezTo>
                  <a:pt x="82680" y="64503"/>
                  <a:pt x="93015" y="0"/>
                  <a:pt x="176987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/>
          </a:p>
        </p:txBody>
      </p:sp>
      <p:sp>
        <p:nvSpPr>
          <p:cNvPr id="16" name="iṥ1ïďé">
            <a:extLst>
              <a:ext uri="{FF2B5EF4-FFF2-40B4-BE49-F238E27FC236}">
                <a16:creationId xmlns:a16="http://schemas.microsoft.com/office/drawing/2014/main" id="{A5BC23A0-E8F2-44F4-A92A-165DB3DCB166}"/>
              </a:ext>
            </a:extLst>
          </p:cNvPr>
          <p:cNvSpPr/>
          <p:nvPr/>
        </p:nvSpPr>
        <p:spPr bwMode="auto">
          <a:xfrm>
            <a:off x="4681892" y="1705089"/>
            <a:ext cx="4784419" cy="92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2400" dirty="0"/>
              <a:t>RQ1: Distribution of Squatting Apps</a:t>
            </a:r>
          </a:p>
        </p:txBody>
      </p:sp>
      <p:sp>
        <p:nvSpPr>
          <p:cNvPr id="17" name="ïsḻíḍe">
            <a:extLst>
              <a:ext uri="{FF2B5EF4-FFF2-40B4-BE49-F238E27FC236}">
                <a16:creationId xmlns:a16="http://schemas.microsoft.com/office/drawing/2014/main" id="{C3B1800B-F1E7-4666-A918-2EB6D7F25899}"/>
              </a:ext>
            </a:extLst>
          </p:cNvPr>
          <p:cNvSpPr/>
          <p:nvPr/>
        </p:nvSpPr>
        <p:spPr bwMode="auto">
          <a:xfrm>
            <a:off x="5674791" y="3438278"/>
            <a:ext cx="5022112" cy="92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2200" dirty="0"/>
              <a:t>RQ2: App squatting vs. App Popularity</a:t>
            </a:r>
          </a:p>
        </p:txBody>
      </p:sp>
      <p:sp>
        <p:nvSpPr>
          <p:cNvPr id="18" name="îsļíḑè">
            <a:extLst>
              <a:ext uri="{FF2B5EF4-FFF2-40B4-BE49-F238E27FC236}">
                <a16:creationId xmlns:a16="http://schemas.microsoft.com/office/drawing/2014/main" id="{FF91143C-91F0-4145-B862-72464B0BDE8B}"/>
              </a:ext>
            </a:extLst>
          </p:cNvPr>
          <p:cNvSpPr/>
          <p:nvPr/>
        </p:nvSpPr>
        <p:spPr bwMode="auto">
          <a:xfrm>
            <a:off x="4681892" y="5319013"/>
            <a:ext cx="4784419" cy="92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2200" dirty="0"/>
              <a:t>RQ3: Malware Pres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0626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4AF965-87EF-4D8B-A4F4-35F8C971E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altLang="zh-CN" dirty="0"/>
              <a:t>Distribution of Squatting Apps</a:t>
            </a:r>
            <a:endParaRPr lang="zh-CN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71DDAC-01CA-48AC-A49D-8711C5039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7306FE-5C1F-47A6-A137-B40365E66D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172" y="2594349"/>
            <a:ext cx="5827859" cy="20883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C821938-6E2A-4C34-B2CE-EC625DF744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205" y="2199290"/>
            <a:ext cx="5425282" cy="280293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E3AE138-5AA9-48F6-9C82-954806FDCCA2}"/>
              </a:ext>
            </a:extLst>
          </p:cNvPr>
          <p:cNvSpPr txBox="1"/>
          <p:nvPr/>
        </p:nvSpPr>
        <p:spPr>
          <a:xfrm>
            <a:off x="2031781" y="5249869"/>
            <a:ext cx="19805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Z" altLang="zh-CN" sz="1800" b="0" i="0" u="none" strike="noStrike" baseline="0">
                <a:latin typeface="LinLibertineTBI"/>
              </a:rPr>
              <a:t>Fake vs. Squatting</a:t>
            </a:r>
            <a:endParaRPr lang="zh-CN" alt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EDF17C-A6FA-4C8B-962D-518B3C8DE3B0}"/>
              </a:ext>
            </a:extLst>
          </p:cNvPr>
          <p:cNvSpPr txBox="1"/>
          <p:nvPr/>
        </p:nvSpPr>
        <p:spPr>
          <a:xfrm>
            <a:off x="7179071" y="5249869"/>
            <a:ext cx="32575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Z" altLang="zh-CN" sz="1800" b="0" i="0" u="none" strike="noStrike" baseline="0" dirty="0">
                <a:latin typeface="LinLibertineTBI"/>
              </a:rPr>
              <a:t>Most Popular Squatting Pattern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924625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6F33F-C9E3-4F2E-B13F-301FB71B2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altLang="zh-CN" dirty="0"/>
              <a:t>Measuring Squatting Apps</a:t>
            </a:r>
            <a:endParaRPr lang="zh-CN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478320-51EA-4737-A2DF-6114B8F7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7" name="îṥļîḑe">
            <a:extLst>
              <a:ext uri="{FF2B5EF4-FFF2-40B4-BE49-F238E27FC236}">
                <a16:creationId xmlns:a16="http://schemas.microsoft.com/office/drawing/2014/main" id="{01D0A987-3A3C-4F7B-B7AE-6DFD2083A839}"/>
              </a:ext>
            </a:extLst>
          </p:cNvPr>
          <p:cNvSpPr/>
          <p:nvPr/>
        </p:nvSpPr>
        <p:spPr bwMode="auto">
          <a:xfrm>
            <a:off x="4142018" y="3228516"/>
            <a:ext cx="1338607" cy="1340974"/>
          </a:xfrm>
          <a:prstGeom prst="ellipse">
            <a:avLst/>
          </a:prstGeom>
          <a:blipFill>
            <a:blip r:embed="rId3"/>
            <a:stretch>
              <a:fillRect l="-89" r="-88"/>
            </a:stretch>
          </a:blip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ko-KR" altLang="en-US">
              <a:solidFill>
                <a:schemeClr val="lt1"/>
              </a:solidFill>
            </a:endParaRPr>
          </a:p>
        </p:txBody>
      </p:sp>
      <p:sp>
        <p:nvSpPr>
          <p:cNvPr id="8" name="ïş1ïdê">
            <a:extLst>
              <a:ext uri="{FF2B5EF4-FFF2-40B4-BE49-F238E27FC236}">
                <a16:creationId xmlns:a16="http://schemas.microsoft.com/office/drawing/2014/main" id="{BE8A4289-3922-4077-8DF8-51A5AA545945}"/>
              </a:ext>
            </a:extLst>
          </p:cNvPr>
          <p:cNvSpPr/>
          <p:nvPr/>
        </p:nvSpPr>
        <p:spPr bwMode="auto">
          <a:xfrm>
            <a:off x="3149119" y="4961704"/>
            <a:ext cx="1338607" cy="1340974"/>
          </a:xfrm>
          <a:prstGeom prst="ellipse">
            <a:avLst/>
          </a:prstGeom>
          <a:blipFill>
            <a:blip r:embed="rId4"/>
            <a:stretch>
              <a:fillRect l="-25371" r="-24894"/>
            </a:stretch>
          </a:blip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ko-KR" altLang="en-US">
              <a:solidFill>
                <a:schemeClr val="lt1"/>
              </a:solidFill>
            </a:endParaRPr>
          </a:p>
        </p:txBody>
      </p:sp>
      <p:sp>
        <p:nvSpPr>
          <p:cNvPr id="9" name="ïṩļïďe">
            <a:extLst>
              <a:ext uri="{FF2B5EF4-FFF2-40B4-BE49-F238E27FC236}">
                <a16:creationId xmlns:a16="http://schemas.microsoft.com/office/drawing/2014/main" id="{51B0B2F7-4797-4546-8BAC-127D41AA8DE2}"/>
              </a:ext>
            </a:extLst>
          </p:cNvPr>
          <p:cNvSpPr/>
          <p:nvPr/>
        </p:nvSpPr>
        <p:spPr bwMode="auto">
          <a:xfrm>
            <a:off x="3149119" y="1495327"/>
            <a:ext cx="1338607" cy="1340974"/>
          </a:xfrm>
          <a:prstGeom prst="ellipse">
            <a:avLst/>
          </a:prstGeom>
          <a:blipFill>
            <a:blip r:embed="rId5"/>
            <a:stretch>
              <a:fillRect l="-25371" r="-24894"/>
            </a:stretch>
          </a:blip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ko-KR" altLang="en-US">
              <a:solidFill>
                <a:schemeClr val="lt1"/>
              </a:solidFill>
            </a:endParaRPr>
          </a:p>
        </p:txBody>
      </p:sp>
      <p:sp>
        <p:nvSpPr>
          <p:cNvPr id="10" name="ïSļíďe">
            <a:extLst>
              <a:ext uri="{FF2B5EF4-FFF2-40B4-BE49-F238E27FC236}">
                <a16:creationId xmlns:a16="http://schemas.microsoft.com/office/drawing/2014/main" id="{D742DF66-09DB-4512-AAB3-4E2E991C52F6}"/>
              </a:ext>
            </a:extLst>
          </p:cNvPr>
          <p:cNvSpPr/>
          <p:nvPr/>
        </p:nvSpPr>
        <p:spPr>
          <a:xfrm>
            <a:off x="1174531" y="3008502"/>
            <a:ext cx="1781001" cy="1781001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12" name="išlîḓè">
            <a:extLst>
              <a:ext uri="{FF2B5EF4-FFF2-40B4-BE49-F238E27FC236}">
                <a16:creationId xmlns:a16="http://schemas.microsoft.com/office/drawing/2014/main" id="{6597703F-87E2-4EB5-940C-D13837759451}"/>
              </a:ext>
            </a:extLst>
          </p:cNvPr>
          <p:cNvSpPr/>
          <p:nvPr/>
        </p:nvSpPr>
        <p:spPr bwMode="auto">
          <a:xfrm>
            <a:off x="2613497" y="3716180"/>
            <a:ext cx="1258880" cy="365643"/>
          </a:xfrm>
          <a:custGeom>
            <a:avLst/>
            <a:gdLst>
              <a:gd name="T0" fmla="*/ 881 w 881"/>
              <a:gd name="T1" fmla="*/ 129 h 257"/>
              <a:gd name="T2" fmla="*/ 711 w 881"/>
              <a:gd name="T3" fmla="*/ 0 h 257"/>
              <a:gd name="T4" fmla="*/ 711 w 881"/>
              <a:gd name="T5" fmla="*/ 79 h 257"/>
              <a:gd name="T6" fmla="*/ 50 w 881"/>
              <a:gd name="T7" fmla="*/ 79 h 257"/>
              <a:gd name="T8" fmla="*/ 0 w 881"/>
              <a:gd name="T9" fmla="*/ 129 h 257"/>
              <a:gd name="T10" fmla="*/ 50 w 881"/>
              <a:gd name="T11" fmla="*/ 178 h 257"/>
              <a:gd name="T12" fmla="*/ 711 w 881"/>
              <a:gd name="T13" fmla="*/ 178 h 257"/>
              <a:gd name="T14" fmla="*/ 711 w 881"/>
              <a:gd name="T15" fmla="*/ 257 h 257"/>
              <a:gd name="T16" fmla="*/ 881 w 881"/>
              <a:gd name="T17" fmla="*/ 129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81" h="257">
                <a:moveTo>
                  <a:pt x="881" y="129"/>
                </a:moveTo>
                <a:cubicBezTo>
                  <a:pt x="711" y="0"/>
                  <a:pt x="711" y="0"/>
                  <a:pt x="711" y="0"/>
                </a:cubicBezTo>
                <a:cubicBezTo>
                  <a:pt x="711" y="79"/>
                  <a:pt x="711" y="79"/>
                  <a:pt x="711" y="79"/>
                </a:cubicBezTo>
                <a:cubicBezTo>
                  <a:pt x="50" y="79"/>
                  <a:pt x="50" y="79"/>
                  <a:pt x="50" y="79"/>
                </a:cubicBezTo>
                <a:cubicBezTo>
                  <a:pt x="21" y="79"/>
                  <a:pt x="0" y="100"/>
                  <a:pt x="0" y="129"/>
                </a:cubicBezTo>
                <a:cubicBezTo>
                  <a:pt x="0" y="153"/>
                  <a:pt x="20" y="178"/>
                  <a:pt x="50" y="178"/>
                </a:cubicBezTo>
                <a:cubicBezTo>
                  <a:pt x="711" y="178"/>
                  <a:pt x="711" y="178"/>
                  <a:pt x="711" y="178"/>
                </a:cubicBezTo>
                <a:cubicBezTo>
                  <a:pt x="711" y="257"/>
                  <a:pt x="711" y="257"/>
                  <a:pt x="711" y="257"/>
                </a:cubicBezTo>
                <a:lnTo>
                  <a:pt x="881" y="129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ïśḷïḑé">
            <a:extLst>
              <a:ext uri="{FF2B5EF4-FFF2-40B4-BE49-F238E27FC236}">
                <a16:creationId xmlns:a16="http://schemas.microsoft.com/office/drawing/2014/main" id="{A89E37C9-BB57-4335-ADBD-87FAD8251829}"/>
              </a:ext>
            </a:extLst>
          </p:cNvPr>
          <p:cNvSpPr/>
          <p:nvPr/>
        </p:nvSpPr>
        <p:spPr bwMode="auto">
          <a:xfrm>
            <a:off x="2449040" y="4373170"/>
            <a:ext cx="596048" cy="588535"/>
          </a:xfrm>
          <a:custGeom>
            <a:avLst/>
            <a:gdLst>
              <a:gd name="T0" fmla="*/ 330 w 417"/>
              <a:gd name="T1" fmla="*/ 259 h 413"/>
              <a:gd name="T2" fmla="*/ 87 w 417"/>
              <a:gd name="T3" fmla="*/ 20 h 413"/>
              <a:gd name="T4" fmla="*/ 16 w 417"/>
              <a:gd name="T5" fmla="*/ 20 h 413"/>
              <a:gd name="T6" fmla="*/ 0 w 417"/>
              <a:gd name="T7" fmla="*/ 52 h 413"/>
              <a:gd name="T8" fmla="*/ 16 w 417"/>
              <a:gd name="T9" fmla="*/ 91 h 413"/>
              <a:gd name="T10" fmla="*/ 258 w 417"/>
              <a:gd name="T11" fmla="*/ 329 h 413"/>
              <a:gd name="T12" fmla="*/ 204 w 417"/>
              <a:gd name="T13" fmla="*/ 383 h 413"/>
              <a:gd name="T14" fmla="*/ 417 w 417"/>
              <a:gd name="T15" fmla="*/ 413 h 413"/>
              <a:gd name="T16" fmla="*/ 387 w 417"/>
              <a:gd name="T17" fmla="*/ 203 h 413"/>
              <a:gd name="T18" fmla="*/ 330 w 417"/>
              <a:gd name="T19" fmla="*/ 259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7" h="413">
                <a:moveTo>
                  <a:pt x="330" y="259"/>
                </a:moveTo>
                <a:cubicBezTo>
                  <a:pt x="87" y="20"/>
                  <a:pt x="87" y="20"/>
                  <a:pt x="87" y="20"/>
                </a:cubicBezTo>
                <a:cubicBezTo>
                  <a:pt x="66" y="0"/>
                  <a:pt x="37" y="0"/>
                  <a:pt x="16" y="20"/>
                </a:cubicBezTo>
                <a:cubicBezTo>
                  <a:pt x="7" y="27"/>
                  <a:pt x="1" y="39"/>
                  <a:pt x="0" y="52"/>
                </a:cubicBezTo>
                <a:cubicBezTo>
                  <a:pt x="0" y="66"/>
                  <a:pt x="5" y="80"/>
                  <a:pt x="16" y="91"/>
                </a:cubicBezTo>
                <a:cubicBezTo>
                  <a:pt x="258" y="329"/>
                  <a:pt x="258" y="329"/>
                  <a:pt x="258" y="329"/>
                </a:cubicBezTo>
                <a:cubicBezTo>
                  <a:pt x="204" y="383"/>
                  <a:pt x="204" y="383"/>
                  <a:pt x="204" y="383"/>
                </a:cubicBezTo>
                <a:cubicBezTo>
                  <a:pt x="417" y="413"/>
                  <a:pt x="417" y="413"/>
                  <a:pt x="417" y="413"/>
                </a:cubicBezTo>
                <a:cubicBezTo>
                  <a:pt x="387" y="203"/>
                  <a:pt x="387" y="203"/>
                  <a:pt x="387" y="203"/>
                </a:cubicBezTo>
                <a:lnTo>
                  <a:pt x="330" y="259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4" name="îśḻiďê">
            <a:extLst>
              <a:ext uri="{FF2B5EF4-FFF2-40B4-BE49-F238E27FC236}">
                <a16:creationId xmlns:a16="http://schemas.microsoft.com/office/drawing/2014/main" id="{1345DD23-D788-42DD-B075-FDB5B3BD65B0}"/>
              </a:ext>
            </a:extLst>
          </p:cNvPr>
          <p:cNvSpPr/>
          <p:nvPr/>
        </p:nvSpPr>
        <p:spPr bwMode="auto">
          <a:xfrm>
            <a:off x="2449040" y="2836301"/>
            <a:ext cx="596048" cy="588535"/>
          </a:xfrm>
          <a:custGeom>
            <a:avLst/>
            <a:gdLst>
              <a:gd name="T0" fmla="*/ 50 w 417"/>
              <a:gd name="T1" fmla="*/ 411 h 411"/>
              <a:gd name="T2" fmla="*/ 87 w 417"/>
              <a:gd name="T3" fmla="*/ 398 h 411"/>
              <a:gd name="T4" fmla="*/ 330 w 417"/>
              <a:gd name="T5" fmla="*/ 157 h 411"/>
              <a:gd name="T6" fmla="*/ 387 w 417"/>
              <a:gd name="T7" fmla="*/ 210 h 411"/>
              <a:gd name="T8" fmla="*/ 417 w 417"/>
              <a:gd name="T9" fmla="*/ 0 h 411"/>
              <a:gd name="T10" fmla="*/ 205 w 417"/>
              <a:gd name="T11" fmla="*/ 30 h 411"/>
              <a:gd name="T12" fmla="*/ 259 w 417"/>
              <a:gd name="T13" fmla="*/ 86 h 411"/>
              <a:gd name="T14" fmla="*/ 16 w 417"/>
              <a:gd name="T15" fmla="*/ 327 h 411"/>
              <a:gd name="T16" fmla="*/ 0 w 417"/>
              <a:gd name="T17" fmla="*/ 363 h 411"/>
              <a:gd name="T18" fmla="*/ 16 w 417"/>
              <a:gd name="T19" fmla="*/ 398 h 411"/>
              <a:gd name="T20" fmla="*/ 50 w 417"/>
              <a:gd name="T21" fmla="*/ 411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17" h="411">
                <a:moveTo>
                  <a:pt x="50" y="411"/>
                </a:moveTo>
                <a:cubicBezTo>
                  <a:pt x="66" y="411"/>
                  <a:pt x="78" y="407"/>
                  <a:pt x="87" y="398"/>
                </a:cubicBezTo>
                <a:cubicBezTo>
                  <a:pt x="330" y="157"/>
                  <a:pt x="330" y="157"/>
                  <a:pt x="330" y="157"/>
                </a:cubicBezTo>
                <a:cubicBezTo>
                  <a:pt x="387" y="210"/>
                  <a:pt x="387" y="210"/>
                  <a:pt x="387" y="210"/>
                </a:cubicBezTo>
                <a:cubicBezTo>
                  <a:pt x="417" y="0"/>
                  <a:pt x="417" y="0"/>
                  <a:pt x="417" y="0"/>
                </a:cubicBezTo>
                <a:cubicBezTo>
                  <a:pt x="205" y="30"/>
                  <a:pt x="205" y="30"/>
                  <a:pt x="205" y="30"/>
                </a:cubicBezTo>
                <a:cubicBezTo>
                  <a:pt x="259" y="86"/>
                  <a:pt x="259" y="86"/>
                  <a:pt x="259" y="86"/>
                </a:cubicBezTo>
                <a:cubicBezTo>
                  <a:pt x="16" y="327"/>
                  <a:pt x="16" y="327"/>
                  <a:pt x="16" y="327"/>
                </a:cubicBezTo>
                <a:cubicBezTo>
                  <a:pt x="6" y="337"/>
                  <a:pt x="0" y="350"/>
                  <a:pt x="0" y="363"/>
                </a:cubicBezTo>
                <a:cubicBezTo>
                  <a:pt x="0" y="376"/>
                  <a:pt x="6" y="388"/>
                  <a:pt x="16" y="398"/>
                </a:cubicBezTo>
                <a:cubicBezTo>
                  <a:pt x="24" y="406"/>
                  <a:pt x="37" y="411"/>
                  <a:pt x="50" y="411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5" name="ïṡľïďé">
            <a:extLst>
              <a:ext uri="{FF2B5EF4-FFF2-40B4-BE49-F238E27FC236}">
                <a16:creationId xmlns:a16="http://schemas.microsoft.com/office/drawing/2014/main" id="{51540850-7D80-49CD-A4A2-809534618A2F}"/>
              </a:ext>
            </a:extLst>
          </p:cNvPr>
          <p:cNvSpPr/>
          <p:nvPr/>
        </p:nvSpPr>
        <p:spPr bwMode="auto">
          <a:xfrm>
            <a:off x="1616928" y="3556237"/>
            <a:ext cx="896204" cy="685530"/>
          </a:xfrm>
          <a:custGeom>
            <a:avLst/>
            <a:gdLst>
              <a:gd name="connsiteX0" fmla="*/ 361794 w 551492"/>
              <a:gd name="connsiteY0" fmla="*/ 308363 h 421851"/>
              <a:gd name="connsiteX1" fmla="*/ 530845 w 551492"/>
              <a:gd name="connsiteY1" fmla="*/ 308363 h 421851"/>
              <a:gd name="connsiteX2" fmla="*/ 551492 w 551492"/>
              <a:gd name="connsiteY2" fmla="*/ 329044 h 421851"/>
              <a:gd name="connsiteX3" fmla="*/ 551492 w 551492"/>
              <a:gd name="connsiteY3" fmla="*/ 362650 h 421851"/>
              <a:gd name="connsiteX4" fmla="*/ 530845 w 551492"/>
              <a:gd name="connsiteY4" fmla="*/ 383331 h 421851"/>
              <a:gd name="connsiteX5" fmla="*/ 378570 w 551492"/>
              <a:gd name="connsiteY5" fmla="*/ 383331 h 421851"/>
              <a:gd name="connsiteX6" fmla="*/ 378570 w 551492"/>
              <a:gd name="connsiteY6" fmla="*/ 369113 h 421851"/>
              <a:gd name="connsiteX7" fmla="*/ 361794 w 551492"/>
              <a:gd name="connsiteY7" fmla="*/ 308363 h 421851"/>
              <a:gd name="connsiteX8" fmla="*/ 313904 w 551492"/>
              <a:gd name="connsiteY8" fmla="*/ 172924 h 421851"/>
              <a:gd name="connsiteX9" fmla="*/ 530832 w 551492"/>
              <a:gd name="connsiteY9" fmla="*/ 172924 h 421851"/>
              <a:gd name="connsiteX10" fmla="*/ 551492 w 551492"/>
              <a:gd name="connsiteY10" fmla="*/ 193548 h 421851"/>
              <a:gd name="connsiteX11" fmla="*/ 551492 w 551492"/>
              <a:gd name="connsiteY11" fmla="*/ 225772 h 421851"/>
              <a:gd name="connsiteX12" fmla="*/ 530832 w 551492"/>
              <a:gd name="connsiteY12" fmla="*/ 247685 h 421851"/>
              <a:gd name="connsiteX13" fmla="*/ 271293 w 551492"/>
              <a:gd name="connsiteY13" fmla="*/ 247685 h 421851"/>
              <a:gd name="connsiteX14" fmla="*/ 271293 w 551492"/>
              <a:gd name="connsiteY14" fmla="*/ 227061 h 421851"/>
              <a:gd name="connsiteX15" fmla="*/ 272584 w 551492"/>
              <a:gd name="connsiteY15" fmla="*/ 224483 h 421851"/>
              <a:gd name="connsiteX16" fmla="*/ 313904 w 551492"/>
              <a:gd name="connsiteY16" fmla="*/ 172924 h 421851"/>
              <a:gd name="connsiteX17" fmla="*/ 281648 w 551492"/>
              <a:gd name="connsiteY17" fmla="*/ 36241 h 421851"/>
              <a:gd name="connsiteX18" fmla="*/ 530834 w 551492"/>
              <a:gd name="connsiteY18" fmla="*/ 36241 h 421851"/>
              <a:gd name="connsiteX19" fmla="*/ 551492 w 551492"/>
              <a:gd name="connsiteY19" fmla="*/ 58154 h 421851"/>
              <a:gd name="connsiteX20" fmla="*/ 551492 w 551492"/>
              <a:gd name="connsiteY20" fmla="*/ 90378 h 421851"/>
              <a:gd name="connsiteX21" fmla="*/ 530834 w 551492"/>
              <a:gd name="connsiteY21" fmla="*/ 111002 h 421851"/>
              <a:gd name="connsiteX22" fmla="*/ 308761 w 551492"/>
              <a:gd name="connsiteY22" fmla="*/ 111002 h 421851"/>
              <a:gd name="connsiteX23" fmla="*/ 295850 w 551492"/>
              <a:gd name="connsiteY23" fmla="*/ 96823 h 421851"/>
              <a:gd name="connsiteX24" fmla="*/ 281648 w 551492"/>
              <a:gd name="connsiteY24" fmla="*/ 36241 h 421851"/>
              <a:gd name="connsiteX25" fmla="*/ 176987 w 551492"/>
              <a:gd name="connsiteY25" fmla="*/ 0 h 421851"/>
              <a:gd name="connsiteX26" fmla="*/ 271294 w 551492"/>
              <a:gd name="connsiteY26" fmla="*/ 117396 h 421851"/>
              <a:gd name="connsiteX27" fmla="*/ 276461 w 551492"/>
              <a:gd name="connsiteY27" fmla="*/ 117396 h 421851"/>
              <a:gd name="connsiteX28" fmla="*/ 290672 w 551492"/>
              <a:gd name="connsiteY28" fmla="*/ 152228 h 421851"/>
              <a:gd name="connsiteX29" fmla="*/ 262251 w 551492"/>
              <a:gd name="connsiteY29" fmla="*/ 199960 h 421851"/>
              <a:gd name="connsiteX30" fmla="*/ 257083 w 551492"/>
              <a:gd name="connsiteY30" fmla="*/ 197380 h 421851"/>
              <a:gd name="connsiteX31" fmla="*/ 224786 w 551492"/>
              <a:gd name="connsiteY31" fmla="*/ 247692 h 421851"/>
              <a:gd name="connsiteX32" fmla="*/ 219619 w 551492"/>
              <a:gd name="connsiteY32" fmla="*/ 259303 h 421851"/>
              <a:gd name="connsiteX33" fmla="*/ 241581 w 551492"/>
              <a:gd name="connsiteY33" fmla="*/ 279944 h 421851"/>
              <a:gd name="connsiteX34" fmla="*/ 263543 w 551492"/>
              <a:gd name="connsiteY34" fmla="*/ 279944 h 421851"/>
              <a:gd name="connsiteX35" fmla="*/ 352682 w 551492"/>
              <a:gd name="connsiteY35" fmla="*/ 368958 h 421851"/>
              <a:gd name="connsiteX36" fmla="*/ 352682 w 551492"/>
              <a:gd name="connsiteY36" fmla="*/ 393470 h 421851"/>
              <a:gd name="connsiteX37" fmla="*/ 325553 w 551492"/>
              <a:gd name="connsiteY37" fmla="*/ 421851 h 421851"/>
              <a:gd name="connsiteX38" fmla="*/ 28421 w 551492"/>
              <a:gd name="connsiteY38" fmla="*/ 421851 h 421851"/>
              <a:gd name="connsiteX39" fmla="*/ 0 w 551492"/>
              <a:gd name="connsiteY39" fmla="*/ 393470 h 421851"/>
              <a:gd name="connsiteX40" fmla="*/ 0 w 551492"/>
              <a:gd name="connsiteY40" fmla="*/ 368958 h 421851"/>
              <a:gd name="connsiteX41" fmla="*/ 89139 w 551492"/>
              <a:gd name="connsiteY41" fmla="*/ 279944 h 421851"/>
              <a:gd name="connsiteX42" fmla="*/ 112393 w 551492"/>
              <a:gd name="connsiteY42" fmla="*/ 279944 h 421851"/>
              <a:gd name="connsiteX43" fmla="*/ 133063 w 551492"/>
              <a:gd name="connsiteY43" fmla="*/ 259303 h 421851"/>
              <a:gd name="connsiteX44" fmla="*/ 127896 w 551492"/>
              <a:gd name="connsiteY44" fmla="*/ 247692 h 421851"/>
              <a:gd name="connsiteX45" fmla="*/ 95599 w 551492"/>
              <a:gd name="connsiteY45" fmla="*/ 198670 h 421851"/>
              <a:gd name="connsiteX46" fmla="*/ 91723 w 551492"/>
              <a:gd name="connsiteY46" fmla="*/ 199960 h 421851"/>
              <a:gd name="connsiteX47" fmla="*/ 63302 w 551492"/>
              <a:gd name="connsiteY47" fmla="*/ 152228 h 421851"/>
              <a:gd name="connsiteX48" fmla="*/ 78804 w 551492"/>
              <a:gd name="connsiteY48" fmla="*/ 117396 h 421851"/>
              <a:gd name="connsiteX49" fmla="*/ 81388 w 551492"/>
              <a:gd name="connsiteY49" fmla="*/ 117396 h 421851"/>
              <a:gd name="connsiteX50" fmla="*/ 176987 w 551492"/>
              <a:gd name="connsiteY50" fmla="*/ 0 h 421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51492" h="421851">
                <a:moveTo>
                  <a:pt x="361794" y="308363"/>
                </a:moveTo>
                <a:lnTo>
                  <a:pt x="530845" y="308363"/>
                </a:lnTo>
                <a:cubicBezTo>
                  <a:pt x="541168" y="308363"/>
                  <a:pt x="551492" y="317411"/>
                  <a:pt x="551492" y="329044"/>
                </a:cubicBezTo>
                <a:lnTo>
                  <a:pt x="551492" y="362650"/>
                </a:lnTo>
                <a:cubicBezTo>
                  <a:pt x="551492" y="374283"/>
                  <a:pt x="541168" y="383331"/>
                  <a:pt x="530845" y="383331"/>
                </a:cubicBezTo>
                <a:lnTo>
                  <a:pt x="378570" y="383331"/>
                </a:lnTo>
                <a:lnTo>
                  <a:pt x="378570" y="369113"/>
                </a:lnTo>
                <a:cubicBezTo>
                  <a:pt x="378570" y="347140"/>
                  <a:pt x="372118" y="326459"/>
                  <a:pt x="361794" y="308363"/>
                </a:cubicBezTo>
                <a:close/>
                <a:moveTo>
                  <a:pt x="313904" y="172924"/>
                </a:moveTo>
                <a:lnTo>
                  <a:pt x="530832" y="172924"/>
                </a:lnTo>
                <a:cubicBezTo>
                  <a:pt x="541162" y="172924"/>
                  <a:pt x="551492" y="181947"/>
                  <a:pt x="551492" y="193548"/>
                </a:cubicBezTo>
                <a:lnTo>
                  <a:pt x="551492" y="225772"/>
                </a:lnTo>
                <a:cubicBezTo>
                  <a:pt x="551492" y="237373"/>
                  <a:pt x="541162" y="247685"/>
                  <a:pt x="530832" y="247685"/>
                </a:cubicBezTo>
                <a:lnTo>
                  <a:pt x="271293" y="247685"/>
                </a:lnTo>
                <a:lnTo>
                  <a:pt x="271293" y="227061"/>
                </a:lnTo>
                <a:cubicBezTo>
                  <a:pt x="271293" y="225772"/>
                  <a:pt x="272584" y="225772"/>
                  <a:pt x="272584" y="224483"/>
                </a:cubicBezTo>
                <a:cubicBezTo>
                  <a:pt x="293244" y="218038"/>
                  <a:pt x="307448" y="194837"/>
                  <a:pt x="313904" y="172924"/>
                </a:cubicBezTo>
                <a:close/>
                <a:moveTo>
                  <a:pt x="281648" y="36241"/>
                </a:moveTo>
                <a:lnTo>
                  <a:pt x="530834" y="36241"/>
                </a:lnTo>
                <a:cubicBezTo>
                  <a:pt x="541163" y="36241"/>
                  <a:pt x="551492" y="46553"/>
                  <a:pt x="551492" y="58154"/>
                </a:cubicBezTo>
                <a:lnTo>
                  <a:pt x="551492" y="90378"/>
                </a:lnTo>
                <a:cubicBezTo>
                  <a:pt x="551492" y="101979"/>
                  <a:pt x="541163" y="111002"/>
                  <a:pt x="530834" y="111002"/>
                </a:cubicBezTo>
                <a:lnTo>
                  <a:pt x="308761" y="111002"/>
                </a:lnTo>
                <a:cubicBezTo>
                  <a:pt x="304888" y="104557"/>
                  <a:pt x="301015" y="99401"/>
                  <a:pt x="295850" y="96823"/>
                </a:cubicBezTo>
                <a:cubicBezTo>
                  <a:pt x="293268" y="72333"/>
                  <a:pt x="288104" y="52998"/>
                  <a:pt x="281648" y="36241"/>
                </a:cubicBezTo>
                <a:close/>
                <a:moveTo>
                  <a:pt x="176987" y="0"/>
                </a:moveTo>
                <a:cubicBezTo>
                  <a:pt x="257083" y="0"/>
                  <a:pt x="270002" y="64503"/>
                  <a:pt x="271294" y="117396"/>
                </a:cubicBezTo>
                <a:cubicBezTo>
                  <a:pt x="272586" y="117396"/>
                  <a:pt x="273878" y="117396"/>
                  <a:pt x="276461" y="117396"/>
                </a:cubicBezTo>
                <a:cubicBezTo>
                  <a:pt x="289380" y="117396"/>
                  <a:pt x="290672" y="132877"/>
                  <a:pt x="290672" y="152228"/>
                </a:cubicBezTo>
                <a:cubicBezTo>
                  <a:pt x="290672" y="171579"/>
                  <a:pt x="275169" y="199960"/>
                  <a:pt x="262251" y="199960"/>
                </a:cubicBezTo>
                <a:cubicBezTo>
                  <a:pt x="260959" y="199960"/>
                  <a:pt x="258375" y="198670"/>
                  <a:pt x="257083" y="197380"/>
                </a:cubicBezTo>
                <a:cubicBezTo>
                  <a:pt x="249332" y="216731"/>
                  <a:pt x="237705" y="233502"/>
                  <a:pt x="224786" y="247692"/>
                </a:cubicBezTo>
                <a:cubicBezTo>
                  <a:pt x="220911" y="250272"/>
                  <a:pt x="219619" y="254143"/>
                  <a:pt x="219619" y="259303"/>
                </a:cubicBezTo>
                <a:cubicBezTo>
                  <a:pt x="219619" y="270913"/>
                  <a:pt x="228662" y="279944"/>
                  <a:pt x="241581" y="279944"/>
                </a:cubicBezTo>
                <a:lnTo>
                  <a:pt x="263543" y="279944"/>
                </a:lnTo>
                <a:cubicBezTo>
                  <a:pt x="312634" y="279944"/>
                  <a:pt x="352682" y="319936"/>
                  <a:pt x="352682" y="368958"/>
                </a:cubicBezTo>
                <a:lnTo>
                  <a:pt x="352682" y="393470"/>
                </a:lnTo>
                <a:cubicBezTo>
                  <a:pt x="352682" y="408950"/>
                  <a:pt x="341055" y="421851"/>
                  <a:pt x="325553" y="421851"/>
                </a:cubicBezTo>
                <a:lnTo>
                  <a:pt x="28421" y="421851"/>
                </a:lnTo>
                <a:cubicBezTo>
                  <a:pt x="12919" y="421851"/>
                  <a:pt x="0" y="408950"/>
                  <a:pt x="0" y="393470"/>
                </a:cubicBezTo>
                <a:lnTo>
                  <a:pt x="0" y="368958"/>
                </a:lnTo>
                <a:cubicBezTo>
                  <a:pt x="0" y="319936"/>
                  <a:pt x="40048" y="279944"/>
                  <a:pt x="89139" y="279944"/>
                </a:cubicBezTo>
                <a:lnTo>
                  <a:pt x="112393" y="279944"/>
                </a:lnTo>
                <a:cubicBezTo>
                  <a:pt x="124020" y="279944"/>
                  <a:pt x="133063" y="270913"/>
                  <a:pt x="133063" y="259303"/>
                </a:cubicBezTo>
                <a:cubicBezTo>
                  <a:pt x="133063" y="254143"/>
                  <a:pt x="131771" y="250272"/>
                  <a:pt x="127896" y="247692"/>
                </a:cubicBezTo>
                <a:cubicBezTo>
                  <a:pt x="114977" y="234792"/>
                  <a:pt x="104642" y="216731"/>
                  <a:pt x="95599" y="198670"/>
                </a:cubicBezTo>
                <a:cubicBezTo>
                  <a:pt x="94307" y="199960"/>
                  <a:pt x="93015" y="199960"/>
                  <a:pt x="91723" y="199960"/>
                </a:cubicBezTo>
                <a:cubicBezTo>
                  <a:pt x="78804" y="199960"/>
                  <a:pt x="63302" y="171579"/>
                  <a:pt x="63302" y="152228"/>
                </a:cubicBezTo>
                <a:cubicBezTo>
                  <a:pt x="63302" y="132877"/>
                  <a:pt x="65886" y="117396"/>
                  <a:pt x="78804" y="117396"/>
                </a:cubicBezTo>
                <a:cubicBezTo>
                  <a:pt x="80096" y="117396"/>
                  <a:pt x="80096" y="117396"/>
                  <a:pt x="81388" y="117396"/>
                </a:cubicBezTo>
                <a:cubicBezTo>
                  <a:pt x="82680" y="64503"/>
                  <a:pt x="93015" y="0"/>
                  <a:pt x="176987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/>
          </a:p>
        </p:txBody>
      </p:sp>
      <p:sp>
        <p:nvSpPr>
          <p:cNvPr id="16" name="iṥ1ïďé">
            <a:extLst>
              <a:ext uri="{FF2B5EF4-FFF2-40B4-BE49-F238E27FC236}">
                <a16:creationId xmlns:a16="http://schemas.microsoft.com/office/drawing/2014/main" id="{A5BC23A0-E8F2-44F4-A92A-165DB3DCB166}"/>
              </a:ext>
            </a:extLst>
          </p:cNvPr>
          <p:cNvSpPr/>
          <p:nvPr/>
        </p:nvSpPr>
        <p:spPr bwMode="auto">
          <a:xfrm>
            <a:off x="4681892" y="1705089"/>
            <a:ext cx="4784419" cy="92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2400" dirty="0"/>
              <a:t>RQ1: Distribution of Squatting Apps</a:t>
            </a:r>
          </a:p>
        </p:txBody>
      </p:sp>
      <p:sp>
        <p:nvSpPr>
          <p:cNvPr id="17" name="ïsḻíḍe">
            <a:extLst>
              <a:ext uri="{FF2B5EF4-FFF2-40B4-BE49-F238E27FC236}">
                <a16:creationId xmlns:a16="http://schemas.microsoft.com/office/drawing/2014/main" id="{C3B1800B-F1E7-4666-A918-2EB6D7F25899}"/>
              </a:ext>
            </a:extLst>
          </p:cNvPr>
          <p:cNvSpPr/>
          <p:nvPr/>
        </p:nvSpPr>
        <p:spPr bwMode="auto">
          <a:xfrm>
            <a:off x="5674791" y="3438278"/>
            <a:ext cx="5022112" cy="92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2200" dirty="0"/>
              <a:t>RQ2: App squatting vs. App Popularity</a:t>
            </a:r>
          </a:p>
        </p:txBody>
      </p:sp>
      <p:sp>
        <p:nvSpPr>
          <p:cNvPr id="18" name="îsļíḑè">
            <a:extLst>
              <a:ext uri="{FF2B5EF4-FFF2-40B4-BE49-F238E27FC236}">
                <a16:creationId xmlns:a16="http://schemas.microsoft.com/office/drawing/2014/main" id="{FF91143C-91F0-4145-B862-72464B0BDE8B}"/>
              </a:ext>
            </a:extLst>
          </p:cNvPr>
          <p:cNvSpPr/>
          <p:nvPr/>
        </p:nvSpPr>
        <p:spPr bwMode="auto">
          <a:xfrm>
            <a:off x="4681892" y="5319013"/>
            <a:ext cx="4784419" cy="92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2200" dirty="0"/>
              <a:t>RQ3: Malware Pres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9884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603924-E5F9-4C60-9474-D48E35AEC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A0BBE3B-D474-40F0-9A3A-69148CC053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5" y="0"/>
            <a:ext cx="10850563" cy="1028700"/>
          </a:xfrm>
        </p:spPr>
        <p:txBody>
          <a:bodyPr/>
          <a:lstStyle/>
          <a:p>
            <a:r>
              <a:rPr lang="en-US" altLang="zh-CN" dirty="0"/>
              <a:t>App squatting vs. App Popularity</a:t>
            </a:r>
            <a:endParaRPr lang="zh-CN" alt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369F44B-ABF9-4EC2-A0F7-15B99C96DD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7728" y="1350169"/>
            <a:ext cx="6176543" cy="454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6871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6F33F-C9E3-4F2E-B13F-301FB71B2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altLang="zh-CN" dirty="0"/>
              <a:t>Measuring Squatting Apps</a:t>
            </a:r>
            <a:endParaRPr lang="zh-CN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478320-51EA-4737-A2DF-6114B8F7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7" name="îṥļîḑe">
            <a:extLst>
              <a:ext uri="{FF2B5EF4-FFF2-40B4-BE49-F238E27FC236}">
                <a16:creationId xmlns:a16="http://schemas.microsoft.com/office/drawing/2014/main" id="{01D0A987-3A3C-4F7B-B7AE-6DFD2083A839}"/>
              </a:ext>
            </a:extLst>
          </p:cNvPr>
          <p:cNvSpPr/>
          <p:nvPr/>
        </p:nvSpPr>
        <p:spPr bwMode="auto">
          <a:xfrm>
            <a:off x="4142018" y="3228516"/>
            <a:ext cx="1338607" cy="1340974"/>
          </a:xfrm>
          <a:prstGeom prst="ellipse">
            <a:avLst/>
          </a:prstGeom>
          <a:blipFill>
            <a:blip r:embed="rId3"/>
            <a:stretch>
              <a:fillRect l="-89" r="-88"/>
            </a:stretch>
          </a:blip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ko-KR" altLang="en-US">
              <a:solidFill>
                <a:schemeClr val="lt1"/>
              </a:solidFill>
            </a:endParaRPr>
          </a:p>
        </p:txBody>
      </p:sp>
      <p:sp>
        <p:nvSpPr>
          <p:cNvPr id="8" name="ïş1ïdê">
            <a:extLst>
              <a:ext uri="{FF2B5EF4-FFF2-40B4-BE49-F238E27FC236}">
                <a16:creationId xmlns:a16="http://schemas.microsoft.com/office/drawing/2014/main" id="{BE8A4289-3922-4077-8DF8-51A5AA545945}"/>
              </a:ext>
            </a:extLst>
          </p:cNvPr>
          <p:cNvSpPr/>
          <p:nvPr/>
        </p:nvSpPr>
        <p:spPr bwMode="auto">
          <a:xfrm>
            <a:off x="3149119" y="4961704"/>
            <a:ext cx="1338607" cy="1340974"/>
          </a:xfrm>
          <a:prstGeom prst="ellipse">
            <a:avLst/>
          </a:prstGeom>
          <a:blipFill>
            <a:blip r:embed="rId4"/>
            <a:stretch>
              <a:fillRect l="-25371" r="-24894"/>
            </a:stretch>
          </a:blip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ko-KR" altLang="en-US">
              <a:solidFill>
                <a:schemeClr val="lt1"/>
              </a:solidFill>
            </a:endParaRPr>
          </a:p>
        </p:txBody>
      </p:sp>
      <p:sp>
        <p:nvSpPr>
          <p:cNvPr id="9" name="ïṩļïďe">
            <a:extLst>
              <a:ext uri="{FF2B5EF4-FFF2-40B4-BE49-F238E27FC236}">
                <a16:creationId xmlns:a16="http://schemas.microsoft.com/office/drawing/2014/main" id="{51B0B2F7-4797-4546-8BAC-127D41AA8DE2}"/>
              </a:ext>
            </a:extLst>
          </p:cNvPr>
          <p:cNvSpPr/>
          <p:nvPr/>
        </p:nvSpPr>
        <p:spPr bwMode="auto">
          <a:xfrm>
            <a:off x="3149119" y="1495327"/>
            <a:ext cx="1338607" cy="1340974"/>
          </a:xfrm>
          <a:prstGeom prst="ellipse">
            <a:avLst/>
          </a:prstGeom>
          <a:blipFill>
            <a:blip r:embed="rId5"/>
            <a:stretch>
              <a:fillRect l="-25371" r="-24894"/>
            </a:stretch>
          </a:blip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ko-KR" altLang="en-US">
              <a:solidFill>
                <a:schemeClr val="lt1"/>
              </a:solidFill>
            </a:endParaRPr>
          </a:p>
        </p:txBody>
      </p:sp>
      <p:sp>
        <p:nvSpPr>
          <p:cNvPr id="10" name="ïSļíďe">
            <a:extLst>
              <a:ext uri="{FF2B5EF4-FFF2-40B4-BE49-F238E27FC236}">
                <a16:creationId xmlns:a16="http://schemas.microsoft.com/office/drawing/2014/main" id="{D742DF66-09DB-4512-AAB3-4E2E991C52F6}"/>
              </a:ext>
            </a:extLst>
          </p:cNvPr>
          <p:cNvSpPr/>
          <p:nvPr/>
        </p:nvSpPr>
        <p:spPr>
          <a:xfrm>
            <a:off x="1174531" y="3008502"/>
            <a:ext cx="1781001" cy="1781001"/>
          </a:xfrm>
          <a:prstGeom prst="ellipse">
            <a:avLst/>
          </a:prstGeom>
          <a:solidFill>
            <a:srgbClr val="FFFFFF"/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12" name="išlîḓè">
            <a:extLst>
              <a:ext uri="{FF2B5EF4-FFF2-40B4-BE49-F238E27FC236}">
                <a16:creationId xmlns:a16="http://schemas.microsoft.com/office/drawing/2014/main" id="{6597703F-87E2-4EB5-940C-D13837759451}"/>
              </a:ext>
            </a:extLst>
          </p:cNvPr>
          <p:cNvSpPr/>
          <p:nvPr/>
        </p:nvSpPr>
        <p:spPr bwMode="auto">
          <a:xfrm>
            <a:off x="2613497" y="3716180"/>
            <a:ext cx="1258880" cy="365643"/>
          </a:xfrm>
          <a:custGeom>
            <a:avLst/>
            <a:gdLst>
              <a:gd name="T0" fmla="*/ 881 w 881"/>
              <a:gd name="T1" fmla="*/ 129 h 257"/>
              <a:gd name="T2" fmla="*/ 711 w 881"/>
              <a:gd name="T3" fmla="*/ 0 h 257"/>
              <a:gd name="T4" fmla="*/ 711 w 881"/>
              <a:gd name="T5" fmla="*/ 79 h 257"/>
              <a:gd name="T6" fmla="*/ 50 w 881"/>
              <a:gd name="T7" fmla="*/ 79 h 257"/>
              <a:gd name="T8" fmla="*/ 0 w 881"/>
              <a:gd name="T9" fmla="*/ 129 h 257"/>
              <a:gd name="T10" fmla="*/ 50 w 881"/>
              <a:gd name="T11" fmla="*/ 178 h 257"/>
              <a:gd name="T12" fmla="*/ 711 w 881"/>
              <a:gd name="T13" fmla="*/ 178 h 257"/>
              <a:gd name="T14" fmla="*/ 711 w 881"/>
              <a:gd name="T15" fmla="*/ 257 h 257"/>
              <a:gd name="T16" fmla="*/ 881 w 881"/>
              <a:gd name="T17" fmla="*/ 129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81" h="257">
                <a:moveTo>
                  <a:pt x="881" y="129"/>
                </a:moveTo>
                <a:cubicBezTo>
                  <a:pt x="711" y="0"/>
                  <a:pt x="711" y="0"/>
                  <a:pt x="711" y="0"/>
                </a:cubicBezTo>
                <a:cubicBezTo>
                  <a:pt x="711" y="79"/>
                  <a:pt x="711" y="79"/>
                  <a:pt x="711" y="79"/>
                </a:cubicBezTo>
                <a:cubicBezTo>
                  <a:pt x="50" y="79"/>
                  <a:pt x="50" y="79"/>
                  <a:pt x="50" y="79"/>
                </a:cubicBezTo>
                <a:cubicBezTo>
                  <a:pt x="21" y="79"/>
                  <a:pt x="0" y="100"/>
                  <a:pt x="0" y="129"/>
                </a:cubicBezTo>
                <a:cubicBezTo>
                  <a:pt x="0" y="153"/>
                  <a:pt x="20" y="178"/>
                  <a:pt x="50" y="178"/>
                </a:cubicBezTo>
                <a:cubicBezTo>
                  <a:pt x="711" y="178"/>
                  <a:pt x="711" y="178"/>
                  <a:pt x="711" y="178"/>
                </a:cubicBezTo>
                <a:cubicBezTo>
                  <a:pt x="711" y="257"/>
                  <a:pt x="711" y="257"/>
                  <a:pt x="711" y="257"/>
                </a:cubicBezTo>
                <a:lnTo>
                  <a:pt x="881" y="129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ïśḷïḑé">
            <a:extLst>
              <a:ext uri="{FF2B5EF4-FFF2-40B4-BE49-F238E27FC236}">
                <a16:creationId xmlns:a16="http://schemas.microsoft.com/office/drawing/2014/main" id="{A89E37C9-BB57-4335-ADBD-87FAD8251829}"/>
              </a:ext>
            </a:extLst>
          </p:cNvPr>
          <p:cNvSpPr/>
          <p:nvPr/>
        </p:nvSpPr>
        <p:spPr bwMode="auto">
          <a:xfrm>
            <a:off x="2449040" y="4373170"/>
            <a:ext cx="596048" cy="588535"/>
          </a:xfrm>
          <a:custGeom>
            <a:avLst/>
            <a:gdLst>
              <a:gd name="T0" fmla="*/ 330 w 417"/>
              <a:gd name="T1" fmla="*/ 259 h 413"/>
              <a:gd name="T2" fmla="*/ 87 w 417"/>
              <a:gd name="T3" fmla="*/ 20 h 413"/>
              <a:gd name="T4" fmla="*/ 16 w 417"/>
              <a:gd name="T5" fmla="*/ 20 h 413"/>
              <a:gd name="T6" fmla="*/ 0 w 417"/>
              <a:gd name="T7" fmla="*/ 52 h 413"/>
              <a:gd name="T8" fmla="*/ 16 w 417"/>
              <a:gd name="T9" fmla="*/ 91 h 413"/>
              <a:gd name="T10" fmla="*/ 258 w 417"/>
              <a:gd name="T11" fmla="*/ 329 h 413"/>
              <a:gd name="T12" fmla="*/ 204 w 417"/>
              <a:gd name="T13" fmla="*/ 383 h 413"/>
              <a:gd name="T14" fmla="*/ 417 w 417"/>
              <a:gd name="T15" fmla="*/ 413 h 413"/>
              <a:gd name="T16" fmla="*/ 387 w 417"/>
              <a:gd name="T17" fmla="*/ 203 h 413"/>
              <a:gd name="T18" fmla="*/ 330 w 417"/>
              <a:gd name="T19" fmla="*/ 259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7" h="413">
                <a:moveTo>
                  <a:pt x="330" y="259"/>
                </a:moveTo>
                <a:cubicBezTo>
                  <a:pt x="87" y="20"/>
                  <a:pt x="87" y="20"/>
                  <a:pt x="87" y="20"/>
                </a:cubicBezTo>
                <a:cubicBezTo>
                  <a:pt x="66" y="0"/>
                  <a:pt x="37" y="0"/>
                  <a:pt x="16" y="20"/>
                </a:cubicBezTo>
                <a:cubicBezTo>
                  <a:pt x="7" y="27"/>
                  <a:pt x="1" y="39"/>
                  <a:pt x="0" y="52"/>
                </a:cubicBezTo>
                <a:cubicBezTo>
                  <a:pt x="0" y="66"/>
                  <a:pt x="5" y="80"/>
                  <a:pt x="16" y="91"/>
                </a:cubicBezTo>
                <a:cubicBezTo>
                  <a:pt x="258" y="329"/>
                  <a:pt x="258" y="329"/>
                  <a:pt x="258" y="329"/>
                </a:cubicBezTo>
                <a:cubicBezTo>
                  <a:pt x="204" y="383"/>
                  <a:pt x="204" y="383"/>
                  <a:pt x="204" y="383"/>
                </a:cubicBezTo>
                <a:cubicBezTo>
                  <a:pt x="417" y="413"/>
                  <a:pt x="417" y="413"/>
                  <a:pt x="417" y="413"/>
                </a:cubicBezTo>
                <a:cubicBezTo>
                  <a:pt x="387" y="203"/>
                  <a:pt x="387" y="203"/>
                  <a:pt x="387" y="203"/>
                </a:cubicBezTo>
                <a:lnTo>
                  <a:pt x="330" y="259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4" name="îśḻiďê">
            <a:extLst>
              <a:ext uri="{FF2B5EF4-FFF2-40B4-BE49-F238E27FC236}">
                <a16:creationId xmlns:a16="http://schemas.microsoft.com/office/drawing/2014/main" id="{1345DD23-D788-42DD-B075-FDB5B3BD65B0}"/>
              </a:ext>
            </a:extLst>
          </p:cNvPr>
          <p:cNvSpPr/>
          <p:nvPr/>
        </p:nvSpPr>
        <p:spPr bwMode="auto">
          <a:xfrm>
            <a:off x="2449040" y="2836301"/>
            <a:ext cx="596048" cy="588535"/>
          </a:xfrm>
          <a:custGeom>
            <a:avLst/>
            <a:gdLst>
              <a:gd name="T0" fmla="*/ 50 w 417"/>
              <a:gd name="T1" fmla="*/ 411 h 411"/>
              <a:gd name="T2" fmla="*/ 87 w 417"/>
              <a:gd name="T3" fmla="*/ 398 h 411"/>
              <a:gd name="T4" fmla="*/ 330 w 417"/>
              <a:gd name="T5" fmla="*/ 157 h 411"/>
              <a:gd name="T6" fmla="*/ 387 w 417"/>
              <a:gd name="T7" fmla="*/ 210 h 411"/>
              <a:gd name="T8" fmla="*/ 417 w 417"/>
              <a:gd name="T9" fmla="*/ 0 h 411"/>
              <a:gd name="T10" fmla="*/ 205 w 417"/>
              <a:gd name="T11" fmla="*/ 30 h 411"/>
              <a:gd name="T12" fmla="*/ 259 w 417"/>
              <a:gd name="T13" fmla="*/ 86 h 411"/>
              <a:gd name="T14" fmla="*/ 16 w 417"/>
              <a:gd name="T15" fmla="*/ 327 h 411"/>
              <a:gd name="T16" fmla="*/ 0 w 417"/>
              <a:gd name="T17" fmla="*/ 363 h 411"/>
              <a:gd name="T18" fmla="*/ 16 w 417"/>
              <a:gd name="T19" fmla="*/ 398 h 411"/>
              <a:gd name="T20" fmla="*/ 50 w 417"/>
              <a:gd name="T21" fmla="*/ 411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17" h="411">
                <a:moveTo>
                  <a:pt x="50" y="411"/>
                </a:moveTo>
                <a:cubicBezTo>
                  <a:pt x="66" y="411"/>
                  <a:pt x="78" y="407"/>
                  <a:pt x="87" y="398"/>
                </a:cubicBezTo>
                <a:cubicBezTo>
                  <a:pt x="330" y="157"/>
                  <a:pt x="330" y="157"/>
                  <a:pt x="330" y="157"/>
                </a:cubicBezTo>
                <a:cubicBezTo>
                  <a:pt x="387" y="210"/>
                  <a:pt x="387" y="210"/>
                  <a:pt x="387" y="210"/>
                </a:cubicBezTo>
                <a:cubicBezTo>
                  <a:pt x="417" y="0"/>
                  <a:pt x="417" y="0"/>
                  <a:pt x="417" y="0"/>
                </a:cubicBezTo>
                <a:cubicBezTo>
                  <a:pt x="205" y="30"/>
                  <a:pt x="205" y="30"/>
                  <a:pt x="205" y="30"/>
                </a:cubicBezTo>
                <a:cubicBezTo>
                  <a:pt x="259" y="86"/>
                  <a:pt x="259" y="86"/>
                  <a:pt x="259" y="86"/>
                </a:cubicBezTo>
                <a:cubicBezTo>
                  <a:pt x="16" y="327"/>
                  <a:pt x="16" y="327"/>
                  <a:pt x="16" y="327"/>
                </a:cubicBezTo>
                <a:cubicBezTo>
                  <a:pt x="6" y="337"/>
                  <a:pt x="0" y="350"/>
                  <a:pt x="0" y="363"/>
                </a:cubicBezTo>
                <a:cubicBezTo>
                  <a:pt x="0" y="376"/>
                  <a:pt x="6" y="388"/>
                  <a:pt x="16" y="398"/>
                </a:cubicBezTo>
                <a:cubicBezTo>
                  <a:pt x="24" y="406"/>
                  <a:pt x="37" y="411"/>
                  <a:pt x="50" y="411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5" name="ïṡľïďé">
            <a:extLst>
              <a:ext uri="{FF2B5EF4-FFF2-40B4-BE49-F238E27FC236}">
                <a16:creationId xmlns:a16="http://schemas.microsoft.com/office/drawing/2014/main" id="{51540850-7D80-49CD-A4A2-809534618A2F}"/>
              </a:ext>
            </a:extLst>
          </p:cNvPr>
          <p:cNvSpPr/>
          <p:nvPr/>
        </p:nvSpPr>
        <p:spPr bwMode="auto">
          <a:xfrm>
            <a:off x="1616928" y="3556237"/>
            <a:ext cx="896204" cy="685530"/>
          </a:xfrm>
          <a:custGeom>
            <a:avLst/>
            <a:gdLst>
              <a:gd name="connsiteX0" fmla="*/ 361794 w 551492"/>
              <a:gd name="connsiteY0" fmla="*/ 308363 h 421851"/>
              <a:gd name="connsiteX1" fmla="*/ 530845 w 551492"/>
              <a:gd name="connsiteY1" fmla="*/ 308363 h 421851"/>
              <a:gd name="connsiteX2" fmla="*/ 551492 w 551492"/>
              <a:gd name="connsiteY2" fmla="*/ 329044 h 421851"/>
              <a:gd name="connsiteX3" fmla="*/ 551492 w 551492"/>
              <a:gd name="connsiteY3" fmla="*/ 362650 h 421851"/>
              <a:gd name="connsiteX4" fmla="*/ 530845 w 551492"/>
              <a:gd name="connsiteY4" fmla="*/ 383331 h 421851"/>
              <a:gd name="connsiteX5" fmla="*/ 378570 w 551492"/>
              <a:gd name="connsiteY5" fmla="*/ 383331 h 421851"/>
              <a:gd name="connsiteX6" fmla="*/ 378570 w 551492"/>
              <a:gd name="connsiteY6" fmla="*/ 369113 h 421851"/>
              <a:gd name="connsiteX7" fmla="*/ 361794 w 551492"/>
              <a:gd name="connsiteY7" fmla="*/ 308363 h 421851"/>
              <a:gd name="connsiteX8" fmla="*/ 313904 w 551492"/>
              <a:gd name="connsiteY8" fmla="*/ 172924 h 421851"/>
              <a:gd name="connsiteX9" fmla="*/ 530832 w 551492"/>
              <a:gd name="connsiteY9" fmla="*/ 172924 h 421851"/>
              <a:gd name="connsiteX10" fmla="*/ 551492 w 551492"/>
              <a:gd name="connsiteY10" fmla="*/ 193548 h 421851"/>
              <a:gd name="connsiteX11" fmla="*/ 551492 w 551492"/>
              <a:gd name="connsiteY11" fmla="*/ 225772 h 421851"/>
              <a:gd name="connsiteX12" fmla="*/ 530832 w 551492"/>
              <a:gd name="connsiteY12" fmla="*/ 247685 h 421851"/>
              <a:gd name="connsiteX13" fmla="*/ 271293 w 551492"/>
              <a:gd name="connsiteY13" fmla="*/ 247685 h 421851"/>
              <a:gd name="connsiteX14" fmla="*/ 271293 w 551492"/>
              <a:gd name="connsiteY14" fmla="*/ 227061 h 421851"/>
              <a:gd name="connsiteX15" fmla="*/ 272584 w 551492"/>
              <a:gd name="connsiteY15" fmla="*/ 224483 h 421851"/>
              <a:gd name="connsiteX16" fmla="*/ 313904 w 551492"/>
              <a:gd name="connsiteY16" fmla="*/ 172924 h 421851"/>
              <a:gd name="connsiteX17" fmla="*/ 281648 w 551492"/>
              <a:gd name="connsiteY17" fmla="*/ 36241 h 421851"/>
              <a:gd name="connsiteX18" fmla="*/ 530834 w 551492"/>
              <a:gd name="connsiteY18" fmla="*/ 36241 h 421851"/>
              <a:gd name="connsiteX19" fmla="*/ 551492 w 551492"/>
              <a:gd name="connsiteY19" fmla="*/ 58154 h 421851"/>
              <a:gd name="connsiteX20" fmla="*/ 551492 w 551492"/>
              <a:gd name="connsiteY20" fmla="*/ 90378 h 421851"/>
              <a:gd name="connsiteX21" fmla="*/ 530834 w 551492"/>
              <a:gd name="connsiteY21" fmla="*/ 111002 h 421851"/>
              <a:gd name="connsiteX22" fmla="*/ 308761 w 551492"/>
              <a:gd name="connsiteY22" fmla="*/ 111002 h 421851"/>
              <a:gd name="connsiteX23" fmla="*/ 295850 w 551492"/>
              <a:gd name="connsiteY23" fmla="*/ 96823 h 421851"/>
              <a:gd name="connsiteX24" fmla="*/ 281648 w 551492"/>
              <a:gd name="connsiteY24" fmla="*/ 36241 h 421851"/>
              <a:gd name="connsiteX25" fmla="*/ 176987 w 551492"/>
              <a:gd name="connsiteY25" fmla="*/ 0 h 421851"/>
              <a:gd name="connsiteX26" fmla="*/ 271294 w 551492"/>
              <a:gd name="connsiteY26" fmla="*/ 117396 h 421851"/>
              <a:gd name="connsiteX27" fmla="*/ 276461 w 551492"/>
              <a:gd name="connsiteY27" fmla="*/ 117396 h 421851"/>
              <a:gd name="connsiteX28" fmla="*/ 290672 w 551492"/>
              <a:gd name="connsiteY28" fmla="*/ 152228 h 421851"/>
              <a:gd name="connsiteX29" fmla="*/ 262251 w 551492"/>
              <a:gd name="connsiteY29" fmla="*/ 199960 h 421851"/>
              <a:gd name="connsiteX30" fmla="*/ 257083 w 551492"/>
              <a:gd name="connsiteY30" fmla="*/ 197380 h 421851"/>
              <a:gd name="connsiteX31" fmla="*/ 224786 w 551492"/>
              <a:gd name="connsiteY31" fmla="*/ 247692 h 421851"/>
              <a:gd name="connsiteX32" fmla="*/ 219619 w 551492"/>
              <a:gd name="connsiteY32" fmla="*/ 259303 h 421851"/>
              <a:gd name="connsiteX33" fmla="*/ 241581 w 551492"/>
              <a:gd name="connsiteY33" fmla="*/ 279944 h 421851"/>
              <a:gd name="connsiteX34" fmla="*/ 263543 w 551492"/>
              <a:gd name="connsiteY34" fmla="*/ 279944 h 421851"/>
              <a:gd name="connsiteX35" fmla="*/ 352682 w 551492"/>
              <a:gd name="connsiteY35" fmla="*/ 368958 h 421851"/>
              <a:gd name="connsiteX36" fmla="*/ 352682 w 551492"/>
              <a:gd name="connsiteY36" fmla="*/ 393470 h 421851"/>
              <a:gd name="connsiteX37" fmla="*/ 325553 w 551492"/>
              <a:gd name="connsiteY37" fmla="*/ 421851 h 421851"/>
              <a:gd name="connsiteX38" fmla="*/ 28421 w 551492"/>
              <a:gd name="connsiteY38" fmla="*/ 421851 h 421851"/>
              <a:gd name="connsiteX39" fmla="*/ 0 w 551492"/>
              <a:gd name="connsiteY39" fmla="*/ 393470 h 421851"/>
              <a:gd name="connsiteX40" fmla="*/ 0 w 551492"/>
              <a:gd name="connsiteY40" fmla="*/ 368958 h 421851"/>
              <a:gd name="connsiteX41" fmla="*/ 89139 w 551492"/>
              <a:gd name="connsiteY41" fmla="*/ 279944 h 421851"/>
              <a:gd name="connsiteX42" fmla="*/ 112393 w 551492"/>
              <a:gd name="connsiteY42" fmla="*/ 279944 h 421851"/>
              <a:gd name="connsiteX43" fmla="*/ 133063 w 551492"/>
              <a:gd name="connsiteY43" fmla="*/ 259303 h 421851"/>
              <a:gd name="connsiteX44" fmla="*/ 127896 w 551492"/>
              <a:gd name="connsiteY44" fmla="*/ 247692 h 421851"/>
              <a:gd name="connsiteX45" fmla="*/ 95599 w 551492"/>
              <a:gd name="connsiteY45" fmla="*/ 198670 h 421851"/>
              <a:gd name="connsiteX46" fmla="*/ 91723 w 551492"/>
              <a:gd name="connsiteY46" fmla="*/ 199960 h 421851"/>
              <a:gd name="connsiteX47" fmla="*/ 63302 w 551492"/>
              <a:gd name="connsiteY47" fmla="*/ 152228 h 421851"/>
              <a:gd name="connsiteX48" fmla="*/ 78804 w 551492"/>
              <a:gd name="connsiteY48" fmla="*/ 117396 h 421851"/>
              <a:gd name="connsiteX49" fmla="*/ 81388 w 551492"/>
              <a:gd name="connsiteY49" fmla="*/ 117396 h 421851"/>
              <a:gd name="connsiteX50" fmla="*/ 176987 w 551492"/>
              <a:gd name="connsiteY50" fmla="*/ 0 h 421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51492" h="421851">
                <a:moveTo>
                  <a:pt x="361794" y="308363"/>
                </a:moveTo>
                <a:lnTo>
                  <a:pt x="530845" y="308363"/>
                </a:lnTo>
                <a:cubicBezTo>
                  <a:pt x="541168" y="308363"/>
                  <a:pt x="551492" y="317411"/>
                  <a:pt x="551492" y="329044"/>
                </a:cubicBezTo>
                <a:lnTo>
                  <a:pt x="551492" y="362650"/>
                </a:lnTo>
                <a:cubicBezTo>
                  <a:pt x="551492" y="374283"/>
                  <a:pt x="541168" y="383331"/>
                  <a:pt x="530845" y="383331"/>
                </a:cubicBezTo>
                <a:lnTo>
                  <a:pt x="378570" y="383331"/>
                </a:lnTo>
                <a:lnTo>
                  <a:pt x="378570" y="369113"/>
                </a:lnTo>
                <a:cubicBezTo>
                  <a:pt x="378570" y="347140"/>
                  <a:pt x="372118" y="326459"/>
                  <a:pt x="361794" y="308363"/>
                </a:cubicBezTo>
                <a:close/>
                <a:moveTo>
                  <a:pt x="313904" y="172924"/>
                </a:moveTo>
                <a:lnTo>
                  <a:pt x="530832" y="172924"/>
                </a:lnTo>
                <a:cubicBezTo>
                  <a:pt x="541162" y="172924"/>
                  <a:pt x="551492" y="181947"/>
                  <a:pt x="551492" y="193548"/>
                </a:cubicBezTo>
                <a:lnTo>
                  <a:pt x="551492" y="225772"/>
                </a:lnTo>
                <a:cubicBezTo>
                  <a:pt x="551492" y="237373"/>
                  <a:pt x="541162" y="247685"/>
                  <a:pt x="530832" y="247685"/>
                </a:cubicBezTo>
                <a:lnTo>
                  <a:pt x="271293" y="247685"/>
                </a:lnTo>
                <a:lnTo>
                  <a:pt x="271293" y="227061"/>
                </a:lnTo>
                <a:cubicBezTo>
                  <a:pt x="271293" y="225772"/>
                  <a:pt x="272584" y="225772"/>
                  <a:pt x="272584" y="224483"/>
                </a:cubicBezTo>
                <a:cubicBezTo>
                  <a:pt x="293244" y="218038"/>
                  <a:pt x="307448" y="194837"/>
                  <a:pt x="313904" y="172924"/>
                </a:cubicBezTo>
                <a:close/>
                <a:moveTo>
                  <a:pt x="281648" y="36241"/>
                </a:moveTo>
                <a:lnTo>
                  <a:pt x="530834" y="36241"/>
                </a:lnTo>
                <a:cubicBezTo>
                  <a:pt x="541163" y="36241"/>
                  <a:pt x="551492" y="46553"/>
                  <a:pt x="551492" y="58154"/>
                </a:cubicBezTo>
                <a:lnTo>
                  <a:pt x="551492" y="90378"/>
                </a:lnTo>
                <a:cubicBezTo>
                  <a:pt x="551492" y="101979"/>
                  <a:pt x="541163" y="111002"/>
                  <a:pt x="530834" y="111002"/>
                </a:cubicBezTo>
                <a:lnTo>
                  <a:pt x="308761" y="111002"/>
                </a:lnTo>
                <a:cubicBezTo>
                  <a:pt x="304888" y="104557"/>
                  <a:pt x="301015" y="99401"/>
                  <a:pt x="295850" y="96823"/>
                </a:cubicBezTo>
                <a:cubicBezTo>
                  <a:pt x="293268" y="72333"/>
                  <a:pt x="288104" y="52998"/>
                  <a:pt x="281648" y="36241"/>
                </a:cubicBezTo>
                <a:close/>
                <a:moveTo>
                  <a:pt x="176987" y="0"/>
                </a:moveTo>
                <a:cubicBezTo>
                  <a:pt x="257083" y="0"/>
                  <a:pt x="270002" y="64503"/>
                  <a:pt x="271294" y="117396"/>
                </a:cubicBezTo>
                <a:cubicBezTo>
                  <a:pt x="272586" y="117396"/>
                  <a:pt x="273878" y="117396"/>
                  <a:pt x="276461" y="117396"/>
                </a:cubicBezTo>
                <a:cubicBezTo>
                  <a:pt x="289380" y="117396"/>
                  <a:pt x="290672" y="132877"/>
                  <a:pt x="290672" y="152228"/>
                </a:cubicBezTo>
                <a:cubicBezTo>
                  <a:pt x="290672" y="171579"/>
                  <a:pt x="275169" y="199960"/>
                  <a:pt x="262251" y="199960"/>
                </a:cubicBezTo>
                <a:cubicBezTo>
                  <a:pt x="260959" y="199960"/>
                  <a:pt x="258375" y="198670"/>
                  <a:pt x="257083" y="197380"/>
                </a:cubicBezTo>
                <a:cubicBezTo>
                  <a:pt x="249332" y="216731"/>
                  <a:pt x="237705" y="233502"/>
                  <a:pt x="224786" y="247692"/>
                </a:cubicBezTo>
                <a:cubicBezTo>
                  <a:pt x="220911" y="250272"/>
                  <a:pt x="219619" y="254143"/>
                  <a:pt x="219619" y="259303"/>
                </a:cubicBezTo>
                <a:cubicBezTo>
                  <a:pt x="219619" y="270913"/>
                  <a:pt x="228662" y="279944"/>
                  <a:pt x="241581" y="279944"/>
                </a:cubicBezTo>
                <a:lnTo>
                  <a:pt x="263543" y="279944"/>
                </a:lnTo>
                <a:cubicBezTo>
                  <a:pt x="312634" y="279944"/>
                  <a:pt x="352682" y="319936"/>
                  <a:pt x="352682" y="368958"/>
                </a:cubicBezTo>
                <a:lnTo>
                  <a:pt x="352682" y="393470"/>
                </a:lnTo>
                <a:cubicBezTo>
                  <a:pt x="352682" y="408950"/>
                  <a:pt x="341055" y="421851"/>
                  <a:pt x="325553" y="421851"/>
                </a:cubicBezTo>
                <a:lnTo>
                  <a:pt x="28421" y="421851"/>
                </a:lnTo>
                <a:cubicBezTo>
                  <a:pt x="12919" y="421851"/>
                  <a:pt x="0" y="408950"/>
                  <a:pt x="0" y="393470"/>
                </a:cubicBezTo>
                <a:lnTo>
                  <a:pt x="0" y="368958"/>
                </a:lnTo>
                <a:cubicBezTo>
                  <a:pt x="0" y="319936"/>
                  <a:pt x="40048" y="279944"/>
                  <a:pt x="89139" y="279944"/>
                </a:cubicBezTo>
                <a:lnTo>
                  <a:pt x="112393" y="279944"/>
                </a:lnTo>
                <a:cubicBezTo>
                  <a:pt x="124020" y="279944"/>
                  <a:pt x="133063" y="270913"/>
                  <a:pt x="133063" y="259303"/>
                </a:cubicBezTo>
                <a:cubicBezTo>
                  <a:pt x="133063" y="254143"/>
                  <a:pt x="131771" y="250272"/>
                  <a:pt x="127896" y="247692"/>
                </a:cubicBezTo>
                <a:cubicBezTo>
                  <a:pt x="114977" y="234792"/>
                  <a:pt x="104642" y="216731"/>
                  <a:pt x="95599" y="198670"/>
                </a:cubicBezTo>
                <a:cubicBezTo>
                  <a:pt x="94307" y="199960"/>
                  <a:pt x="93015" y="199960"/>
                  <a:pt x="91723" y="199960"/>
                </a:cubicBezTo>
                <a:cubicBezTo>
                  <a:pt x="78804" y="199960"/>
                  <a:pt x="63302" y="171579"/>
                  <a:pt x="63302" y="152228"/>
                </a:cubicBezTo>
                <a:cubicBezTo>
                  <a:pt x="63302" y="132877"/>
                  <a:pt x="65886" y="117396"/>
                  <a:pt x="78804" y="117396"/>
                </a:cubicBezTo>
                <a:cubicBezTo>
                  <a:pt x="80096" y="117396"/>
                  <a:pt x="80096" y="117396"/>
                  <a:pt x="81388" y="117396"/>
                </a:cubicBezTo>
                <a:cubicBezTo>
                  <a:pt x="82680" y="64503"/>
                  <a:pt x="93015" y="0"/>
                  <a:pt x="176987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ko-KR" altLang="en-US"/>
          </a:p>
        </p:txBody>
      </p:sp>
      <p:sp>
        <p:nvSpPr>
          <p:cNvPr id="16" name="iṥ1ïďé">
            <a:extLst>
              <a:ext uri="{FF2B5EF4-FFF2-40B4-BE49-F238E27FC236}">
                <a16:creationId xmlns:a16="http://schemas.microsoft.com/office/drawing/2014/main" id="{A5BC23A0-E8F2-44F4-A92A-165DB3DCB166}"/>
              </a:ext>
            </a:extLst>
          </p:cNvPr>
          <p:cNvSpPr/>
          <p:nvPr/>
        </p:nvSpPr>
        <p:spPr bwMode="auto">
          <a:xfrm>
            <a:off x="4681892" y="1705089"/>
            <a:ext cx="4784419" cy="92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2400" dirty="0"/>
              <a:t>RQ1: Distribution of Squatting Apps</a:t>
            </a:r>
          </a:p>
        </p:txBody>
      </p:sp>
      <p:sp>
        <p:nvSpPr>
          <p:cNvPr id="17" name="ïsḻíḍe">
            <a:extLst>
              <a:ext uri="{FF2B5EF4-FFF2-40B4-BE49-F238E27FC236}">
                <a16:creationId xmlns:a16="http://schemas.microsoft.com/office/drawing/2014/main" id="{C3B1800B-F1E7-4666-A918-2EB6D7F25899}"/>
              </a:ext>
            </a:extLst>
          </p:cNvPr>
          <p:cNvSpPr/>
          <p:nvPr/>
        </p:nvSpPr>
        <p:spPr bwMode="auto">
          <a:xfrm>
            <a:off x="5674791" y="3438278"/>
            <a:ext cx="5022112" cy="92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2200" dirty="0"/>
              <a:t>RQ2: App squatting vs. App Popularity</a:t>
            </a:r>
          </a:p>
        </p:txBody>
      </p:sp>
      <p:sp>
        <p:nvSpPr>
          <p:cNvPr id="18" name="îsļíḑè">
            <a:extLst>
              <a:ext uri="{FF2B5EF4-FFF2-40B4-BE49-F238E27FC236}">
                <a16:creationId xmlns:a16="http://schemas.microsoft.com/office/drawing/2014/main" id="{FF91143C-91F0-4145-B862-72464B0BDE8B}"/>
              </a:ext>
            </a:extLst>
          </p:cNvPr>
          <p:cNvSpPr/>
          <p:nvPr/>
        </p:nvSpPr>
        <p:spPr bwMode="auto">
          <a:xfrm>
            <a:off x="4681892" y="5319013"/>
            <a:ext cx="4784419" cy="92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2200" dirty="0"/>
              <a:t>RQ3: Malware Pres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9175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B1CD5-2891-43A9-BAEE-939CD6B13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altLang="zh-CN" dirty="0"/>
              <a:t>Malware Presence</a:t>
            </a:r>
            <a:endParaRPr lang="zh-CN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697D36-9F29-41A3-B1D3-59207D210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423B11-8CDE-4E67-ABEE-795FB8B9D0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6818" y="1221760"/>
            <a:ext cx="5916773" cy="22671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685FA9E-6A59-40E3-A7A0-57EE6841AC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015" y="3429000"/>
            <a:ext cx="9932867" cy="2498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1728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5D64F-AF80-4026-B693-DD50CDAAF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ake brand names</a:t>
            </a:r>
            <a:endParaRPr lang="zh-CN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1F42CF-3247-432F-9718-8F383D288C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pic>
        <p:nvPicPr>
          <p:cNvPr id="6148" name="Picture 4" descr="10 brands and their duplicates | IndiaTV News | Who-cares News – India TV">
            <a:extLst>
              <a:ext uri="{FF2B5EF4-FFF2-40B4-BE49-F238E27FC236}">
                <a16:creationId xmlns:a16="http://schemas.microsoft.com/office/drawing/2014/main" id="{247A9A54-9B69-4D4A-8199-0F5D8534C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8319" y="1198763"/>
            <a:ext cx="3502346" cy="2453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A0A1D7BD-8C7E-4F0C-BC5A-A44A8F83B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1337" y="1377949"/>
            <a:ext cx="3697941" cy="2095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Duplicate Brand-IndiaTV">
            <a:extLst>
              <a:ext uri="{FF2B5EF4-FFF2-40B4-BE49-F238E27FC236}">
                <a16:creationId xmlns:a16="http://schemas.microsoft.com/office/drawing/2014/main" id="{16266ED5-AB92-4341-B344-A244D07911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0521" y="3914894"/>
            <a:ext cx="3697941" cy="2590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康师傅：打败我的不是康帅博，是这个时代！_胶卷">
            <a:extLst>
              <a:ext uri="{FF2B5EF4-FFF2-40B4-BE49-F238E27FC236}">
                <a16:creationId xmlns:a16="http://schemas.microsoft.com/office/drawing/2014/main" id="{995151D4-AA37-4AF3-94B7-192F61D959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7272" y="3914894"/>
            <a:ext cx="4606069" cy="2590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1648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BB93B9-666D-4204-A276-72465EF0E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51" name="ï$ḷîḑé">
            <a:extLst>
              <a:ext uri="{FF2B5EF4-FFF2-40B4-BE49-F238E27FC236}">
                <a16:creationId xmlns:a16="http://schemas.microsoft.com/office/drawing/2014/main" id="{F4C21AC7-F9BE-4EAF-A9FC-F84FBDEF6E1E}"/>
              </a:ext>
            </a:extLst>
          </p:cNvPr>
          <p:cNvSpPr/>
          <p:nvPr/>
        </p:nvSpPr>
        <p:spPr bwMode="auto">
          <a:xfrm>
            <a:off x="5331761" y="1708889"/>
            <a:ext cx="2120899" cy="2363788"/>
          </a:xfrm>
          <a:custGeom>
            <a:avLst/>
            <a:gdLst>
              <a:gd name="T0" fmla="*/ 10173 w 22259"/>
              <a:gd name="T1" fmla="*/ 0 h 24800"/>
              <a:gd name="T2" fmla="*/ 2385 w 22259"/>
              <a:gd name="T3" fmla="*/ 3227 h 24800"/>
              <a:gd name="T4" fmla="*/ 0 w 22259"/>
              <a:gd name="T5" fmla="*/ 6801 h 24800"/>
              <a:gd name="T6" fmla="*/ 2017 w 22259"/>
              <a:gd name="T7" fmla="*/ 7654 h 24800"/>
              <a:gd name="T8" fmla="*/ 3937 w 22259"/>
              <a:gd name="T9" fmla="*/ 4779 h 24800"/>
              <a:gd name="T10" fmla="*/ 10173 w 22259"/>
              <a:gd name="T11" fmla="*/ 2197 h 24800"/>
              <a:gd name="T12" fmla="*/ 16407 w 22259"/>
              <a:gd name="T13" fmla="*/ 4779 h 24800"/>
              <a:gd name="T14" fmla="*/ 16407 w 22259"/>
              <a:gd name="T15" fmla="*/ 17254 h 24800"/>
              <a:gd name="T16" fmla="*/ 12643 w 22259"/>
              <a:gd name="T17" fmla="*/ 19481 h 24800"/>
              <a:gd name="T18" fmla="*/ 12904 w 22259"/>
              <a:gd name="T19" fmla="*/ 16517 h 24800"/>
              <a:gd name="T20" fmla="*/ 4261 w 22259"/>
              <a:gd name="T21" fmla="*/ 19936 h 24800"/>
              <a:gd name="T22" fmla="*/ 12178 w 22259"/>
              <a:gd name="T23" fmla="*/ 24800 h 24800"/>
              <a:gd name="T24" fmla="*/ 12443 w 22259"/>
              <a:gd name="T25" fmla="*/ 21795 h 24800"/>
              <a:gd name="T26" fmla="*/ 17959 w 22259"/>
              <a:gd name="T27" fmla="*/ 18809 h 24800"/>
              <a:gd name="T28" fmla="*/ 17959 w 22259"/>
              <a:gd name="T29" fmla="*/ 3227 h 24800"/>
              <a:gd name="T30" fmla="*/ 10173 w 22259"/>
              <a:gd name="T31" fmla="*/ 0 h 24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259" h="24800">
                <a:moveTo>
                  <a:pt x="10173" y="0"/>
                </a:moveTo>
                <a:cubicBezTo>
                  <a:pt x="7354" y="0"/>
                  <a:pt x="4535" y="1075"/>
                  <a:pt x="2385" y="3227"/>
                </a:cubicBezTo>
                <a:cubicBezTo>
                  <a:pt x="1330" y="4282"/>
                  <a:pt x="537" y="5501"/>
                  <a:pt x="0" y="6801"/>
                </a:cubicBezTo>
                <a:lnTo>
                  <a:pt x="2017" y="7654"/>
                </a:lnTo>
                <a:cubicBezTo>
                  <a:pt x="2447" y="6608"/>
                  <a:pt x="3088" y="5630"/>
                  <a:pt x="3937" y="4779"/>
                </a:cubicBezTo>
                <a:cubicBezTo>
                  <a:pt x="5658" y="3057"/>
                  <a:pt x="7916" y="2197"/>
                  <a:pt x="10173" y="2197"/>
                </a:cubicBezTo>
                <a:cubicBezTo>
                  <a:pt x="12428" y="2197"/>
                  <a:pt x="14686" y="3057"/>
                  <a:pt x="16407" y="4779"/>
                </a:cubicBezTo>
                <a:cubicBezTo>
                  <a:pt x="19850" y="8225"/>
                  <a:pt x="19850" y="13808"/>
                  <a:pt x="16407" y="17254"/>
                </a:cubicBezTo>
                <a:cubicBezTo>
                  <a:pt x="15321" y="18340"/>
                  <a:pt x="14020" y="19080"/>
                  <a:pt x="12643" y="19481"/>
                </a:cubicBezTo>
                <a:lnTo>
                  <a:pt x="12904" y="16517"/>
                </a:lnTo>
                <a:lnTo>
                  <a:pt x="4261" y="19936"/>
                </a:lnTo>
                <a:lnTo>
                  <a:pt x="12178" y="24800"/>
                </a:lnTo>
                <a:lnTo>
                  <a:pt x="12443" y="21795"/>
                </a:lnTo>
                <a:cubicBezTo>
                  <a:pt x="14464" y="21371"/>
                  <a:pt x="16391" y="20379"/>
                  <a:pt x="17959" y="18809"/>
                </a:cubicBezTo>
                <a:cubicBezTo>
                  <a:pt x="22259" y="14507"/>
                  <a:pt x="22259" y="7529"/>
                  <a:pt x="17959" y="3227"/>
                </a:cubicBezTo>
                <a:cubicBezTo>
                  <a:pt x="15809" y="1075"/>
                  <a:pt x="12990" y="0"/>
                  <a:pt x="10173" y="0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grpSp>
        <p:nvGrpSpPr>
          <p:cNvPr id="52" name="íşļíḍê">
            <a:extLst>
              <a:ext uri="{FF2B5EF4-FFF2-40B4-BE49-F238E27FC236}">
                <a16:creationId xmlns:a16="http://schemas.microsoft.com/office/drawing/2014/main" id="{F11C06B8-58FD-4F6E-AC50-7A694ACC8A8A}"/>
              </a:ext>
            </a:extLst>
          </p:cNvPr>
          <p:cNvGrpSpPr/>
          <p:nvPr/>
        </p:nvGrpSpPr>
        <p:grpSpPr>
          <a:xfrm>
            <a:off x="4739340" y="3669452"/>
            <a:ext cx="2120899" cy="2363788"/>
            <a:chOff x="4739340" y="3436937"/>
            <a:chExt cx="2120899" cy="2363788"/>
          </a:xfrm>
        </p:grpSpPr>
        <p:sp>
          <p:nvSpPr>
            <p:cNvPr id="68" name="i$ľïḑê">
              <a:extLst>
                <a:ext uri="{FF2B5EF4-FFF2-40B4-BE49-F238E27FC236}">
                  <a16:creationId xmlns:a16="http://schemas.microsoft.com/office/drawing/2014/main" id="{077F73AE-780C-4396-8BFA-1C9538990A11}"/>
                </a:ext>
              </a:extLst>
            </p:cNvPr>
            <p:cNvSpPr/>
            <p:nvPr/>
          </p:nvSpPr>
          <p:spPr bwMode="auto">
            <a:xfrm>
              <a:off x="4739340" y="3436937"/>
              <a:ext cx="2120899" cy="2363788"/>
            </a:xfrm>
            <a:custGeom>
              <a:avLst/>
              <a:gdLst>
                <a:gd name="T0" fmla="*/ 12096 w 22275"/>
                <a:gd name="T1" fmla="*/ 24800 h 24800"/>
                <a:gd name="T2" fmla="*/ 19889 w 22275"/>
                <a:gd name="T3" fmla="*/ 21574 h 24800"/>
                <a:gd name="T4" fmla="*/ 22275 w 22275"/>
                <a:gd name="T5" fmla="*/ 18000 h 24800"/>
                <a:gd name="T6" fmla="*/ 20257 w 22275"/>
                <a:gd name="T7" fmla="*/ 17147 h 24800"/>
                <a:gd name="T8" fmla="*/ 18336 w 22275"/>
                <a:gd name="T9" fmla="*/ 20022 h 24800"/>
                <a:gd name="T10" fmla="*/ 12096 w 22275"/>
                <a:gd name="T11" fmla="*/ 22604 h 24800"/>
                <a:gd name="T12" fmla="*/ 5856 w 22275"/>
                <a:gd name="T13" fmla="*/ 20022 h 24800"/>
                <a:gd name="T14" fmla="*/ 5856 w 22275"/>
                <a:gd name="T15" fmla="*/ 7547 h 24800"/>
                <a:gd name="T16" fmla="*/ 9624 w 22275"/>
                <a:gd name="T17" fmla="*/ 5320 h 24800"/>
                <a:gd name="T18" fmla="*/ 9362 w 22275"/>
                <a:gd name="T19" fmla="*/ 8284 h 24800"/>
                <a:gd name="T20" fmla="*/ 18012 w 22275"/>
                <a:gd name="T21" fmla="*/ 4865 h 24800"/>
                <a:gd name="T22" fmla="*/ 10089 w 22275"/>
                <a:gd name="T23" fmla="*/ 0 h 24800"/>
                <a:gd name="T24" fmla="*/ 9824 w 22275"/>
                <a:gd name="T25" fmla="*/ 3006 h 24800"/>
                <a:gd name="T26" fmla="*/ 4303 w 22275"/>
                <a:gd name="T27" fmla="*/ 5992 h 24800"/>
                <a:gd name="T28" fmla="*/ 4303 w 22275"/>
                <a:gd name="T29" fmla="*/ 21574 h 24800"/>
                <a:gd name="T30" fmla="*/ 12096 w 22275"/>
                <a:gd name="T31" fmla="*/ 24800 h 24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75" h="24800">
                  <a:moveTo>
                    <a:pt x="12096" y="24800"/>
                  </a:moveTo>
                  <a:cubicBezTo>
                    <a:pt x="14916" y="24800"/>
                    <a:pt x="17738" y="23726"/>
                    <a:pt x="19889" y="21574"/>
                  </a:cubicBezTo>
                  <a:cubicBezTo>
                    <a:pt x="20945" y="20519"/>
                    <a:pt x="21738" y="19300"/>
                    <a:pt x="22275" y="18000"/>
                  </a:cubicBezTo>
                  <a:lnTo>
                    <a:pt x="20257" y="17147"/>
                  </a:lnTo>
                  <a:cubicBezTo>
                    <a:pt x="19827" y="18193"/>
                    <a:pt x="19186" y="19171"/>
                    <a:pt x="18336" y="20022"/>
                  </a:cubicBezTo>
                  <a:cubicBezTo>
                    <a:pt x="16614" y="21744"/>
                    <a:pt x="14354" y="22604"/>
                    <a:pt x="12096" y="22604"/>
                  </a:cubicBezTo>
                  <a:cubicBezTo>
                    <a:pt x="9838" y="22604"/>
                    <a:pt x="7579" y="21744"/>
                    <a:pt x="5856" y="20022"/>
                  </a:cubicBezTo>
                  <a:cubicBezTo>
                    <a:pt x="2411" y="16576"/>
                    <a:pt x="2411" y="10993"/>
                    <a:pt x="5856" y="7547"/>
                  </a:cubicBezTo>
                  <a:cubicBezTo>
                    <a:pt x="6943" y="6461"/>
                    <a:pt x="8245" y="5721"/>
                    <a:pt x="9624" y="5320"/>
                  </a:cubicBezTo>
                  <a:lnTo>
                    <a:pt x="9362" y="8284"/>
                  </a:lnTo>
                  <a:lnTo>
                    <a:pt x="18012" y="4865"/>
                  </a:lnTo>
                  <a:lnTo>
                    <a:pt x="10089" y="0"/>
                  </a:lnTo>
                  <a:lnTo>
                    <a:pt x="9824" y="3006"/>
                  </a:lnTo>
                  <a:cubicBezTo>
                    <a:pt x="7801" y="3430"/>
                    <a:pt x="5873" y="4422"/>
                    <a:pt x="4303" y="5992"/>
                  </a:cubicBezTo>
                  <a:cubicBezTo>
                    <a:pt x="0" y="10294"/>
                    <a:pt x="0" y="17272"/>
                    <a:pt x="4303" y="21574"/>
                  </a:cubicBezTo>
                  <a:cubicBezTo>
                    <a:pt x="6455" y="23726"/>
                    <a:pt x="9276" y="24800"/>
                    <a:pt x="12096" y="24800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grpSp>
          <p:nvGrpSpPr>
            <p:cNvPr id="69" name="íṥľïḓé">
              <a:extLst>
                <a:ext uri="{FF2B5EF4-FFF2-40B4-BE49-F238E27FC236}">
                  <a16:creationId xmlns:a16="http://schemas.microsoft.com/office/drawing/2014/main" id="{904A6FDB-EF1B-43AF-9B09-936F55B2E0AA}"/>
                </a:ext>
              </a:extLst>
            </p:cNvPr>
            <p:cNvGrpSpPr/>
            <p:nvPr/>
          </p:nvGrpSpPr>
          <p:grpSpPr>
            <a:xfrm>
              <a:off x="5427378" y="4448032"/>
              <a:ext cx="744822" cy="744822"/>
              <a:chOff x="3552295" y="5250042"/>
              <a:chExt cx="478054" cy="478054"/>
            </a:xfrm>
          </p:grpSpPr>
          <p:sp>
            <p:nvSpPr>
              <p:cNvPr id="70" name="iṩḻïḍé">
                <a:extLst>
                  <a:ext uri="{FF2B5EF4-FFF2-40B4-BE49-F238E27FC236}">
                    <a16:creationId xmlns:a16="http://schemas.microsoft.com/office/drawing/2014/main" id="{A031061E-1DC4-4E5C-906C-5A0534C30A56}"/>
                  </a:ext>
                </a:extLst>
              </p:cNvPr>
              <p:cNvSpPr/>
              <p:nvPr/>
            </p:nvSpPr>
            <p:spPr>
              <a:xfrm>
                <a:off x="3552295" y="5250042"/>
                <a:ext cx="478054" cy="478054"/>
              </a:xfrm>
              <a:prstGeom prst="ellipse">
                <a:avLst/>
              </a:prstGeom>
              <a:solidFill>
                <a:schemeClr val="accent2"/>
              </a:solidFill>
              <a:ln w="5715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ïŝľïḓé">
                <a:extLst>
                  <a:ext uri="{FF2B5EF4-FFF2-40B4-BE49-F238E27FC236}">
                    <a16:creationId xmlns:a16="http://schemas.microsoft.com/office/drawing/2014/main" id="{96447019-02D0-4F5D-83C3-BE0FEB6CBF65}"/>
                  </a:ext>
                </a:extLst>
              </p:cNvPr>
              <p:cNvSpPr/>
              <p:nvPr/>
            </p:nvSpPr>
            <p:spPr>
              <a:xfrm>
                <a:off x="3678554" y="5367698"/>
                <a:ext cx="225535" cy="242742"/>
              </a:xfrm>
              <a:custGeom>
                <a:avLst/>
                <a:gdLst>
                  <a:gd name="T0" fmla="*/ 4611 w 10375"/>
                  <a:gd name="T1" fmla="*/ 9390 h 11169"/>
                  <a:gd name="T2" fmla="*/ 5188 w 10375"/>
                  <a:gd name="T3" fmla="*/ 9629 h 11169"/>
                  <a:gd name="T4" fmla="*/ 5764 w 10375"/>
                  <a:gd name="T5" fmla="*/ 9390 h 11169"/>
                  <a:gd name="T6" fmla="*/ 9386 w 10375"/>
                  <a:gd name="T7" fmla="*/ 5768 h 11169"/>
                  <a:gd name="T8" fmla="*/ 9563 w 10375"/>
                  <a:gd name="T9" fmla="*/ 4880 h 11169"/>
                  <a:gd name="T10" fmla="*/ 8810 w 10375"/>
                  <a:gd name="T11" fmla="*/ 4378 h 11169"/>
                  <a:gd name="T12" fmla="*/ 7191 w 10375"/>
                  <a:gd name="T13" fmla="*/ 4378 h 11169"/>
                  <a:gd name="T14" fmla="*/ 7176 w 10375"/>
                  <a:gd name="T15" fmla="*/ 4363 h 11169"/>
                  <a:gd name="T16" fmla="*/ 7176 w 10375"/>
                  <a:gd name="T17" fmla="*/ 815 h 11169"/>
                  <a:gd name="T18" fmla="*/ 6361 w 10375"/>
                  <a:gd name="T19" fmla="*/ 0 h 11169"/>
                  <a:gd name="T20" fmla="*/ 3989 w 10375"/>
                  <a:gd name="T21" fmla="*/ 0 h 11169"/>
                  <a:gd name="T22" fmla="*/ 3174 w 10375"/>
                  <a:gd name="T23" fmla="*/ 815 h 11169"/>
                  <a:gd name="T24" fmla="*/ 3174 w 10375"/>
                  <a:gd name="T25" fmla="*/ 4362 h 11169"/>
                  <a:gd name="T26" fmla="*/ 3159 w 10375"/>
                  <a:gd name="T27" fmla="*/ 4377 h 11169"/>
                  <a:gd name="T28" fmla="*/ 1565 w 10375"/>
                  <a:gd name="T29" fmla="*/ 4377 h 11169"/>
                  <a:gd name="T30" fmla="*/ 813 w 10375"/>
                  <a:gd name="T31" fmla="*/ 4879 h 11169"/>
                  <a:gd name="T32" fmla="*/ 989 w 10375"/>
                  <a:gd name="T33" fmla="*/ 5767 h 11169"/>
                  <a:gd name="T34" fmla="*/ 4611 w 10375"/>
                  <a:gd name="T35" fmla="*/ 9390 h 11169"/>
                  <a:gd name="T36" fmla="*/ 1556 w 10375"/>
                  <a:gd name="T37" fmla="*/ 5178 h 11169"/>
                  <a:gd name="T38" fmla="*/ 1565 w 10375"/>
                  <a:gd name="T39" fmla="*/ 5176 h 11169"/>
                  <a:gd name="T40" fmla="*/ 3159 w 10375"/>
                  <a:gd name="T41" fmla="*/ 5176 h 11169"/>
                  <a:gd name="T42" fmla="*/ 3974 w 10375"/>
                  <a:gd name="T43" fmla="*/ 4361 h 11169"/>
                  <a:gd name="T44" fmla="*/ 3974 w 10375"/>
                  <a:gd name="T45" fmla="*/ 815 h 11169"/>
                  <a:gd name="T46" fmla="*/ 3989 w 10375"/>
                  <a:gd name="T47" fmla="*/ 800 h 11169"/>
                  <a:gd name="T48" fmla="*/ 6363 w 10375"/>
                  <a:gd name="T49" fmla="*/ 800 h 11169"/>
                  <a:gd name="T50" fmla="*/ 6378 w 10375"/>
                  <a:gd name="T51" fmla="*/ 815 h 11169"/>
                  <a:gd name="T52" fmla="*/ 6378 w 10375"/>
                  <a:gd name="T53" fmla="*/ 4362 h 11169"/>
                  <a:gd name="T54" fmla="*/ 7193 w 10375"/>
                  <a:gd name="T55" fmla="*/ 5177 h 11169"/>
                  <a:gd name="T56" fmla="*/ 8811 w 10375"/>
                  <a:gd name="T57" fmla="*/ 5177 h 11169"/>
                  <a:gd name="T58" fmla="*/ 8819 w 10375"/>
                  <a:gd name="T59" fmla="*/ 5178 h 11169"/>
                  <a:gd name="T60" fmla="*/ 8826 w 10375"/>
                  <a:gd name="T61" fmla="*/ 5197 h 11169"/>
                  <a:gd name="T62" fmla="*/ 8821 w 10375"/>
                  <a:gd name="T63" fmla="*/ 5203 h 11169"/>
                  <a:gd name="T64" fmla="*/ 5197 w 10375"/>
                  <a:gd name="T65" fmla="*/ 8825 h 11169"/>
                  <a:gd name="T66" fmla="*/ 5176 w 10375"/>
                  <a:gd name="T67" fmla="*/ 8825 h 11169"/>
                  <a:gd name="T68" fmla="*/ 1554 w 10375"/>
                  <a:gd name="T69" fmla="*/ 5202 h 11169"/>
                  <a:gd name="T70" fmla="*/ 1549 w 10375"/>
                  <a:gd name="T71" fmla="*/ 5195 h 11169"/>
                  <a:gd name="T72" fmla="*/ 1556 w 10375"/>
                  <a:gd name="T73" fmla="*/ 5178 h 11169"/>
                  <a:gd name="T74" fmla="*/ 9975 w 10375"/>
                  <a:gd name="T75" fmla="*/ 10369 h 11169"/>
                  <a:gd name="T76" fmla="*/ 400 w 10375"/>
                  <a:gd name="T77" fmla="*/ 10369 h 11169"/>
                  <a:gd name="T78" fmla="*/ 0 w 10375"/>
                  <a:gd name="T79" fmla="*/ 10769 h 11169"/>
                  <a:gd name="T80" fmla="*/ 400 w 10375"/>
                  <a:gd name="T81" fmla="*/ 11169 h 11169"/>
                  <a:gd name="T82" fmla="*/ 9975 w 10375"/>
                  <a:gd name="T83" fmla="*/ 11169 h 11169"/>
                  <a:gd name="T84" fmla="*/ 10375 w 10375"/>
                  <a:gd name="T85" fmla="*/ 10769 h 11169"/>
                  <a:gd name="T86" fmla="*/ 9975 w 10375"/>
                  <a:gd name="T87" fmla="*/ 10369 h 11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375" h="11169">
                    <a:moveTo>
                      <a:pt x="4611" y="9390"/>
                    </a:moveTo>
                    <a:cubicBezTo>
                      <a:pt x="4765" y="9544"/>
                      <a:pt x="4970" y="9629"/>
                      <a:pt x="5188" y="9629"/>
                    </a:cubicBezTo>
                    <a:cubicBezTo>
                      <a:pt x="5405" y="9629"/>
                      <a:pt x="5610" y="9544"/>
                      <a:pt x="5764" y="9390"/>
                    </a:cubicBezTo>
                    <a:lnTo>
                      <a:pt x="9386" y="5768"/>
                    </a:lnTo>
                    <a:cubicBezTo>
                      <a:pt x="9620" y="5534"/>
                      <a:pt x="9690" y="5185"/>
                      <a:pt x="9563" y="4880"/>
                    </a:cubicBezTo>
                    <a:cubicBezTo>
                      <a:pt x="9436" y="4575"/>
                      <a:pt x="9140" y="4378"/>
                      <a:pt x="8810" y="4378"/>
                    </a:cubicBezTo>
                    <a:lnTo>
                      <a:pt x="7191" y="4378"/>
                    </a:lnTo>
                    <a:cubicBezTo>
                      <a:pt x="7182" y="4378"/>
                      <a:pt x="7176" y="4372"/>
                      <a:pt x="7176" y="4363"/>
                    </a:cubicBezTo>
                    <a:lnTo>
                      <a:pt x="7176" y="815"/>
                    </a:lnTo>
                    <a:cubicBezTo>
                      <a:pt x="7176" y="367"/>
                      <a:pt x="6811" y="0"/>
                      <a:pt x="6361" y="0"/>
                    </a:cubicBezTo>
                    <a:lnTo>
                      <a:pt x="3989" y="0"/>
                    </a:lnTo>
                    <a:cubicBezTo>
                      <a:pt x="3540" y="0"/>
                      <a:pt x="3174" y="365"/>
                      <a:pt x="3174" y="815"/>
                    </a:cubicBezTo>
                    <a:lnTo>
                      <a:pt x="3174" y="4362"/>
                    </a:lnTo>
                    <a:cubicBezTo>
                      <a:pt x="3174" y="4370"/>
                      <a:pt x="3168" y="4377"/>
                      <a:pt x="3159" y="4377"/>
                    </a:cubicBezTo>
                    <a:lnTo>
                      <a:pt x="1565" y="4377"/>
                    </a:lnTo>
                    <a:cubicBezTo>
                      <a:pt x="1234" y="4377"/>
                      <a:pt x="939" y="4574"/>
                      <a:pt x="813" y="4879"/>
                    </a:cubicBezTo>
                    <a:cubicBezTo>
                      <a:pt x="686" y="5184"/>
                      <a:pt x="755" y="5533"/>
                      <a:pt x="989" y="5767"/>
                    </a:cubicBezTo>
                    <a:lnTo>
                      <a:pt x="4611" y="9390"/>
                    </a:lnTo>
                    <a:close/>
                    <a:moveTo>
                      <a:pt x="1556" y="5178"/>
                    </a:moveTo>
                    <a:cubicBezTo>
                      <a:pt x="1556" y="5178"/>
                      <a:pt x="1560" y="5176"/>
                      <a:pt x="1565" y="5176"/>
                    </a:cubicBezTo>
                    <a:lnTo>
                      <a:pt x="3159" y="5176"/>
                    </a:lnTo>
                    <a:cubicBezTo>
                      <a:pt x="3607" y="5176"/>
                      <a:pt x="3974" y="4811"/>
                      <a:pt x="3974" y="4361"/>
                    </a:cubicBezTo>
                    <a:lnTo>
                      <a:pt x="3974" y="815"/>
                    </a:lnTo>
                    <a:cubicBezTo>
                      <a:pt x="3974" y="807"/>
                      <a:pt x="3980" y="800"/>
                      <a:pt x="3989" y="800"/>
                    </a:cubicBezTo>
                    <a:lnTo>
                      <a:pt x="6363" y="800"/>
                    </a:lnTo>
                    <a:cubicBezTo>
                      <a:pt x="6371" y="800"/>
                      <a:pt x="6378" y="807"/>
                      <a:pt x="6378" y="815"/>
                    </a:cubicBezTo>
                    <a:lnTo>
                      <a:pt x="6378" y="4362"/>
                    </a:lnTo>
                    <a:cubicBezTo>
                      <a:pt x="6378" y="4810"/>
                      <a:pt x="6743" y="5177"/>
                      <a:pt x="7193" y="5177"/>
                    </a:cubicBezTo>
                    <a:lnTo>
                      <a:pt x="8811" y="5177"/>
                    </a:lnTo>
                    <a:cubicBezTo>
                      <a:pt x="8816" y="5177"/>
                      <a:pt x="8819" y="5178"/>
                      <a:pt x="8819" y="5178"/>
                    </a:cubicBezTo>
                    <a:cubicBezTo>
                      <a:pt x="8823" y="5180"/>
                      <a:pt x="8828" y="5192"/>
                      <a:pt x="8826" y="5197"/>
                    </a:cubicBezTo>
                    <a:cubicBezTo>
                      <a:pt x="8826" y="5197"/>
                      <a:pt x="8825" y="5199"/>
                      <a:pt x="8821" y="5203"/>
                    </a:cubicBezTo>
                    <a:lnTo>
                      <a:pt x="5197" y="8825"/>
                    </a:lnTo>
                    <a:cubicBezTo>
                      <a:pt x="5191" y="8832"/>
                      <a:pt x="5182" y="8832"/>
                      <a:pt x="5176" y="8825"/>
                    </a:cubicBezTo>
                    <a:lnTo>
                      <a:pt x="1554" y="5202"/>
                    </a:lnTo>
                    <a:cubicBezTo>
                      <a:pt x="1550" y="5198"/>
                      <a:pt x="1549" y="5195"/>
                      <a:pt x="1549" y="5195"/>
                    </a:cubicBezTo>
                    <a:cubicBezTo>
                      <a:pt x="1548" y="5192"/>
                      <a:pt x="1553" y="5180"/>
                      <a:pt x="1556" y="5178"/>
                    </a:cubicBezTo>
                    <a:close/>
                    <a:moveTo>
                      <a:pt x="9975" y="10369"/>
                    </a:moveTo>
                    <a:lnTo>
                      <a:pt x="400" y="10369"/>
                    </a:lnTo>
                    <a:cubicBezTo>
                      <a:pt x="179" y="10369"/>
                      <a:pt x="0" y="10548"/>
                      <a:pt x="0" y="10769"/>
                    </a:cubicBezTo>
                    <a:cubicBezTo>
                      <a:pt x="0" y="10990"/>
                      <a:pt x="179" y="11169"/>
                      <a:pt x="400" y="11169"/>
                    </a:cubicBezTo>
                    <a:lnTo>
                      <a:pt x="9975" y="11169"/>
                    </a:lnTo>
                    <a:cubicBezTo>
                      <a:pt x="10196" y="11169"/>
                      <a:pt x="10375" y="10990"/>
                      <a:pt x="10375" y="10769"/>
                    </a:cubicBezTo>
                    <a:cubicBezTo>
                      <a:pt x="10375" y="10548"/>
                      <a:pt x="10196" y="10369"/>
                      <a:pt x="9975" y="10369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53" name="îṥliḍê">
            <a:extLst>
              <a:ext uri="{FF2B5EF4-FFF2-40B4-BE49-F238E27FC236}">
                <a16:creationId xmlns:a16="http://schemas.microsoft.com/office/drawing/2014/main" id="{E35AE502-7718-4321-B434-AC62223B43BB}"/>
              </a:ext>
            </a:extLst>
          </p:cNvPr>
          <p:cNvGrpSpPr/>
          <p:nvPr/>
        </p:nvGrpSpPr>
        <p:grpSpPr>
          <a:xfrm>
            <a:off x="5970773" y="2316760"/>
            <a:ext cx="744822" cy="744822"/>
            <a:chOff x="3552295" y="5250042"/>
            <a:chExt cx="478054" cy="478054"/>
          </a:xfrm>
        </p:grpSpPr>
        <p:sp>
          <p:nvSpPr>
            <p:cNvPr id="66" name="îṥḻiḑè">
              <a:extLst>
                <a:ext uri="{FF2B5EF4-FFF2-40B4-BE49-F238E27FC236}">
                  <a16:creationId xmlns:a16="http://schemas.microsoft.com/office/drawing/2014/main" id="{4FC02911-BC41-44C5-83B1-B42A4B98B8C0}"/>
                </a:ext>
              </a:extLst>
            </p:cNvPr>
            <p:cNvSpPr/>
            <p:nvPr/>
          </p:nvSpPr>
          <p:spPr>
            <a:xfrm>
              <a:off x="3552295" y="5250042"/>
              <a:ext cx="478054" cy="478054"/>
            </a:xfrm>
            <a:prstGeom prst="ellipse">
              <a:avLst/>
            </a:prstGeom>
            <a:solidFill>
              <a:schemeClr val="accent1"/>
            </a:solidFill>
            <a:ln w="5715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íS1ïḑe">
              <a:extLst>
                <a:ext uri="{FF2B5EF4-FFF2-40B4-BE49-F238E27FC236}">
                  <a16:creationId xmlns:a16="http://schemas.microsoft.com/office/drawing/2014/main" id="{658BF03D-CB04-4A13-8FB7-DFCDB2214C09}"/>
                </a:ext>
              </a:extLst>
            </p:cNvPr>
            <p:cNvSpPr/>
            <p:nvPr/>
          </p:nvSpPr>
          <p:spPr>
            <a:xfrm>
              <a:off x="3680224" y="5367698"/>
              <a:ext cx="222195" cy="242742"/>
            </a:xfrm>
            <a:custGeom>
              <a:avLst/>
              <a:gdLst>
                <a:gd name="connsiteX0" fmla="*/ 320106 w 555350"/>
                <a:gd name="connsiteY0" fmla="*/ 331358 h 606704"/>
                <a:gd name="connsiteX1" fmla="*/ 408926 w 555350"/>
                <a:gd name="connsiteY1" fmla="*/ 420059 h 606704"/>
                <a:gd name="connsiteX2" fmla="*/ 92091 w 555350"/>
                <a:gd name="connsiteY2" fmla="*/ 597105 h 606704"/>
                <a:gd name="connsiteX3" fmla="*/ 59696 w 555350"/>
                <a:gd name="connsiteY3" fmla="*/ 606704 h 606704"/>
                <a:gd name="connsiteX4" fmla="*/ 46079 w 555350"/>
                <a:gd name="connsiteY4" fmla="*/ 605015 h 606704"/>
                <a:gd name="connsiteX5" fmla="*/ 444987 w 555350"/>
                <a:gd name="connsiteY5" fmla="*/ 206669 h 606704"/>
                <a:gd name="connsiteX6" fmla="*/ 524822 w 555350"/>
                <a:gd name="connsiteY6" fmla="*/ 251295 h 606704"/>
                <a:gd name="connsiteX7" fmla="*/ 555350 w 555350"/>
                <a:gd name="connsiteY7" fmla="*/ 303299 h 606704"/>
                <a:gd name="connsiteX8" fmla="*/ 524822 w 555350"/>
                <a:gd name="connsiteY8" fmla="*/ 355392 h 606704"/>
                <a:gd name="connsiteX9" fmla="*/ 444987 w 555350"/>
                <a:gd name="connsiteY9" fmla="*/ 400018 h 606704"/>
                <a:gd name="connsiteX10" fmla="*/ 348240 w 555350"/>
                <a:gd name="connsiteY10" fmla="*/ 303299 h 606704"/>
                <a:gd name="connsiteX11" fmla="*/ 12103 w 555350"/>
                <a:gd name="connsiteY11" fmla="*/ 23834 h 606704"/>
                <a:gd name="connsiteX12" fmla="*/ 292000 w 555350"/>
                <a:gd name="connsiteY12" fmla="*/ 303309 h 606704"/>
                <a:gd name="connsiteX13" fmla="*/ 12103 w 555350"/>
                <a:gd name="connsiteY13" fmla="*/ 582783 h 606704"/>
                <a:gd name="connsiteX14" fmla="*/ 0 w 555350"/>
                <a:gd name="connsiteY14" fmla="*/ 547060 h 606704"/>
                <a:gd name="connsiteX15" fmla="*/ 0 w 555350"/>
                <a:gd name="connsiteY15" fmla="*/ 59646 h 606704"/>
                <a:gd name="connsiteX16" fmla="*/ 12103 w 555350"/>
                <a:gd name="connsiteY16" fmla="*/ 23834 h 606704"/>
                <a:gd name="connsiteX17" fmla="*/ 69753 w 555350"/>
                <a:gd name="connsiteY17" fmla="*/ 836 h 606704"/>
                <a:gd name="connsiteX18" fmla="*/ 92091 w 555350"/>
                <a:gd name="connsiteY18" fmla="*/ 9491 h 606704"/>
                <a:gd name="connsiteX19" fmla="*/ 408926 w 555350"/>
                <a:gd name="connsiteY19" fmla="*/ 186551 h 606704"/>
                <a:gd name="connsiteX20" fmla="*/ 320106 w 555350"/>
                <a:gd name="connsiteY20" fmla="*/ 275258 h 606704"/>
                <a:gd name="connsiteX21" fmla="*/ 46079 w 555350"/>
                <a:gd name="connsiteY21" fmla="*/ 1580 h 606704"/>
                <a:gd name="connsiteX22" fmla="*/ 69753 w 555350"/>
                <a:gd name="connsiteY22" fmla="*/ 836 h 606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55350" h="606704">
                  <a:moveTo>
                    <a:pt x="320106" y="331358"/>
                  </a:moveTo>
                  <a:lnTo>
                    <a:pt x="408926" y="420059"/>
                  </a:lnTo>
                  <a:lnTo>
                    <a:pt x="92091" y="597105"/>
                  </a:lnTo>
                  <a:cubicBezTo>
                    <a:pt x="82302" y="603504"/>
                    <a:pt x="70999" y="606704"/>
                    <a:pt x="59696" y="606704"/>
                  </a:cubicBezTo>
                  <a:cubicBezTo>
                    <a:pt x="55157" y="606704"/>
                    <a:pt x="50529" y="606082"/>
                    <a:pt x="46079" y="605015"/>
                  </a:cubicBezTo>
                  <a:close/>
                  <a:moveTo>
                    <a:pt x="444987" y="206669"/>
                  </a:moveTo>
                  <a:lnTo>
                    <a:pt x="524822" y="251295"/>
                  </a:lnTo>
                  <a:cubicBezTo>
                    <a:pt x="543958" y="261962"/>
                    <a:pt x="555350" y="281431"/>
                    <a:pt x="555350" y="303299"/>
                  </a:cubicBezTo>
                  <a:cubicBezTo>
                    <a:pt x="555350" y="325167"/>
                    <a:pt x="543958" y="344636"/>
                    <a:pt x="524822" y="355392"/>
                  </a:cubicBezTo>
                  <a:lnTo>
                    <a:pt x="444987" y="400018"/>
                  </a:lnTo>
                  <a:lnTo>
                    <a:pt x="348240" y="303299"/>
                  </a:lnTo>
                  <a:close/>
                  <a:moveTo>
                    <a:pt x="12103" y="23834"/>
                  </a:moveTo>
                  <a:lnTo>
                    <a:pt x="292000" y="303309"/>
                  </a:lnTo>
                  <a:lnTo>
                    <a:pt x="12103" y="582783"/>
                  </a:lnTo>
                  <a:cubicBezTo>
                    <a:pt x="4450" y="572653"/>
                    <a:pt x="0" y="560212"/>
                    <a:pt x="0" y="547060"/>
                  </a:cubicBezTo>
                  <a:lnTo>
                    <a:pt x="0" y="59646"/>
                  </a:lnTo>
                  <a:cubicBezTo>
                    <a:pt x="0" y="46494"/>
                    <a:pt x="4450" y="33964"/>
                    <a:pt x="12103" y="23834"/>
                  </a:cubicBezTo>
                  <a:close/>
                  <a:moveTo>
                    <a:pt x="69753" y="836"/>
                  </a:moveTo>
                  <a:cubicBezTo>
                    <a:pt x="77585" y="2158"/>
                    <a:pt x="85194" y="5047"/>
                    <a:pt x="92091" y="9491"/>
                  </a:cubicBezTo>
                  <a:lnTo>
                    <a:pt x="408926" y="186551"/>
                  </a:lnTo>
                  <a:lnTo>
                    <a:pt x="320106" y="275258"/>
                  </a:lnTo>
                  <a:lnTo>
                    <a:pt x="46079" y="1580"/>
                  </a:lnTo>
                  <a:cubicBezTo>
                    <a:pt x="53867" y="-242"/>
                    <a:pt x="61921" y="-486"/>
                    <a:pt x="69753" y="83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4" name="iš1iďê">
            <a:extLst>
              <a:ext uri="{FF2B5EF4-FFF2-40B4-BE49-F238E27FC236}">
                <a16:creationId xmlns:a16="http://schemas.microsoft.com/office/drawing/2014/main" id="{2FA9E34C-4F4C-4B24-A834-1C1C461B8B20}"/>
              </a:ext>
            </a:extLst>
          </p:cNvPr>
          <p:cNvSpPr txBox="1"/>
          <p:nvPr/>
        </p:nvSpPr>
        <p:spPr bwMode="auto">
          <a:xfrm>
            <a:off x="1529256" y="1821134"/>
            <a:ext cx="3573906" cy="45518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  <a:spcBef>
                <a:spcPct val="0"/>
              </a:spcBef>
            </a:pPr>
            <a:r>
              <a:rPr lang="en-US" altLang="zh-CN" sz="2000" b="1" dirty="0"/>
              <a:t>RQ4: Presence of Squatting in App Markets</a:t>
            </a:r>
          </a:p>
        </p:txBody>
      </p:sp>
      <p:sp>
        <p:nvSpPr>
          <p:cNvPr id="55" name="îSľiḍé">
            <a:extLst>
              <a:ext uri="{FF2B5EF4-FFF2-40B4-BE49-F238E27FC236}">
                <a16:creationId xmlns:a16="http://schemas.microsoft.com/office/drawing/2014/main" id="{0B78BCAA-6D3C-4FB3-B36A-06C2FFFA2A78}"/>
              </a:ext>
            </a:extLst>
          </p:cNvPr>
          <p:cNvSpPr/>
          <p:nvPr/>
        </p:nvSpPr>
        <p:spPr>
          <a:xfrm>
            <a:off x="669925" y="2278660"/>
            <a:ext cx="4854575" cy="1628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7" name="iśļíḋê">
            <a:extLst>
              <a:ext uri="{FF2B5EF4-FFF2-40B4-BE49-F238E27FC236}">
                <a16:creationId xmlns:a16="http://schemas.microsoft.com/office/drawing/2014/main" id="{67CDE133-C48F-4F02-9AF7-AB65922E32F5}"/>
              </a:ext>
            </a:extLst>
          </p:cNvPr>
          <p:cNvSpPr/>
          <p:nvPr/>
        </p:nvSpPr>
        <p:spPr>
          <a:xfrm>
            <a:off x="6665913" y="5300645"/>
            <a:ext cx="4854575" cy="1628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8" name="ïṩḷïḓé">
            <a:extLst>
              <a:ext uri="{FF2B5EF4-FFF2-40B4-BE49-F238E27FC236}">
                <a16:creationId xmlns:a16="http://schemas.microsoft.com/office/drawing/2014/main" id="{A18F4B19-7BFA-448B-A5F4-6CE5F43F5A61}"/>
              </a:ext>
            </a:extLst>
          </p:cNvPr>
          <p:cNvSpPr txBox="1"/>
          <p:nvPr/>
        </p:nvSpPr>
        <p:spPr bwMode="auto">
          <a:xfrm>
            <a:off x="6807200" y="4834472"/>
            <a:ext cx="4713288" cy="45518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2000" b="1" dirty="0"/>
              <a:t>RQ5: Impact on App Downloads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DE7E2511-DD9E-4655-9657-9FA00E212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5" y="0"/>
            <a:ext cx="10850563" cy="1028700"/>
          </a:xfrm>
        </p:spPr>
        <p:txBody>
          <a:bodyPr/>
          <a:lstStyle/>
          <a:p>
            <a:r>
              <a:rPr lang="en-NZ" altLang="zh-CN" dirty="0"/>
              <a:t>Characterizing The Impact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6429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27289B-91D5-45BA-AC4E-2FA833828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CF62FA-E7CF-4E6B-B8AF-08FC5DF103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7158" y="1411967"/>
            <a:ext cx="4603987" cy="44452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6D83BFC-E2B6-437C-AEE0-AC417F9683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4481" y="2199648"/>
            <a:ext cx="4572235" cy="307355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21EB578E-4CBE-4FC7-BCB6-08F4316646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5" y="0"/>
            <a:ext cx="10850563" cy="1028700"/>
          </a:xfrm>
        </p:spPr>
        <p:txBody>
          <a:bodyPr/>
          <a:lstStyle/>
          <a:p>
            <a:r>
              <a:rPr lang="en-US" altLang="zh-CN" dirty="0"/>
              <a:t>Presence of Squatting in App Markets</a:t>
            </a:r>
          </a:p>
        </p:txBody>
      </p:sp>
    </p:spTree>
    <p:extLst>
      <p:ext uri="{BB962C8B-B14F-4D97-AF65-F5344CB8AC3E}">
        <p14:creationId xmlns:p14="http://schemas.microsoft.com/office/powerpoint/2010/main" val="34474518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395EF2-B0EB-4FDA-9D60-DC5E19D3C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esence of Squatting in App Marke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1AE1A1-D0F5-4506-9622-3D7279654A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5E198E-1E9B-4249-B336-826DAFFA49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0259" y="1992622"/>
            <a:ext cx="9491482" cy="287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4655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BB93B9-666D-4204-A276-72465EF0E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51" name="ï$ḷîḑé">
            <a:extLst>
              <a:ext uri="{FF2B5EF4-FFF2-40B4-BE49-F238E27FC236}">
                <a16:creationId xmlns:a16="http://schemas.microsoft.com/office/drawing/2014/main" id="{F4C21AC7-F9BE-4EAF-A9FC-F84FBDEF6E1E}"/>
              </a:ext>
            </a:extLst>
          </p:cNvPr>
          <p:cNvSpPr/>
          <p:nvPr/>
        </p:nvSpPr>
        <p:spPr bwMode="auto">
          <a:xfrm>
            <a:off x="5331761" y="1708889"/>
            <a:ext cx="2120899" cy="2363788"/>
          </a:xfrm>
          <a:custGeom>
            <a:avLst/>
            <a:gdLst>
              <a:gd name="T0" fmla="*/ 10173 w 22259"/>
              <a:gd name="T1" fmla="*/ 0 h 24800"/>
              <a:gd name="T2" fmla="*/ 2385 w 22259"/>
              <a:gd name="T3" fmla="*/ 3227 h 24800"/>
              <a:gd name="T4" fmla="*/ 0 w 22259"/>
              <a:gd name="T5" fmla="*/ 6801 h 24800"/>
              <a:gd name="T6" fmla="*/ 2017 w 22259"/>
              <a:gd name="T7" fmla="*/ 7654 h 24800"/>
              <a:gd name="T8" fmla="*/ 3937 w 22259"/>
              <a:gd name="T9" fmla="*/ 4779 h 24800"/>
              <a:gd name="T10" fmla="*/ 10173 w 22259"/>
              <a:gd name="T11" fmla="*/ 2197 h 24800"/>
              <a:gd name="T12" fmla="*/ 16407 w 22259"/>
              <a:gd name="T13" fmla="*/ 4779 h 24800"/>
              <a:gd name="T14" fmla="*/ 16407 w 22259"/>
              <a:gd name="T15" fmla="*/ 17254 h 24800"/>
              <a:gd name="T16" fmla="*/ 12643 w 22259"/>
              <a:gd name="T17" fmla="*/ 19481 h 24800"/>
              <a:gd name="T18" fmla="*/ 12904 w 22259"/>
              <a:gd name="T19" fmla="*/ 16517 h 24800"/>
              <a:gd name="T20" fmla="*/ 4261 w 22259"/>
              <a:gd name="T21" fmla="*/ 19936 h 24800"/>
              <a:gd name="T22" fmla="*/ 12178 w 22259"/>
              <a:gd name="T23" fmla="*/ 24800 h 24800"/>
              <a:gd name="T24" fmla="*/ 12443 w 22259"/>
              <a:gd name="T25" fmla="*/ 21795 h 24800"/>
              <a:gd name="T26" fmla="*/ 17959 w 22259"/>
              <a:gd name="T27" fmla="*/ 18809 h 24800"/>
              <a:gd name="T28" fmla="*/ 17959 w 22259"/>
              <a:gd name="T29" fmla="*/ 3227 h 24800"/>
              <a:gd name="T30" fmla="*/ 10173 w 22259"/>
              <a:gd name="T31" fmla="*/ 0 h 24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259" h="24800">
                <a:moveTo>
                  <a:pt x="10173" y="0"/>
                </a:moveTo>
                <a:cubicBezTo>
                  <a:pt x="7354" y="0"/>
                  <a:pt x="4535" y="1075"/>
                  <a:pt x="2385" y="3227"/>
                </a:cubicBezTo>
                <a:cubicBezTo>
                  <a:pt x="1330" y="4282"/>
                  <a:pt x="537" y="5501"/>
                  <a:pt x="0" y="6801"/>
                </a:cubicBezTo>
                <a:lnTo>
                  <a:pt x="2017" y="7654"/>
                </a:lnTo>
                <a:cubicBezTo>
                  <a:pt x="2447" y="6608"/>
                  <a:pt x="3088" y="5630"/>
                  <a:pt x="3937" y="4779"/>
                </a:cubicBezTo>
                <a:cubicBezTo>
                  <a:pt x="5658" y="3057"/>
                  <a:pt x="7916" y="2197"/>
                  <a:pt x="10173" y="2197"/>
                </a:cubicBezTo>
                <a:cubicBezTo>
                  <a:pt x="12428" y="2197"/>
                  <a:pt x="14686" y="3057"/>
                  <a:pt x="16407" y="4779"/>
                </a:cubicBezTo>
                <a:cubicBezTo>
                  <a:pt x="19850" y="8225"/>
                  <a:pt x="19850" y="13808"/>
                  <a:pt x="16407" y="17254"/>
                </a:cubicBezTo>
                <a:cubicBezTo>
                  <a:pt x="15321" y="18340"/>
                  <a:pt x="14020" y="19080"/>
                  <a:pt x="12643" y="19481"/>
                </a:cubicBezTo>
                <a:lnTo>
                  <a:pt x="12904" y="16517"/>
                </a:lnTo>
                <a:lnTo>
                  <a:pt x="4261" y="19936"/>
                </a:lnTo>
                <a:lnTo>
                  <a:pt x="12178" y="24800"/>
                </a:lnTo>
                <a:lnTo>
                  <a:pt x="12443" y="21795"/>
                </a:lnTo>
                <a:cubicBezTo>
                  <a:pt x="14464" y="21371"/>
                  <a:pt x="16391" y="20379"/>
                  <a:pt x="17959" y="18809"/>
                </a:cubicBezTo>
                <a:cubicBezTo>
                  <a:pt x="22259" y="14507"/>
                  <a:pt x="22259" y="7529"/>
                  <a:pt x="17959" y="3227"/>
                </a:cubicBezTo>
                <a:cubicBezTo>
                  <a:pt x="15809" y="1075"/>
                  <a:pt x="12990" y="0"/>
                  <a:pt x="10173" y="0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/>
          </a:p>
        </p:txBody>
      </p:sp>
      <p:grpSp>
        <p:nvGrpSpPr>
          <p:cNvPr id="52" name="íşļíḍê">
            <a:extLst>
              <a:ext uri="{FF2B5EF4-FFF2-40B4-BE49-F238E27FC236}">
                <a16:creationId xmlns:a16="http://schemas.microsoft.com/office/drawing/2014/main" id="{F11C06B8-58FD-4F6E-AC50-7A694ACC8A8A}"/>
              </a:ext>
            </a:extLst>
          </p:cNvPr>
          <p:cNvGrpSpPr/>
          <p:nvPr/>
        </p:nvGrpSpPr>
        <p:grpSpPr>
          <a:xfrm>
            <a:off x="4739340" y="3669452"/>
            <a:ext cx="2120899" cy="2363788"/>
            <a:chOff x="4739340" y="3436937"/>
            <a:chExt cx="2120899" cy="2363788"/>
          </a:xfrm>
        </p:grpSpPr>
        <p:sp>
          <p:nvSpPr>
            <p:cNvPr id="68" name="i$ľïḑê">
              <a:extLst>
                <a:ext uri="{FF2B5EF4-FFF2-40B4-BE49-F238E27FC236}">
                  <a16:creationId xmlns:a16="http://schemas.microsoft.com/office/drawing/2014/main" id="{077F73AE-780C-4396-8BFA-1C9538990A11}"/>
                </a:ext>
              </a:extLst>
            </p:cNvPr>
            <p:cNvSpPr/>
            <p:nvPr/>
          </p:nvSpPr>
          <p:spPr bwMode="auto">
            <a:xfrm>
              <a:off x="4739340" y="3436937"/>
              <a:ext cx="2120899" cy="2363788"/>
            </a:xfrm>
            <a:custGeom>
              <a:avLst/>
              <a:gdLst>
                <a:gd name="T0" fmla="*/ 12096 w 22275"/>
                <a:gd name="T1" fmla="*/ 24800 h 24800"/>
                <a:gd name="T2" fmla="*/ 19889 w 22275"/>
                <a:gd name="T3" fmla="*/ 21574 h 24800"/>
                <a:gd name="T4" fmla="*/ 22275 w 22275"/>
                <a:gd name="T5" fmla="*/ 18000 h 24800"/>
                <a:gd name="T6" fmla="*/ 20257 w 22275"/>
                <a:gd name="T7" fmla="*/ 17147 h 24800"/>
                <a:gd name="T8" fmla="*/ 18336 w 22275"/>
                <a:gd name="T9" fmla="*/ 20022 h 24800"/>
                <a:gd name="T10" fmla="*/ 12096 w 22275"/>
                <a:gd name="T11" fmla="*/ 22604 h 24800"/>
                <a:gd name="T12" fmla="*/ 5856 w 22275"/>
                <a:gd name="T13" fmla="*/ 20022 h 24800"/>
                <a:gd name="T14" fmla="*/ 5856 w 22275"/>
                <a:gd name="T15" fmla="*/ 7547 h 24800"/>
                <a:gd name="T16" fmla="*/ 9624 w 22275"/>
                <a:gd name="T17" fmla="*/ 5320 h 24800"/>
                <a:gd name="T18" fmla="*/ 9362 w 22275"/>
                <a:gd name="T19" fmla="*/ 8284 h 24800"/>
                <a:gd name="T20" fmla="*/ 18012 w 22275"/>
                <a:gd name="T21" fmla="*/ 4865 h 24800"/>
                <a:gd name="T22" fmla="*/ 10089 w 22275"/>
                <a:gd name="T23" fmla="*/ 0 h 24800"/>
                <a:gd name="T24" fmla="*/ 9824 w 22275"/>
                <a:gd name="T25" fmla="*/ 3006 h 24800"/>
                <a:gd name="T26" fmla="*/ 4303 w 22275"/>
                <a:gd name="T27" fmla="*/ 5992 h 24800"/>
                <a:gd name="T28" fmla="*/ 4303 w 22275"/>
                <a:gd name="T29" fmla="*/ 21574 h 24800"/>
                <a:gd name="T30" fmla="*/ 12096 w 22275"/>
                <a:gd name="T31" fmla="*/ 24800 h 24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75" h="24800">
                  <a:moveTo>
                    <a:pt x="12096" y="24800"/>
                  </a:moveTo>
                  <a:cubicBezTo>
                    <a:pt x="14916" y="24800"/>
                    <a:pt x="17738" y="23726"/>
                    <a:pt x="19889" y="21574"/>
                  </a:cubicBezTo>
                  <a:cubicBezTo>
                    <a:pt x="20945" y="20519"/>
                    <a:pt x="21738" y="19300"/>
                    <a:pt x="22275" y="18000"/>
                  </a:cubicBezTo>
                  <a:lnTo>
                    <a:pt x="20257" y="17147"/>
                  </a:lnTo>
                  <a:cubicBezTo>
                    <a:pt x="19827" y="18193"/>
                    <a:pt x="19186" y="19171"/>
                    <a:pt x="18336" y="20022"/>
                  </a:cubicBezTo>
                  <a:cubicBezTo>
                    <a:pt x="16614" y="21744"/>
                    <a:pt x="14354" y="22604"/>
                    <a:pt x="12096" y="22604"/>
                  </a:cubicBezTo>
                  <a:cubicBezTo>
                    <a:pt x="9838" y="22604"/>
                    <a:pt x="7579" y="21744"/>
                    <a:pt x="5856" y="20022"/>
                  </a:cubicBezTo>
                  <a:cubicBezTo>
                    <a:pt x="2411" y="16576"/>
                    <a:pt x="2411" y="10993"/>
                    <a:pt x="5856" y="7547"/>
                  </a:cubicBezTo>
                  <a:cubicBezTo>
                    <a:pt x="6943" y="6461"/>
                    <a:pt x="8245" y="5721"/>
                    <a:pt x="9624" y="5320"/>
                  </a:cubicBezTo>
                  <a:lnTo>
                    <a:pt x="9362" y="8284"/>
                  </a:lnTo>
                  <a:lnTo>
                    <a:pt x="18012" y="4865"/>
                  </a:lnTo>
                  <a:lnTo>
                    <a:pt x="10089" y="0"/>
                  </a:lnTo>
                  <a:lnTo>
                    <a:pt x="9824" y="3006"/>
                  </a:lnTo>
                  <a:cubicBezTo>
                    <a:pt x="7801" y="3430"/>
                    <a:pt x="5873" y="4422"/>
                    <a:pt x="4303" y="5992"/>
                  </a:cubicBezTo>
                  <a:cubicBezTo>
                    <a:pt x="0" y="10294"/>
                    <a:pt x="0" y="17272"/>
                    <a:pt x="4303" y="21574"/>
                  </a:cubicBezTo>
                  <a:cubicBezTo>
                    <a:pt x="6455" y="23726"/>
                    <a:pt x="9276" y="24800"/>
                    <a:pt x="12096" y="24800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grpSp>
          <p:nvGrpSpPr>
            <p:cNvPr id="69" name="íṥľïḓé">
              <a:extLst>
                <a:ext uri="{FF2B5EF4-FFF2-40B4-BE49-F238E27FC236}">
                  <a16:creationId xmlns:a16="http://schemas.microsoft.com/office/drawing/2014/main" id="{904A6FDB-EF1B-43AF-9B09-936F55B2E0AA}"/>
                </a:ext>
              </a:extLst>
            </p:cNvPr>
            <p:cNvGrpSpPr/>
            <p:nvPr/>
          </p:nvGrpSpPr>
          <p:grpSpPr>
            <a:xfrm>
              <a:off x="5427378" y="4448032"/>
              <a:ext cx="744822" cy="744822"/>
              <a:chOff x="3552295" y="5250042"/>
              <a:chExt cx="478054" cy="478054"/>
            </a:xfrm>
          </p:grpSpPr>
          <p:sp>
            <p:nvSpPr>
              <p:cNvPr id="70" name="iṩḻïḍé">
                <a:extLst>
                  <a:ext uri="{FF2B5EF4-FFF2-40B4-BE49-F238E27FC236}">
                    <a16:creationId xmlns:a16="http://schemas.microsoft.com/office/drawing/2014/main" id="{A031061E-1DC4-4E5C-906C-5A0534C30A56}"/>
                  </a:ext>
                </a:extLst>
              </p:cNvPr>
              <p:cNvSpPr/>
              <p:nvPr/>
            </p:nvSpPr>
            <p:spPr>
              <a:xfrm>
                <a:off x="3552295" y="5250042"/>
                <a:ext cx="478054" cy="478054"/>
              </a:xfrm>
              <a:prstGeom prst="ellipse">
                <a:avLst/>
              </a:prstGeom>
              <a:solidFill>
                <a:schemeClr val="accent2"/>
              </a:solidFill>
              <a:ln w="5715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ïŝľïḓé">
                <a:extLst>
                  <a:ext uri="{FF2B5EF4-FFF2-40B4-BE49-F238E27FC236}">
                    <a16:creationId xmlns:a16="http://schemas.microsoft.com/office/drawing/2014/main" id="{96447019-02D0-4F5D-83C3-BE0FEB6CBF65}"/>
                  </a:ext>
                </a:extLst>
              </p:cNvPr>
              <p:cNvSpPr/>
              <p:nvPr/>
            </p:nvSpPr>
            <p:spPr>
              <a:xfrm>
                <a:off x="3678554" y="5367698"/>
                <a:ext cx="225535" cy="242742"/>
              </a:xfrm>
              <a:custGeom>
                <a:avLst/>
                <a:gdLst>
                  <a:gd name="T0" fmla="*/ 4611 w 10375"/>
                  <a:gd name="T1" fmla="*/ 9390 h 11169"/>
                  <a:gd name="T2" fmla="*/ 5188 w 10375"/>
                  <a:gd name="T3" fmla="*/ 9629 h 11169"/>
                  <a:gd name="T4" fmla="*/ 5764 w 10375"/>
                  <a:gd name="T5" fmla="*/ 9390 h 11169"/>
                  <a:gd name="T6" fmla="*/ 9386 w 10375"/>
                  <a:gd name="T7" fmla="*/ 5768 h 11169"/>
                  <a:gd name="T8" fmla="*/ 9563 w 10375"/>
                  <a:gd name="T9" fmla="*/ 4880 h 11169"/>
                  <a:gd name="T10" fmla="*/ 8810 w 10375"/>
                  <a:gd name="T11" fmla="*/ 4378 h 11169"/>
                  <a:gd name="T12" fmla="*/ 7191 w 10375"/>
                  <a:gd name="T13" fmla="*/ 4378 h 11169"/>
                  <a:gd name="T14" fmla="*/ 7176 w 10375"/>
                  <a:gd name="T15" fmla="*/ 4363 h 11169"/>
                  <a:gd name="T16" fmla="*/ 7176 w 10375"/>
                  <a:gd name="T17" fmla="*/ 815 h 11169"/>
                  <a:gd name="T18" fmla="*/ 6361 w 10375"/>
                  <a:gd name="T19" fmla="*/ 0 h 11169"/>
                  <a:gd name="T20" fmla="*/ 3989 w 10375"/>
                  <a:gd name="T21" fmla="*/ 0 h 11169"/>
                  <a:gd name="T22" fmla="*/ 3174 w 10375"/>
                  <a:gd name="T23" fmla="*/ 815 h 11169"/>
                  <a:gd name="T24" fmla="*/ 3174 w 10375"/>
                  <a:gd name="T25" fmla="*/ 4362 h 11169"/>
                  <a:gd name="T26" fmla="*/ 3159 w 10375"/>
                  <a:gd name="T27" fmla="*/ 4377 h 11169"/>
                  <a:gd name="T28" fmla="*/ 1565 w 10375"/>
                  <a:gd name="T29" fmla="*/ 4377 h 11169"/>
                  <a:gd name="T30" fmla="*/ 813 w 10375"/>
                  <a:gd name="T31" fmla="*/ 4879 h 11169"/>
                  <a:gd name="T32" fmla="*/ 989 w 10375"/>
                  <a:gd name="T33" fmla="*/ 5767 h 11169"/>
                  <a:gd name="T34" fmla="*/ 4611 w 10375"/>
                  <a:gd name="T35" fmla="*/ 9390 h 11169"/>
                  <a:gd name="T36" fmla="*/ 1556 w 10375"/>
                  <a:gd name="T37" fmla="*/ 5178 h 11169"/>
                  <a:gd name="T38" fmla="*/ 1565 w 10375"/>
                  <a:gd name="T39" fmla="*/ 5176 h 11169"/>
                  <a:gd name="T40" fmla="*/ 3159 w 10375"/>
                  <a:gd name="T41" fmla="*/ 5176 h 11169"/>
                  <a:gd name="T42" fmla="*/ 3974 w 10375"/>
                  <a:gd name="T43" fmla="*/ 4361 h 11169"/>
                  <a:gd name="T44" fmla="*/ 3974 w 10375"/>
                  <a:gd name="T45" fmla="*/ 815 h 11169"/>
                  <a:gd name="T46" fmla="*/ 3989 w 10375"/>
                  <a:gd name="T47" fmla="*/ 800 h 11169"/>
                  <a:gd name="T48" fmla="*/ 6363 w 10375"/>
                  <a:gd name="T49" fmla="*/ 800 h 11169"/>
                  <a:gd name="T50" fmla="*/ 6378 w 10375"/>
                  <a:gd name="T51" fmla="*/ 815 h 11169"/>
                  <a:gd name="T52" fmla="*/ 6378 w 10375"/>
                  <a:gd name="T53" fmla="*/ 4362 h 11169"/>
                  <a:gd name="T54" fmla="*/ 7193 w 10375"/>
                  <a:gd name="T55" fmla="*/ 5177 h 11169"/>
                  <a:gd name="T56" fmla="*/ 8811 w 10375"/>
                  <a:gd name="T57" fmla="*/ 5177 h 11169"/>
                  <a:gd name="T58" fmla="*/ 8819 w 10375"/>
                  <a:gd name="T59" fmla="*/ 5178 h 11169"/>
                  <a:gd name="T60" fmla="*/ 8826 w 10375"/>
                  <a:gd name="T61" fmla="*/ 5197 h 11169"/>
                  <a:gd name="T62" fmla="*/ 8821 w 10375"/>
                  <a:gd name="T63" fmla="*/ 5203 h 11169"/>
                  <a:gd name="T64" fmla="*/ 5197 w 10375"/>
                  <a:gd name="T65" fmla="*/ 8825 h 11169"/>
                  <a:gd name="T66" fmla="*/ 5176 w 10375"/>
                  <a:gd name="T67" fmla="*/ 8825 h 11169"/>
                  <a:gd name="T68" fmla="*/ 1554 w 10375"/>
                  <a:gd name="T69" fmla="*/ 5202 h 11169"/>
                  <a:gd name="T70" fmla="*/ 1549 w 10375"/>
                  <a:gd name="T71" fmla="*/ 5195 h 11169"/>
                  <a:gd name="T72" fmla="*/ 1556 w 10375"/>
                  <a:gd name="T73" fmla="*/ 5178 h 11169"/>
                  <a:gd name="T74" fmla="*/ 9975 w 10375"/>
                  <a:gd name="T75" fmla="*/ 10369 h 11169"/>
                  <a:gd name="T76" fmla="*/ 400 w 10375"/>
                  <a:gd name="T77" fmla="*/ 10369 h 11169"/>
                  <a:gd name="T78" fmla="*/ 0 w 10375"/>
                  <a:gd name="T79" fmla="*/ 10769 h 11169"/>
                  <a:gd name="T80" fmla="*/ 400 w 10375"/>
                  <a:gd name="T81" fmla="*/ 11169 h 11169"/>
                  <a:gd name="T82" fmla="*/ 9975 w 10375"/>
                  <a:gd name="T83" fmla="*/ 11169 h 11169"/>
                  <a:gd name="T84" fmla="*/ 10375 w 10375"/>
                  <a:gd name="T85" fmla="*/ 10769 h 11169"/>
                  <a:gd name="T86" fmla="*/ 9975 w 10375"/>
                  <a:gd name="T87" fmla="*/ 10369 h 11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375" h="11169">
                    <a:moveTo>
                      <a:pt x="4611" y="9390"/>
                    </a:moveTo>
                    <a:cubicBezTo>
                      <a:pt x="4765" y="9544"/>
                      <a:pt x="4970" y="9629"/>
                      <a:pt x="5188" y="9629"/>
                    </a:cubicBezTo>
                    <a:cubicBezTo>
                      <a:pt x="5405" y="9629"/>
                      <a:pt x="5610" y="9544"/>
                      <a:pt x="5764" y="9390"/>
                    </a:cubicBezTo>
                    <a:lnTo>
                      <a:pt x="9386" y="5768"/>
                    </a:lnTo>
                    <a:cubicBezTo>
                      <a:pt x="9620" y="5534"/>
                      <a:pt x="9690" y="5185"/>
                      <a:pt x="9563" y="4880"/>
                    </a:cubicBezTo>
                    <a:cubicBezTo>
                      <a:pt x="9436" y="4575"/>
                      <a:pt x="9140" y="4378"/>
                      <a:pt x="8810" y="4378"/>
                    </a:cubicBezTo>
                    <a:lnTo>
                      <a:pt x="7191" y="4378"/>
                    </a:lnTo>
                    <a:cubicBezTo>
                      <a:pt x="7182" y="4378"/>
                      <a:pt x="7176" y="4372"/>
                      <a:pt x="7176" y="4363"/>
                    </a:cubicBezTo>
                    <a:lnTo>
                      <a:pt x="7176" y="815"/>
                    </a:lnTo>
                    <a:cubicBezTo>
                      <a:pt x="7176" y="367"/>
                      <a:pt x="6811" y="0"/>
                      <a:pt x="6361" y="0"/>
                    </a:cubicBezTo>
                    <a:lnTo>
                      <a:pt x="3989" y="0"/>
                    </a:lnTo>
                    <a:cubicBezTo>
                      <a:pt x="3540" y="0"/>
                      <a:pt x="3174" y="365"/>
                      <a:pt x="3174" y="815"/>
                    </a:cubicBezTo>
                    <a:lnTo>
                      <a:pt x="3174" y="4362"/>
                    </a:lnTo>
                    <a:cubicBezTo>
                      <a:pt x="3174" y="4370"/>
                      <a:pt x="3168" y="4377"/>
                      <a:pt x="3159" y="4377"/>
                    </a:cubicBezTo>
                    <a:lnTo>
                      <a:pt x="1565" y="4377"/>
                    </a:lnTo>
                    <a:cubicBezTo>
                      <a:pt x="1234" y="4377"/>
                      <a:pt x="939" y="4574"/>
                      <a:pt x="813" y="4879"/>
                    </a:cubicBezTo>
                    <a:cubicBezTo>
                      <a:pt x="686" y="5184"/>
                      <a:pt x="755" y="5533"/>
                      <a:pt x="989" y="5767"/>
                    </a:cubicBezTo>
                    <a:lnTo>
                      <a:pt x="4611" y="9390"/>
                    </a:lnTo>
                    <a:close/>
                    <a:moveTo>
                      <a:pt x="1556" y="5178"/>
                    </a:moveTo>
                    <a:cubicBezTo>
                      <a:pt x="1556" y="5178"/>
                      <a:pt x="1560" y="5176"/>
                      <a:pt x="1565" y="5176"/>
                    </a:cubicBezTo>
                    <a:lnTo>
                      <a:pt x="3159" y="5176"/>
                    </a:lnTo>
                    <a:cubicBezTo>
                      <a:pt x="3607" y="5176"/>
                      <a:pt x="3974" y="4811"/>
                      <a:pt x="3974" y="4361"/>
                    </a:cubicBezTo>
                    <a:lnTo>
                      <a:pt x="3974" y="815"/>
                    </a:lnTo>
                    <a:cubicBezTo>
                      <a:pt x="3974" y="807"/>
                      <a:pt x="3980" y="800"/>
                      <a:pt x="3989" y="800"/>
                    </a:cubicBezTo>
                    <a:lnTo>
                      <a:pt x="6363" y="800"/>
                    </a:lnTo>
                    <a:cubicBezTo>
                      <a:pt x="6371" y="800"/>
                      <a:pt x="6378" y="807"/>
                      <a:pt x="6378" y="815"/>
                    </a:cubicBezTo>
                    <a:lnTo>
                      <a:pt x="6378" y="4362"/>
                    </a:lnTo>
                    <a:cubicBezTo>
                      <a:pt x="6378" y="4810"/>
                      <a:pt x="6743" y="5177"/>
                      <a:pt x="7193" y="5177"/>
                    </a:cubicBezTo>
                    <a:lnTo>
                      <a:pt x="8811" y="5177"/>
                    </a:lnTo>
                    <a:cubicBezTo>
                      <a:pt x="8816" y="5177"/>
                      <a:pt x="8819" y="5178"/>
                      <a:pt x="8819" y="5178"/>
                    </a:cubicBezTo>
                    <a:cubicBezTo>
                      <a:pt x="8823" y="5180"/>
                      <a:pt x="8828" y="5192"/>
                      <a:pt x="8826" y="5197"/>
                    </a:cubicBezTo>
                    <a:cubicBezTo>
                      <a:pt x="8826" y="5197"/>
                      <a:pt x="8825" y="5199"/>
                      <a:pt x="8821" y="5203"/>
                    </a:cubicBezTo>
                    <a:lnTo>
                      <a:pt x="5197" y="8825"/>
                    </a:lnTo>
                    <a:cubicBezTo>
                      <a:pt x="5191" y="8832"/>
                      <a:pt x="5182" y="8832"/>
                      <a:pt x="5176" y="8825"/>
                    </a:cubicBezTo>
                    <a:lnTo>
                      <a:pt x="1554" y="5202"/>
                    </a:lnTo>
                    <a:cubicBezTo>
                      <a:pt x="1550" y="5198"/>
                      <a:pt x="1549" y="5195"/>
                      <a:pt x="1549" y="5195"/>
                    </a:cubicBezTo>
                    <a:cubicBezTo>
                      <a:pt x="1548" y="5192"/>
                      <a:pt x="1553" y="5180"/>
                      <a:pt x="1556" y="5178"/>
                    </a:cubicBezTo>
                    <a:close/>
                    <a:moveTo>
                      <a:pt x="9975" y="10369"/>
                    </a:moveTo>
                    <a:lnTo>
                      <a:pt x="400" y="10369"/>
                    </a:lnTo>
                    <a:cubicBezTo>
                      <a:pt x="179" y="10369"/>
                      <a:pt x="0" y="10548"/>
                      <a:pt x="0" y="10769"/>
                    </a:cubicBezTo>
                    <a:cubicBezTo>
                      <a:pt x="0" y="10990"/>
                      <a:pt x="179" y="11169"/>
                      <a:pt x="400" y="11169"/>
                    </a:cubicBezTo>
                    <a:lnTo>
                      <a:pt x="9975" y="11169"/>
                    </a:lnTo>
                    <a:cubicBezTo>
                      <a:pt x="10196" y="11169"/>
                      <a:pt x="10375" y="10990"/>
                      <a:pt x="10375" y="10769"/>
                    </a:cubicBezTo>
                    <a:cubicBezTo>
                      <a:pt x="10375" y="10548"/>
                      <a:pt x="10196" y="10369"/>
                      <a:pt x="9975" y="10369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53" name="îṥliḍê">
            <a:extLst>
              <a:ext uri="{FF2B5EF4-FFF2-40B4-BE49-F238E27FC236}">
                <a16:creationId xmlns:a16="http://schemas.microsoft.com/office/drawing/2014/main" id="{E35AE502-7718-4321-B434-AC62223B43BB}"/>
              </a:ext>
            </a:extLst>
          </p:cNvPr>
          <p:cNvGrpSpPr/>
          <p:nvPr/>
        </p:nvGrpSpPr>
        <p:grpSpPr>
          <a:xfrm>
            <a:off x="5970773" y="2316760"/>
            <a:ext cx="744822" cy="744822"/>
            <a:chOff x="3552295" y="5250042"/>
            <a:chExt cx="478054" cy="478054"/>
          </a:xfrm>
        </p:grpSpPr>
        <p:sp>
          <p:nvSpPr>
            <p:cNvPr id="66" name="îṥḻiḑè">
              <a:extLst>
                <a:ext uri="{FF2B5EF4-FFF2-40B4-BE49-F238E27FC236}">
                  <a16:creationId xmlns:a16="http://schemas.microsoft.com/office/drawing/2014/main" id="{4FC02911-BC41-44C5-83B1-B42A4B98B8C0}"/>
                </a:ext>
              </a:extLst>
            </p:cNvPr>
            <p:cNvSpPr/>
            <p:nvPr/>
          </p:nvSpPr>
          <p:spPr>
            <a:xfrm>
              <a:off x="3552295" y="5250042"/>
              <a:ext cx="478054" cy="478054"/>
            </a:xfrm>
            <a:prstGeom prst="ellipse">
              <a:avLst/>
            </a:prstGeom>
            <a:solidFill>
              <a:schemeClr val="accent1"/>
            </a:solidFill>
            <a:ln w="57150" cap="flat" cmpd="sng" algn="ctr">
              <a:noFill/>
              <a:prstDash val="solid"/>
              <a:miter lim="800000"/>
            </a:ln>
            <a:effectLst/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íS1ïḑe">
              <a:extLst>
                <a:ext uri="{FF2B5EF4-FFF2-40B4-BE49-F238E27FC236}">
                  <a16:creationId xmlns:a16="http://schemas.microsoft.com/office/drawing/2014/main" id="{658BF03D-CB04-4A13-8FB7-DFCDB2214C09}"/>
                </a:ext>
              </a:extLst>
            </p:cNvPr>
            <p:cNvSpPr/>
            <p:nvPr/>
          </p:nvSpPr>
          <p:spPr>
            <a:xfrm>
              <a:off x="3680224" y="5367698"/>
              <a:ext cx="222195" cy="242742"/>
            </a:xfrm>
            <a:custGeom>
              <a:avLst/>
              <a:gdLst>
                <a:gd name="connsiteX0" fmla="*/ 320106 w 555350"/>
                <a:gd name="connsiteY0" fmla="*/ 331358 h 606704"/>
                <a:gd name="connsiteX1" fmla="*/ 408926 w 555350"/>
                <a:gd name="connsiteY1" fmla="*/ 420059 h 606704"/>
                <a:gd name="connsiteX2" fmla="*/ 92091 w 555350"/>
                <a:gd name="connsiteY2" fmla="*/ 597105 h 606704"/>
                <a:gd name="connsiteX3" fmla="*/ 59696 w 555350"/>
                <a:gd name="connsiteY3" fmla="*/ 606704 h 606704"/>
                <a:gd name="connsiteX4" fmla="*/ 46079 w 555350"/>
                <a:gd name="connsiteY4" fmla="*/ 605015 h 606704"/>
                <a:gd name="connsiteX5" fmla="*/ 444987 w 555350"/>
                <a:gd name="connsiteY5" fmla="*/ 206669 h 606704"/>
                <a:gd name="connsiteX6" fmla="*/ 524822 w 555350"/>
                <a:gd name="connsiteY6" fmla="*/ 251295 h 606704"/>
                <a:gd name="connsiteX7" fmla="*/ 555350 w 555350"/>
                <a:gd name="connsiteY7" fmla="*/ 303299 h 606704"/>
                <a:gd name="connsiteX8" fmla="*/ 524822 w 555350"/>
                <a:gd name="connsiteY8" fmla="*/ 355392 h 606704"/>
                <a:gd name="connsiteX9" fmla="*/ 444987 w 555350"/>
                <a:gd name="connsiteY9" fmla="*/ 400018 h 606704"/>
                <a:gd name="connsiteX10" fmla="*/ 348240 w 555350"/>
                <a:gd name="connsiteY10" fmla="*/ 303299 h 606704"/>
                <a:gd name="connsiteX11" fmla="*/ 12103 w 555350"/>
                <a:gd name="connsiteY11" fmla="*/ 23834 h 606704"/>
                <a:gd name="connsiteX12" fmla="*/ 292000 w 555350"/>
                <a:gd name="connsiteY12" fmla="*/ 303309 h 606704"/>
                <a:gd name="connsiteX13" fmla="*/ 12103 w 555350"/>
                <a:gd name="connsiteY13" fmla="*/ 582783 h 606704"/>
                <a:gd name="connsiteX14" fmla="*/ 0 w 555350"/>
                <a:gd name="connsiteY14" fmla="*/ 547060 h 606704"/>
                <a:gd name="connsiteX15" fmla="*/ 0 w 555350"/>
                <a:gd name="connsiteY15" fmla="*/ 59646 h 606704"/>
                <a:gd name="connsiteX16" fmla="*/ 12103 w 555350"/>
                <a:gd name="connsiteY16" fmla="*/ 23834 h 606704"/>
                <a:gd name="connsiteX17" fmla="*/ 69753 w 555350"/>
                <a:gd name="connsiteY17" fmla="*/ 836 h 606704"/>
                <a:gd name="connsiteX18" fmla="*/ 92091 w 555350"/>
                <a:gd name="connsiteY18" fmla="*/ 9491 h 606704"/>
                <a:gd name="connsiteX19" fmla="*/ 408926 w 555350"/>
                <a:gd name="connsiteY19" fmla="*/ 186551 h 606704"/>
                <a:gd name="connsiteX20" fmla="*/ 320106 w 555350"/>
                <a:gd name="connsiteY20" fmla="*/ 275258 h 606704"/>
                <a:gd name="connsiteX21" fmla="*/ 46079 w 555350"/>
                <a:gd name="connsiteY21" fmla="*/ 1580 h 606704"/>
                <a:gd name="connsiteX22" fmla="*/ 69753 w 555350"/>
                <a:gd name="connsiteY22" fmla="*/ 836 h 606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55350" h="606704">
                  <a:moveTo>
                    <a:pt x="320106" y="331358"/>
                  </a:moveTo>
                  <a:lnTo>
                    <a:pt x="408926" y="420059"/>
                  </a:lnTo>
                  <a:lnTo>
                    <a:pt x="92091" y="597105"/>
                  </a:lnTo>
                  <a:cubicBezTo>
                    <a:pt x="82302" y="603504"/>
                    <a:pt x="70999" y="606704"/>
                    <a:pt x="59696" y="606704"/>
                  </a:cubicBezTo>
                  <a:cubicBezTo>
                    <a:pt x="55157" y="606704"/>
                    <a:pt x="50529" y="606082"/>
                    <a:pt x="46079" y="605015"/>
                  </a:cubicBezTo>
                  <a:close/>
                  <a:moveTo>
                    <a:pt x="444987" y="206669"/>
                  </a:moveTo>
                  <a:lnTo>
                    <a:pt x="524822" y="251295"/>
                  </a:lnTo>
                  <a:cubicBezTo>
                    <a:pt x="543958" y="261962"/>
                    <a:pt x="555350" y="281431"/>
                    <a:pt x="555350" y="303299"/>
                  </a:cubicBezTo>
                  <a:cubicBezTo>
                    <a:pt x="555350" y="325167"/>
                    <a:pt x="543958" y="344636"/>
                    <a:pt x="524822" y="355392"/>
                  </a:cubicBezTo>
                  <a:lnTo>
                    <a:pt x="444987" y="400018"/>
                  </a:lnTo>
                  <a:lnTo>
                    <a:pt x="348240" y="303299"/>
                  </a:lnTo>
                  <a:close/>
                  <a:moveTo>
                    <a:pt x="12103" y="23834"/>
                  </a:moveTo>
                  <a:lnTo>
                    <a:pt x="292000" y="303309"/>
                  </a:lnTo>
                  <a:lnTo>
                    <a:pt x="12103" y="582783"/>
                  </a:lnTo>
                  <a:cubicBezTo>
                    <a:pt x="4450" y="572653"/>
                    <a:pt x="0" y="560212"/>
                    <a:pt x="0" y="547060"/>
                  </a:cubicBezTo>
                  <a:lnTo>
                    <a:pt x="0" y="59646"/>
                  </a:lnTo>
                  <a:cubicBezTo>
                    <a:pt x="0" y="46494"/>
                    <a:pt x="4450" y="33964"/>
                    <a:pt x="12103" y="23834"/>
                  </a:cubicBezTo>
                  <a:close/>
                  <a:moveTo>
                    <a:pt x="69753" y="836"/>
                  </a:moveTo>
                  <a:cubicBezTo>
                    <a:pt x="77585" y="2158"/>
                    <a:pt x="85194" y="5047"/>
                    <a:pt x="92091" y="9491"/>
                  </a:cubicBezTo>
                  <a:lnTo>
                    <a:pt x="408926" y="186551"/>
                  </a:lnTo>
                  <a:lnTo>
                    <a:pt x="320106" y="275258"/>
                  </a:lnTo>
                  <a:lnTo>
                    <a:pt x="46079" y="1580"/>
                  </a:lnTo>
                  <a:cubicBezTo>
                    <a:pt x="53867" y="-242"/>
                    <a:pt x="61921" y="-486"/>
                    <a:pt x="69753" y="83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4" name="iš1iďê">
            <a:extLst>
              <a:ext uri="{FF2B5EF4-FFF2-40B4-BE49-F238E27FC236}">
                <a16:creationId xmlns:a16="http://schemas.microsoft.com/office/drawing/2014/main" id="{2FA9E34C-4F4C-4B24-A834-1C1C461B8B20}"/>
              </a:ext>
            </a:extLst>
          </p:cNvPr>
          <p:cNvSpPr txBox="1"/>
          <p:nvPr/>
        </p:nvSpPr>
        <p:spPr bwMode="auto">
          <a:xfrm>
            <a:off x="1529256" y="1821134"/>
            <a:ext cx="3573906" cy="45518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  <a:spcBef>
                <a:spcPct val="0"/>
              </a:spcBef>
            </a:pPr>
            <a:r>
              <a:rPr lang="en-US" altLang="zh-CN" sz="2000" b="1" dirty="0"/>
              <a:t>RQ4: Presence of Squatting in App Markets</a:t>
            </a:r>
          </a:p>
        </p:txBody>
      </p:sp>
      <p:sp>
        <p:nvSpPr>
          <p:cNvPr id="55" name="îSľiḍé">
            <a:extLst>
              <a:ext uri="{FF2B5EF4-FFF2-40B4-BE49-F238E27FC236}">
                <a16:creationId xmlns:a16="http://schemas.microsoft.com/office/drawing/2014/main" id="{0B78BCAA-6D3C-4FB3-B36A-06C2FFFA2A78}"/>
              </a:ext>
            </a:extLst>
          </p:cNvPr>
          <p:cNvSpPr/>
          <p:nvPr/>
        </p:nvSpPr>
        <p:spPr>
          <a:xfrm>
            <a:off x="669925" y="2278660"/>
            <a:ext cx="4854575" cy="1628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7" name="iśļíḋê">
            <a:extLst>
              <a:ext uri="{FF2B5EF4-FFF2-40B4-BE49-F238E27FC236}">
                <a16:creationId xmlns:a16="http://schemas.microsoft.com/office/drawing/2014/main" id="{67CDE133-C48F-4F02-9AF7-AB65922E32F5}"/>
              </a:ext>
            </a:extLst>
          </p:cNvPr>
          <p:cNvSpPr/>
          <p:nvPr/>
        </p:nvSpPr>
        <p:spPr>
          <a:xfrm>
            <a:off x="6665913" y="5300645"/>
            <a:ext cx="4854575" cy="1628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8" name="ïṩḷïḓé">
            <a:extLst>
              <a:ext uri="{FF2B5EF4-FFF2-40B4-BE49-F238E27FC236}">
                <a16:creationId xmlns:a16="http://schemas.microsoft.com/office/drawing/2014/main" id="{A18F4B19-7BFA-448B-A5F4-6CE5F43F5A61}"/>
              </a:ext>
            </a:extLst>
          </p:cNvPr>
          <p:cNvSpPr txBox="1"/>
          <p:nvPr/>
        </p:nvSpPr>
        <p:spPr bwMode="auto">
          <a:xfrm>
            <a:off x="6807200" y="4834472"/>
            <a:ext cx="4713288" cy="45518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2000" b="1" dirty="0"/>
              <a:t>RQ5: Impact on App Downloads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DE7E2511-DD9E-4655-9657-9FA00E212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5" y="0"/>
            <a:ext cx="10850563" cy="1028700"/>
          </a:xfrm>
        </p:spPr>
        <p:txBody>
          <a:bodyPr/>
          <a:lstStyle/>
          <a:p>
            <a:r>
              <a:rPr lang="en-NZ" altLang="zh-CN" dirty="0"/>
              <a:t>Characterizing The Impact</a:t>
            </a:r>
            <a:endParaRPr lang="zh-CN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6255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43400F-8D23-4F4D-8D6E-4C787521E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altLang="zh-CN" dirty="0"/>
              <a:t>Impact on App Downloads</a:t>
            </a:r>
            <a:endParaRPr lang="zh-CN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E62CDE-DDD3-4E82-9560-EC443F973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D7FA127-857C-450A-A497-6A1008E5E0D7}"/>
              </a:ext>
            </a:extLst>
          </p:cNvPr>
          <p:cNvSpPr>
            <a:spLocks noChangeAspect="1"/>
          </p:cNvSpPr>
          <p:nvPr/>
        </p:nvSpPr>
        <p:spPr>
          <a:xfrm>
            <a:off x="3677825" y="1508894"/>
            <a:ext cx="4834759" cy="4834759"/>
          </a:xfrm>
          <a:prstGeom prst="rect">
            <a:avLst/>
          </a:prstGeom>
          <a:blipFill dpi="0" rotWithShape="1">
            <a:blip r:embed="rId3"/>
            <a:srcRect/>
            <a:stretch>
              <a:fillRect l="-25066" r="-24934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dk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13721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i="0" dirty="0"/>
              <a:t>Solutions</a:t>
            </a:r>
            <a:endParaRPr lang="zh-CN" altLang="en-US" i="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altLang="zh-CN" sz="1600" dirty="0"/>
              <a:t>Methods to mitigate the severity of app squatting</a:t>
            </a:r>
            <a:endParaRPr lang="zh-CN" altLang="en-US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203547" y="3985058"/>
            <a:ext cx="1104224" cy="96008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E973ECBA-1429-4BFA-B85E-691E30031FBF}"/>
              </a:ext>
            </a:extLst>
          </p:cNvPr>
          <p:cNvCxnSpPr>
            <a:cxnSpLocks/>
          </p:cNvCxnSpPr>
          <p:nvPr/>
        </p:nvCxnSpPr>
        <p:spPr>
          <a:xfrm>
            <a:off x="2786743" y="4351269"/>
            <a:ext cx="46155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4683549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20DFF82-AB6E-46A7-A257-A7BDE61326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altLang="zh-CN" dirty="0"/>
              <a:t>Solution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87BDB8A-3416-431B-87DF-70ECC6A1A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375" name="îŝ1idè">
            <a:extLst>
              <a:ext uri="{FF2B5EF4-FFF2-40B4-BE49-F238E27FC236}">
                <a16:creationId xmlns:a16="http://schemas.microsoft.com/office/drawing/2014/main" id="{C8522ECE-78B5-40C4-8152-E80DAAE5C26B}"/>
              </a:ext>
            </a:extLst>
          </p:cNvPr>
          <p:cNvSpPr/>
          <p:nvPr/>
        </p:nvSpPr>
        <p:spPr>
          <a:xfrm>
            <a:off x="5873727" y="2174463"/>
            <a:ext cx="2470174" cy="2470974"/>
          </a:xfrm>
          <a:custGeom>
            <a:avLst/>
            <a:gdLst>
              <a:gd name="connsiteX0" fmla="*/ 1484938 w 2970838"/>
              <a:gd name="connsiteY0" fmla="*/ 0 h 2971800"/>
              <a:gd name="connsiteX1" fmla="*/ 2970838 w 2970838"/>
              <a:gd name="connsiteY1" fmla="*/ 1485900 h 2971800"/>
              <a:gd name="connsiteX2" fmla="*/ 1484938 w 2970838"/>
              <a:gd name="connsiteY2" fmla="*/ 2971800 h 2971800"/>
              <a:gd name="connsiteX3" fmla="*/ 6710 w 2970838"/>
              <a:gd name="connsiteY3" fmla="*/ 1637825 h 2971800"/>
              <a:gd name="connsiteX4" fmla="*/ 0 w 2970838"/>
              <a:gd name="connsiteY4" fmla="*/ 1504951 h 2971800"/>
              <a:gd name="connsiteX5" fmla="*/ 533765 w 2970838"/>
              <a:gd name="connsiteY5" fmla="*/ 1504951 h 2971800"/>
              <a:gd name="connsiteX6" fmla="*/ 537719 w 2970838"/>
              <a:gd name="connsiteY6" fmla="*/ 1583250 h 2971800"/>
              <a:gd name="connsiteX7" fmla="*/ 1484938 w 2970838"/>
              <a:gd name="connsiteY7" fmla="*/ 2438035 h 2971800"/>
              <a:gd name="connsiteX8" fmla="*/ 2437073 w 2970838"/>
              <a:gd name="connsiteY8" fmla="*/ 1485900 h 2971800"/>
              <a:gd name="connsiteX9" fmla="*/ 1484938 w 2970838"/>
              <a:gd name="connsiteY9" fmla="*/ 533765 h 2971800"/>
              <a:gd name="connsiteX10" fmla="*/ 811677 w 2970838"/>
              <a:gd name="connsiteY10" fmla="*/ 812639 h 2971800"/>
              <a:gd name="connsiteX11" fmla="*/ 745820 w 2970838"/>
              <a:gd name="connsiteY11" fmla="*/ 892459 h 2971800"/>
              <a:gd name="connsiteX12" fmla="*/ 366414 w 2970838"/>
              <a:gd name="connsiteY12" fmla="*/ 509846 h 2971800"/>
              <a:gd name="connsiteX13" fmla="*/ 434248 w 2970838"/>
              <a:gd name="connsiteY13" fmla="*/ 435210 h 2971800"/>
              <a:gd name="connsiteX14" fmla="*/ 1484938 w 2970838"/>
              <a:gd name="connsiteY14" fmla="*/ 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70838" h="2971800">
                <a:moveTo>
                  <a:pt x="1484938" y="0"/>
                </a:moveTo>
                <a:cubicBezTo>
                  <a:pt x="2305578" y="0"/>
                  <a:pt x="2970838" y="665260"/>
                  <a:pt x="2970838" y="1485900"/>
                </a:cubicBezTo>
                <a:cubicBezTo>
                  <a:pt x="2970838" y="2306540"/>
                  <a:pt x="2305578" y="2971800"/>
                  <a:pt x="1484938" y="2971800"/>
                </a:cubicBezTo>
                <a:cubicBezTo>
                  <a:pt x="715588" y="2971800"/>
                  <a:pt x="82803" y="2387099"/>
                  <a:pt x="6710" y="1637825"/>
                </a:cubicBezTo>
                <a:lnTo>
                  <a:pt x="0" y="1504951"/>
                </a:lnTo>
                <a:lnTo>
                  <a:pt x="533765" y="1504951"/>
                </a:lnTo>
                <a:lnTo>
                  <a:pt x="537719" y="1583250"/>
                </a:lnTo>
                <a:cubicBezTo>
                  <a:pt x="586478" y="2063371"/>
                  <a:pt x="991954" y="2438035"/>
                  <a:pt x="1484938" y="2438035"/>
                </a:cubicBezTo>
                <a:cubicBezTo>
                  <a:pt x="2010788" y="2438035"/>
                  <a:pt x="2437073" y="2011750"/>
                  <a:pt x="2437073" y="1485900"/>
                </a:cubicBezTo>
                <a:cubicBezTo>
                  <a:pt x="2437073" y="960050"/>
                  <a:pt x="2010788" y="533765"/>
                  <a:pt x="1484938" y="533765"/>
                </a:cubicBezTo>
                <a:cubicBezTo>
                  <a:pt x="1222013" y="533765"/>
                  <a:pt x="983979" y="640336"/>
                  <a:pt x="811677" y="812639"/>
                </a:cubicBezTo>
                <a:lnTo>
                  <a:pt x="745820" y="892459"/>
                </a:lnTo>
                <a:lnTo>
                  <a:pt x="366414" y="509846"/>
                </a:lnTo>
                <a:lnTo>
                  <a:pt x="434248" y="435210"/>
                </a:lnTo>
                <a:cubicBezTo>
                  <a:pt x="703143" y="166315"/>
                  <a:pt x="1074618" y="0"/>
                  <a:pt x="148493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76" name="íS1ïdé">
            <a:extLst>
              <a:ext uri="{FF2B5EF4-FFF2-40B4-BE49-F238E27FC236}">
                <a16:creationId xmlns:a16="http://schemas.microsoft.com/office/drawing/2014/main" id="{6ED0FEC7-96F9-40AA-817D-1713C6891DB9}"/>
              </a:ext>
            </a:extLst>
          </p:cNvPr>
          <p:cNvSpPr/>
          <p:nvPr/>
        </p:nvSpPr>
        <p:spPr>
          <a:xfrm flipV="1">
            <a:off x="3848100" y="2174463"/>
            <a:ext cx="2470974" cy="2470974"/>
          </a:xfrm>
          <a:custGeom>
            <a:avLst/>
            <a:gdLst>
              <a:gd name="connsiteX0" fmla="*/ 1485900 w 2971800"/>
              <a:gd name="connsiteY0" fmla="*/ 2971800 h 2971800"/>
              <a:gd name="connsiteX1" fmla="*/ 2971800 w 2971800"/>
              <a:gd name="connsiteY1" fmla="*/ 1485900 h 2971800"/>
              <a:gd name="connsiteX2" fmla="*/ 2970838 w 2971800"/>
              <a:gd name="connsiteY2" fmla="*/ 1466849 h 2971800"/>
              <a:gd name="connsiteX3" fmla="*/ 2437073 w 2971800"/>
              <a:gd name="connsiteY3" fmla="*/ 1466849 h 2971800"/>
              <a:gd name="connsiteX4" fmla="*/ 2438035 w 2971800"/>
              <a:gd name="connsiteY4" fmla="*/ 1485900 h 2971800"/>
              <a:gd name="connsiteX5" fmla="*/ 1485900 w 2971800"/>
              <a:gd name="connsiteY5" fmla="*/ 2438035 h 2971800"/>
              <a:gd name="connsiteX6" fmla="*/ 533765 w 2971800"/>
              <a:gd name="connsiteY6" fmla="*/ 1485900 h 2971800"/>
              <a:gd name="connsiteX7" fmla="*/ 1485900 w 2971800"/>
              <a:gd name="connsiteY7" fmla="*/ 533765 h 2971800"/>
              <a:gd name="connsiteX8" fmla="*/ 2159161 w 2971800"/>
              <a:gd name="connsiteY8" fmla="*/ 812639 h 2971800"/>
              <a:gd name="connsiteX9" fmla="*/ 2207859 w 2971800"/>
              <a:gd name="connsiteY9" fmla="*/ 871662 h 2971800"/>
              <a:gd name="connsiteX10" fmla="*/ 2586355 w 2971800"/>
              <a:gd name="connsiteY10" fmla="*/ 489966 h 2971800"/>
              <a:gd name="connsiteX11" fmla="*/ 2536590 w 2971800"/>
              <a:gd name="connsiteY11" fmla="*/ 435210 h 2971800"/>
              <a:gd name="connsiteX12" fmla="*/ 1485900 w 2971800"/>
              <a:gd name="connsiteY12" fmla="*/ 0 h 2971800"/>
              <a:gd name="connsiteX13" fmla="*/ 0 w 2971800"/>
              <a:gd name="connsiteY13" fmla="*/ 1485900 h 2971800"/>
              <a:gd name="connsiteX14" fmla="*/ 1485900 w 2971800"/>
              <a:gd name="connsiteY14" fmla="*/ 2971800 h 297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71800" h="2971800">
                <a:moveTo>
                  <a:pt x="1485900" y="2971800"/>
                </a:moveTo>
                <a:cubicBezTo>
                  <a:pt x="2306540" y="2971800"/>
                  <a:pt x="2971800" y="2306540"/>
                  <a:pt x="2971800" y="1485900"/>
                </a:cubicBezTo>
                <a:lnTo>
                  <a:pt x="2970838" y="1466849"/>
                </a:lnTo>
                <a:lnTo>
                  <a:pt x="2437073" y="1466849"/>
                </a:lnTo>
                <a:lnTo>
                  <a:pt x="2438035" y="1485900"/>
                </a:lnTo>
                <a:cubicBezTo>
                  <a:pt x="2438035" y="2011750"/>
                  <a:pt x="2011750" y="2438035"/>
                  <a:pt x="1485900" y="2438035"/>
                </a:cubicBezTo>
                <a:cubicBezTo>
                  <a:pt x="960050" y="2438035"/>
                  <a:pt x="533765" y="2011750"/>
                  <a:pt x="533765" y="1485900"/>
                </a:cubicBezTo>
                <a:cubicBezTo>
                  <a:pt x="533765" y="960050"/>
                  <a:pt x="960050" y="533765"/>
                  <a:pt x="1485900" y="533765"/>
                </a:cubicBezTo>
                <a:cubicBezTo>
                  <a:pt x="1748825" y="533765"/>
                  <a:pt x="1986859" y="640336"/>
                  <a:pt x="2159161" y="812639"/>
                </a:cubicBezTo>
                <a:lnTo>
                  <a:pt x="2207859" y="871662"/>
                </a:lnTo>
                <a:lnTo>
                  <a:pt x="2586355" y="489966"/>
                </a:lnTo>
                <a:lnTo>
                  <a:pt x="2536590" y="435210"/>
                </a:lnTo>
                <a:cubicBezTo>
                  <a:pt x="2267695" y="166315"/>
                  <a:pt x="1896220" y="0"/>
                  <a:pt x="1485900" y="0"/>
                </a:cubicBezTo>
                <a:cubicBezTo>
                  <a:pt x="665260" y="0"/>
                  <a:pt x="0" y="665260"/>
                  <a:pt x="0" y="1485900"/>
                </a:cubicBezTo>
                <a:cubicBezTo>
                  <a:pt x="0" y="2306540"/>
                  <a:pt x="665260" y="2971800"/>
                  <a:pt x="1485900" y="29718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77" name="iślîḋê">
            <a:extLst>
              <a:ext uri="{FF2B5EF4-FFF2-40B4-BE49-F238E27FC236}">
                <a16:creationId xmlns:a16="http://schemas.microsoft.com/office/drawing/2014/main" id="{1D1EF363-2B8E-4CE5-91A7-E0A9F0046047}"/>
              </a:ext>
            </a:extLst>
          </p:cNvPr>
          <p:cNvSpPr/>
          <p:nvPr/>
        </p:nvSpPr>
        <p:spPr bwMode="auto">
          <a:xfrm>
            <a:off x="4922751" y="3035866"/>
            <a:ext cx="321671" cy="372328"/>
          </a:xfrm>
          <a:custGeom>
            <a:avLst/>
            <a:gdLst>
              <a:gd name="T0" fmla="*/ 4748 w 9708"/>
              <a:gd name="T1" fmla="*/ 0 h 11239"/>
              <a:gd name="T2" fmla="*/ 0 w 9708"/>
              <a:gd name="T3" fmla="*/ 948 h 11239"/>
              <a:gd name="T4" fmla="*/ 0 w 9708"/>
              <a:gd name="T5" fmla="*/ 6676 h 11239"/>
              <a:gd name="T6" fmla="*/ 258 w 9708"/>
              <a:gd name="T7" fmla="*/ 7700 h 11239"/>
              <a:gd name="T8" fmla="*/ 933 w 9708"/>
              <a:gd name="T9" fmla="*/ 8690 h 11239"/>
              <a:gd name="T10" fmla="*/ 1883 w 9708"/>
              <a:gd name="T11" fmla="*/ 9596 h 11239"/>
              <a:gd name="T12" fmla="*/ 2966 w 9708"/>
              <a:gd name="T13" fmla="*/ 10359 h 11239"/>
              <a:gd name="T14" fmla="*/ 4030 w 9708"/>
              <a:gd name="T15" fmla="*/ 10915 h 11239"/>
              <a:gd name="T16" fmla="*/ 4698 w 9708"/>
              <a:gd name="T17" fmla="*/ 11219 h 11239"/>
              <a:gd name="T18" fmla="*/ 4807 w 9708"/>
              <a:gd name="T19" fmla="*/ 11239 h 11239"/>
              <a:gd name="T20" fmla="*/ 4927 w 9708"/>
              <a:gd name="T21" fmla="*/ 11219 h 11239"/>
              <a:gd name="T22" fmla="*/ 5806 w 9708"/>
              <a:gd name="T23" fmla="*/ 10915 h 11239"/>
              <a:gd name="T24" fmla="*/ 6840 w 9708"/>
              <a:gd name="T25" fmla="*/ 10359 h 11239"/>
              <a:gd name="T26" fmla="*/ 7888 w 9708"/>
              <a:gd name="T27" fmla="*/ 9596 h 11239"/>
              <a:gd name="T28" fmla="*/ 8808 w 9708"/>
              <a:gd name="T29" fmla="*/ 8690 h 11239"/>
              <a:gd name="T30" fmla="*/ 9459 w 9708"/>
              <a:gd name="T31" fmla="*/ 7700 h 11239"/>
              <a:gd name="T32" fmla="*/ 9708 w 9708"/>
              <a:gd name="T33" fmla="*/ 6676 h 11239"/>
              <a:gd name="T34" fmla="*/ 9708 w 9708"/>
              <a:gd name="T35" fmla="*/ 948 h 11239"/>
              <a:gd name="T36" fmla="*/ 4748 w 9708"/>
              <a:gd name="T37" fmla="*/ 0 h 11239"/>
              <a:gd name="T38" fmla="*/ 8993 w 9708"/>
              <a:gd name="T39" fmla="*/ 6324 h 11239"/>
              <a:gd name="T40" fmla="*/ 8323 w 9708"/>
              <a:gd name="T41" fmla="*/ 8094 h 11239"/>
              <a:gd name="T42" fmla="*/ 7490 w 9708"/>
              <a:gd name="T43" fmla="*/ 8922 h 11239"/>
              <a:gd name="T44" fmla="*/ 6540 w 9708"/>
              <a:gd name="T45" fmla="*/ 9619 h 11239"/>
              <a:gd name="T46" fmla="*/ 5605 w 9708"/>
              <a:gd name="T47" fmla="*/ 10126 h 11239"/>
              <a:gd name="T48" fmla="*/ 4915 w 9708"/>
              <a:gd name="T49" fmla="*/ 10308 h 11239"/>
              <a:gd name="T50" fmla="*/ 4807 w 9708"/>
              <a:gd name="T51" fmla="*/ 10326 h 11239"/>
              <a:gd name="T52" fmla="*/ 4708 w 9708"/>
              <a:gd name="T53" fmla="*/ 10308 h 11239"/>
              <a:gd name="T54" fmla="*/ 4219 w 9708"/>
              <a:gd name="T55" fmla="*/ 10126 h 11239"/>
              <a:gd name="T56" fmla="*/ 3256 w 9708"/>
              <a:gd name="T57" fmla="*/ 9618 h 11239"/>
              <a:gd name="T58" fmla="*/ 2257 w 9708"/>
              <a:gd name="T59" fmla="*/ 8939 h 11239"/>
              <a:gd name="T60" fmla="*/ 1397 w 9708"/>
              <a:gd name="T61" fmla="*/ 8111 h 11239"/>
              <a:gd name="T62" fmla="*/ 713 w 9708"/>
              <a:gd name="T63" fmla="*/ 6793 h 11239"/>
              <a:gd name="T64" fmla="*/ 713 w 9708"/>
              <a:gd name="T65" fmla="*/ 1630 h 11239"/>
              <a:gd name="T66" fmla="*/ 4753 w 9708"/>
              <a:gd name="T67" fmla="*/ 720 h 11239"/>
              <a:gd name="T68" fmla="*/ 8992 w 9708"/>
              <a:gd name="T69" fmla="*/ 1630 h 11239"/>
              <a:gd name="T70" fmla="*/ 8993 w 9708"/>
              <a:gd name="T71" fmla="*/ 6324 h 11239"/>
              <a:gd name="T72" fmla="*/ 4725 w 9708"/>
              <a:gd name="T73" fmla="*/ 5403 h 11239"/>
              <a:gd name="T74" fmla="*/ 4725 w 9708"/>
              <a:gd name="T75" fmla="*/ 9667 h 11239"/>
              <a:gd name="T76" fmla="*/ 6571 w 9708"/>
              <a:gd name="T77" fmla="*/ 8926 h 11239"/>
              <a:gd name="T78" fmla="*/ 8548 w 9708"/>
              <a:gd name="T79" fmla="*/ 5402 h 11239"/>
              <a:gd name="T80" fmla="*/ 4725 w 9708"/>
              <a:gd name="T81" fmla="*/ 5402 h 11239"/>
              <a:gd name="T82" fmla="*/ 4725 w 9708"/>
              <a:gd name="T83" fmla="*/ 5403 h 11239"/>
              <a:gd name="T84" fmla="*/ 1281 w 9708"/>
              <a:gd name="T85" fmla="*/ 1923 h 11239"/>
              <a:gd name="T86" fmla="*/ 1281 w 9708"/>
              <a:gd name="T87" fmla="*/ 5453 h 11239"/>
              <a:gd name="T88" fmla="*/ 4770 w 9708"/>
              <a:gd name="T89" fmla="*/ 5453 h 11239"/>
              <a:gd name="T90" fmla="*/ 4770 w 9708"/>
              <a:gd name="T91" fmla="*/ 1273 h 11239"/>
              <a:gd name="T92" fmla="*/ 1281 w 9708"/>
              <a:gd name="T93" fmla="*/ 1923 h 11239"/>
              <a:gd name="T94" fmla="*/ 1281 w 9708"/>
              <a:gd name="T95" fmla="*/ 1923 h 11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708" h="11239">
                <a:moveTo>
                  <a:pt x="4748" y="0"/>
                </a:moveTo>
                <a:lnTo>
                  <a:pt x="0" y="948"/>
                </a:lnTo>
                <a:lnTo>
                  <a:pt x="0" y="6676"/>
                </a:lnTo>
                <a:cubicBezTo>
                  <a:pt x="4" y="7033"/>
                  <a:pt x="92" y="7384"/>
                  <a:pt x="258" y="7700"/>
                </a:cubicBezTo>
                <a:cubicBezTo>
                  <a:pt x="441" y="8057"/>
                  <a:pt x="668" y="8389"/>
                  <a:pt x="933" y="8690"/>
                </a:cubicBezTo>
                <a:cubicBezTo>
                  <a:pt x="1223" y="9019"/>
                  <a:pt x="1540" y="9322"/>
                  <a:pt x="1883" y="9596"/>
                </a:cubicBezTo>
                <a:cubicBezTo>
                  <a:pt x="2226" y="9875"/>
                  <a:pt x="2589" y="10129"/>
                  <a:pt x="2966" y="10359"/>
                </a:cubicBezTo>
                <a:cubicBezTo>
                  <a:pt x="3307" y="10569"/>
                  <a:pt x="3662" y="10754"/>
                  <a:pt x="4030" y="10915"/>
                </a:cubicBezTo>
                <a:cubicBezTo>
                  <a:pt x="4370" y="11062"/>
                  <a:pt x="4440" y="11164"/>
                  <a:pt x="4698" y="11219"/>
                </a:cubicBezTo>
                <a:lnTo>
                  <a:pt x="4807" y="11239"/>
                </a:lnTo>
                <a:lnTo>
                  <a:pt x="4927" y="11219"/>
                </a:lnTo>
                <a:cubicBezTo>
                  <a:pt x="5229" y="11147"/>
                  <a:pt x="5524" y="11045"/>
                  <a:pt x="5806" y="10915"/>
                </a:cubicBezTo>
                <a:cubicBezTo>
                  <a:pt x="6164" y="10755"/>
                  <a:pt x="6509" y="10569"/>
                  <a:pt x="6840" y="10359"/>
                </a:cubicBezTo>
                <a:cubicBezTo>
                  <a:pt x="7206" y="10127"/>
                  <a:pt x="7556" y="9873"/>
                  <a:pt x="7888" y="9596"/>
                </a:cubicBezTo>
                <a:cubicBezTo>
                  <a:pt x="8221" y="9322"/>
                  <a:pt x="8529" y="9019"/>
                  <a:pt x="8808" y="8690"/>
                </a:cubicBezTo>
                <a:cubicBezTo>
                  <a:pt x="9064" y="8387"/>
                  <a:pt x="9283" y="8056"/>
                  <a:pt x="9459" y="7700"/>
                </a:cubicBezTo>
                <a:cubicBezTo>
                  <a:pt x="9619" y="7382"/>
                  <a:pt x="9704" y="7032"/>
                  <a:pt x="9708" y="6676"/>
                </a:cubicBezTo>
                <a:lnTo>
                  <a:pt x="9708" y="948"/>
                </a:lnTo>
                <a:lnTo>
                  <a:pt x="4748" y="0"/>
                </a:lnTo>
                <a:close/>
                <a:moveTo>
                  <a:pt x="8993" y="6324"/>
                </a:moveTo>
                <a:cubicBezTo>
                  <a:pt x="9055" y="7169"/>
                  <a:pt x="8503" y="7877"/>
                  <a:pt x="8323" y="8094"/>
                </a:cubicBezTo>
                <a:cubicBezTo>
                  <a:pt x="8071" y="8394"/>
                  <a:pt x="7792" y="8672"/>
                  <a:pt x="7490" y="8922"/>
                </a:cubicBezTo>
                <a:cubicBezTo>
                  <a:pt x="7189" y="9174"/>
                  <a:pt x="6872" y="9407"/>
                  <a:pt x="6540" y="9619"/>
                </a:cubicBezTo>
                <a:cubicBezTo>
                  <a:pt x="6242" y="9811"/>
                  <a:pt x="5928" y="9980"/>
                  <a:pt x="5605" y="10126"/>
                </a:cubicBezTo>
                <a:cubicBezTo>
                  <a:pt x="5384" y="10217"/>
                  <a:pt x="5152" y="10278"/>
                  <a:pt x="4915" y="10308"/>
                </a:cubicBezTo>
                <a:lnTo>
                  <a:pt x="4807" y="10326"/>
                </a:lnTo>
                <a:lnTo>
                  <a:pt x="4708" y="10308"/>
                </a:lnTo>
                <a:cubicBezTo>
                  <a:pt x="4537" y="10273"/>
                  <a:pt x="4371" y="10212"/>
                  <a:pt x="4219" y="10126"/>
                </a:cubicBezTo>
                <a:cubicBezTo>
                  <a:pt x="3886" y="9979"/>
                  <a:pt x="3564" y="9810"/>
                  <a:pt x="3256" y="9618"/>
                </a:cubicBezTo>
                <a:cubicBezTo>
                  <a:pt x="2908" y="9414"/>
                  <a:pt x="2574" y="9188"/>
                  <a:pt x="2257" y="8939"/>
                </a:cubicBezTo>
                <a:cubicBezTo>
                  <a:pt x="1946" y="8689"/>
                  <a:pt x="1658" y="8412"/>
                  <a:pt x="1397" y="8111"/>
                </a:cubicBezTo>
                <a:cubicBezTo>
                  <a:pt x="1060" y="7737"/>
                  <a:pt x="824" y="7284"/>
                  <a:pt x="713" y="6793"/>
                </a:cubicBezTo>
                <a:lnTo>
                  <a:pt x="713" y="1630"/>
                </a:lnTo>
                <a:lnTo>
                  <a:pt x="4753" y="720"/>
                </a:lnTo>
                <a:lnTo>
                  <a:pt x="8992" y="1630"/>
                </a:lnTo>
                <a:lnTo>
                  <a:pt x="8993" y="6324"/>
                </a:lnTo>
                <a:close/>
                <a:moveTo>
                  <a:pt x="4725" y="5403"/>
                </a:moveTo>
                <a:lnTo>
                  <a:pt x="4725" y="9667"/>
                </a:lnTo>
                <a:cubicBezTo>
                  <a:pt x="4937" y="9617"/>
                  <a:pt x="6133" y="9165"/>
                  <a:pt x="6571" y="8926"/>
                </a:cubicBezTo>
                <a:cubicBezTo>
                  <a:pt x="9038" y="7577"/>
                  <a:pt x="8548" y="5402"/>
                  <a:pt x="8548" y="5402"/>
                </a:cubicBezTo>
                <a:lnTo>
                  <a:pt x="4725" y="5402"/>
                </a:lnTo>
                <a:lnTo>
                  <a:pt x="4725" y="5403"/>
                </a:lnTo>
                <a:close/>
                <a:moveTo>
                  <a:pt x="1281" y="1923"/>
                </a:moveTo>
                <a:lnTo>
                  <a:pt x="1281" y="5453"/>
                </a:lnTo>
                <a:lnTo>
                  <a:pt x="4770" y="5453"/>
                </a:lnTo>
                <a:lnTo>
                  <a:pt x="4770" y="1273"/>
                </a:lnTo>
                <a:lnTo>
                  <a:pt x="1281" y="1923"/>
                </a:lnTo>
                <a:close/>
                <a:moveTo>
                  <a:pt x="1281" y="1923"/>
                </a:move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78" name="ïṧ1îdê">
            <a:extLst>
              <a:ext uri="{FF2B5EF4-FFF2-40B4-BE49-F238E27FC236}">
                <a16:creationId xmlns:a16="http://schemas.microsoft.com/office/drawing/2014/main" id="{73285BFF-DACC-45D2-95E9-0BC1DAE71022}"/>
              </a:ext>
            </a:extLst>
          </p:cNvPr>
          <p:cNvSpPr/>
          <p:nvPr/>
        </p:nvSpPr>
        <p:spPr bwMode="auto">
          <a:xfrm>
            <a:off x="6982292" y="3006482"/>
            <a:ext cx="303325" cy="324782"/>
          </a:xfrm>
          <a:custGeom>
            <a:avLst/>
            <a:gdLst>
              <a:gd name="T0" fmla="*/ 626 w 746"/>
              <a:gd name="T1" fmla="*/ 160 h 800"/>
              <a:gd name="T2" fmla="*/ 640 w 746"/>
              <a:gd name="T3" fmla="*/ 73 h 800"/>
              <a:gd name="T4" fmla="*/ 520 w 746"/>
              <a:gd name="T5" fmla="*/ 130 h 800"/>
              <a:gd name="T6" fmla="*/ 373 w 746"/>
              <a:gd name="T7" fmla="*/ 160 h 800"/>
              <a:gd name="T8" fmla="*/ 253 w 746"/>
              <a:gd name="T9" fmla="*/ 73 h 800"/>
              <a:gd name="T10" fmla="*/ 133 w 746"/>
              <a:gd name="T11" fmla="*/ 130 h 800"/>
              <a:gd name="T12" fmla="*/ 13 w 746"/>
              <a:gd name="T13" fmla="*/ 160 h 800"/>
              <a:gd name="T14" fmla="*/ 13 w 746"/>
              <a:gd name="T15" fmla="*/ 347 h 800"/>
              <a:gd name="T16" fmla="*/ 194 w 746"/>
              <a:gd name="T17" fmla="*/ 347 h 800"/>
              <a:gd name="T18" fmla="*/ 53 w 746"/>
              <a:gd name="T19" fmla="*/ 800 h 800"/>
              <a:gd name="T20" fmla="*/ 236 w 746"/>
              <a:gd name="T21" fmla="*/ 587 h 800"/>
              <a:gd name="T22" fmla="*/ 600 w 746"/>
              <a:gd name="T23" fmla="*/ 800 h 800"/>
              <a:gd name="T24" fmla="*/ 706 w 746"/>
              <a:gd name="T25" fmla="*/ 782 h 800"/>
              <a:gd name="T26" fmla="*/ 733 w 746"/>
              <a:gd name="T27" fmla="*/ 347 h 800"/>
              <a:gd name="T28" fmla="*/ 733 w 746"/>
              <a:gd name="T29" fmla="*/ 160 h 800"/>
              <a:gd name="T30" fmla="*/ 408 w 746"/>
              <a:gd name="T31" fmla="*/ 320 h 800"/>
              <a:gd name="T32" fmla="*/ 600 w 746"/>
              <a:gd name="T33" fmla="*/ 187 h 800"/>
              <a:gd name="T34" fmla="*/ 533 w 746"/>
              <a:gd name="T35" fmla="*/ 320 h 800"/>
              <a:gd name="T36" fmla="*/ 213 w 746"/>
              <a:gd name="T37" fmla="*/ 187 h 800"/>
              <a:gd name="T38" fmla="*/ 213 w 746"/>
              <a:gd name="T39" fmla="*/ 320 h 800"/>
              <a:gd name="T40" fmla="*/ 386 w 746"/>
              <a:gd name="T41" fmla="*/ 347 h 800"/>
              <a:gd name="T42" fmla="*/ 273 w 746"/>
              <a:gd name="T43" fmla="*/ 480 h 800"/>
              <a:gd name="T44" fmla="*/ 613 w 746"/>
              <a:gd name="T45" fmla="*/ 73 h 800"/>
              <a:gd name="T46" fmla="*/ 578 w 746"/>
              <a:gd name="T47" fmla="*/ 118 h 800"/>
              <a:gd name="T48" fmla="*/ 562 w 746"/>
              <a:gd name="T49" fmla="*/ 120 h 800"/>
              <a:gd name="T50" fmla="*/ 551 w 746"/>
              <a:gd name="T51" fmla="*/ 117 h 800"/>
              <a:gd name="T52" fmla="*/ 566 w 746"/>
              <a:gd name="T53" fmla="*/ 27 h 800"/>
              <a:gd name="T54" fmla="*/ 555 w 746"/>
              <a:gd name="T55" fmla="*/ 146 h 800"/>
              <a:gd name="T56" fmla="*/ 576 w 746"/>
              <a:gd name="T57" fmla="*/ 146 h 800"/>
              <a:gd name="T58" fmla="*/ 586 w 746"/>
              <a:gd name="T59" fmla="*/ 144 h 800"/>
              <a:gd name="T60" fmla="*/ 546 w 746"/>
              <a:gd name="T61" fmla="*/ 144 h 800"/>
              <a:gd name="T62" fmla="*/ 315 w 746"/>
              <a:gd name="T63" fmla="*/ 320 h 800"/>
              <a:gd name="T64" fmla="*/ 180 w 746"/>
              <a:gd name="T65" fmla="*/ 27 h 800"/>
              <a:gd name="T66" fmla="*/ 195 w 746"/>
              <a:gd name="T67" fmla="*/ 117 h 800"/>
              <a:gd name="T68" fmla="*/ 185 w 746"/>
              <a:gd name="T69" fmla="*/ 120 h 800"/>
              <a:gd name="T70" fmla="*/ 168 w 746"/>
              <a:gd name="T71" fmla="*/ 118 h 800"/>
              <a:gd name="T72" fmla="*/ 133 w 746"/>
              <a:gd name="T73" fmla="*/ 73 h 800"/>
              <a:gd name="T74" fmla="*/ 161 w 746"/>
              <a:gd name="T75" fmla="*/ 144 h 800"/>
              <a:gd name="T76" fmla="*/ 180 w 746"/>
              <a:gd name="T77" fmla="*/ 147 h 800"/>
              <a:gd name="T78" fmla="*/ 198 w 746"/>
              <a:gd name="T79" fmla="*/ 144 h 800"/>
              <a:gd name="T80" fmla="*/ 160 w 746"/>
              <a:gd name="T81" fmla="*/ 160 h 800"/>
              <a:gd name="T82" fmla="*/ 26 w 746"/>
              <a:gd name="T83" fmla="*/ 304 h 800"/>
              <a:gd name="T84" fmla="*/ 48 w 746"/>
              <a:gd name="T85" fmla="*/ 320 h 800"/>
              <a:gd name="T86" fmla="*/ 178 w 746"/>
              <a:gd name="T87" fmla="*/ 187 h 800"/>
              <a:gd name="T88" fmla="*/ 609 w 746"/>
              <a:gd name="T89" fmla="*/ 773 h 800"/>
              <a:gd name="T90" fmla="*/ 226 w 746"/>
              <a:gd name="T91" fmla="*/ 560 h 800"/>
              <a:gd name="T92" fmla="*/ 72 w 746"/>
              <a:gd name="T93" fmla="*/ 773 h 800"/>
              <a:gd name="T94" fmla="*/ 242 w 746"/>
              <a:gd name="T95" fmla="*/ 489 h 800"/>
              <a:gd name="T96" fmla="*/ 491 w 746"/>
              <a:gd name="T97" fmla="*/ 507 h 800"/>
              <a:gd name="T98" fmla="*/ 458 w 746"/>
              <a:gd name="T99" fmla="*/ 347 h 800"/>
              <a:gd name="T100" fmla="*/ 609 w 746"/>
              <a:gd name="T101" fmla="*/ 773 h 800"/>
              <a:gd name="T102" fmla="*/ 698 w 746"/>
              <a:gd name="T103" fmla="*/ 187 h 800"/>
              <a:gd name="T104" fmla="*/ 661 w 746"/>
              <a:gd name="T105" fmla="*/ 320 h 800"/>
              <a:gd name="T106" fmla="*/ 661 w 746"/>
              <a:gd name="T107" fmla="*/ 32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46" h="800">
                <a:moveTo>
                  <a:pt x="733" y="160"/>
                </a:moveTo>
                <a:lnTo>
                  <a:pt x="720" y="160"/>
                </a:lnTo>
                <a:lnTo>
                  <a:pt x="626" y="160"/>
                </a:lnTo>
                <a:lnTo>
                  <a:pt x="613" y="160"/>
                </a:lnTo>
                <a:lnTo>
                  <a:pt x="613" y="130"/>
                </a:lnTo>
                <a:cubicBezTo>
                  <a:pt x="629" y="116"/>
                  <a:pt x="640" y="96"/>
                  <a:pt x="640" y="73"/>
                </a:cubicBezTo>
                <a:cubicBezTo>
                  <a:pt x="640" y="33"/>
                  <a:pt x="607" y="0"/>
                  <a:pt x="566" y="0"/>
                </a:cubicBezTo>
                <a:cubicBezTo>
                  <a:pt x="526" y="0"/>
                  <a:pt x="493" y="33"/>
                  <a:pt x="493" y="73"/>
                </a:cubicBezTo>
                <a:cubicBezTo>
                  <a:pt x="493" y="96"/>
                  <a:pt x="503" y="116"/>
                  <a:pt x="520" y="130"/>
                </a:cubicBezTo>
                <a:lnTo>
                  <a:pt x="520" y="160"/>
                </a:lnTo>
                <a:lnTo>
                  <a:pt x="466" y="160"/>
                </a:lnTo>
                <a:lnTo>
                  <a:pt x="373" y="160"/>
                </a:lnTo>
                <a:lnTo>
                  <a:pt x="226" y="160"/>
                </a:lnTo>
                <a:lnTo>
                  <a:pt x="226" y="130"/>
                </a:lnTo>
                <a:cubicBezTo>
                  <a:pt x="243" y="116"/>
                  <a:pt x="253" y="96"/>
                  <a:pt x="253" y="73"/>
                </a:cubicBezTo>
                <a:cubicBezTo>
                  <a:pt x="253" y="33"/>
                  <a:pt x="220" y="0"/>
                  <a:pt x="180" y="0"/>
                </a:cubicBezTo>
                <a:cubicBezTo>
                  <a:pt x="139" y="0"/>
                  <a:pt x="106" y="33"/>
                  <a:pt x="106" y="73"/>
                </a:cubicBezTo>
                <a:cubicBezTo>
                  <a:pt x="106" y="96"/>
                  <a:pt x="117" y="116"/>
                  <a:pt x="133" y="130"/>
                </a:cubicBezTo>
                <a:lnTo>
                  <a:pt x="133" y="160"/>
                </a:lnTo>
                <a:lnTo>
                  <a:pt x="106" y="160"/>
                </a:lnTo>
                <a:lnTo>
                  <a:pt x="13" y="160"/>
                </a:lnTo>
                <a:cubicBezTo>
                  <a:pt x="6" y="160"/>
                  <a:pt x="0" y="166"/>
                  <a:pt x="0" y="173"/>
                </a:cubicBezTo>
                <a:lnTo>
                  <a:pt x="0" y="333"/>
                </a:lnTo>
                <a:cubicBezTo>
                  <a:pt x="0" y="341"/>
                  <a:pt x="6" y="347"/>
                  <a:pt x="13" y="347"/>
                </a:cubicBezTo>
                <a:lnTo>
                  <a:pt x="26" y="347"/>
                </a:lnTo>
                <a:lnTo>
                  <a:pt x="120" y="347"/>
                </a:lnTo>
                <a:lnTo>
                  <a:pt x="194" y="347"/>
                </a:lnTo>
                <a:lnTo>
                  <a:pt x="40" y="782"/>
                </a:lnTo>
                <a:cubicBezTo>
                  <a:pt x="39" y="786"/>
                  <a:pt x="40" y="791"/>
                  <a:pt x="42" y="794"/>
                </a:cubicBezTo>
                <a:cubicBezTo>
                  <a:pt x="45" y="798"/>
                  <a:pt x="49" y="800"/>
                  <a:pt x="53" y="800"/>
                </a:cubicBezTo>
                <a:lnTo>
                  <a:pt x="146" y="800"/>
                </a:lnTo>
                <a:cubicBezTo>
                  <a:pt x="152" y="800"/>
                  <a:pt x="157" y="797"/>
                  <a:pt x="159" y="791"/>
                </a:cubicBezTo>
                <a:lnTo>
                  <a:pt x="236" y="587"/>
                </a:lnTo>
                <a:lnTo>
                  <a:pt x="510" y="587"/>
                </a:lnTo>
                <a:lnTo>
                  <a:pt x="587" y="791"/>
                </a:lnTo>
                <a:cubicBezTo>
                  <a:pt x="589" y="797"/>
                  <a:pt x="594" y="800"/>
                  <a:pt x="600" y="800"/>
                </a:cubicBezTo>
                <a:lnTo>
                  <a:pt x="693" y="800"/>
                </a:lnTo>
                <a:cubicBezTo>
                  <a:pt x="697" y="800"/>
                  <a:pt x="701" y="798"/>
                  <a:pt x="704" y="794"/>
                </a:cubicBezTo>
                <a:cubicBezTo>
                  <a:pt x="706" y="791"/>
                  <a:pt x="707" y="786"/>
                  <a:pt x="706" y="782"/>
                </a:cubicBezTo>
                <a:lnTo>
                  <a:pt x="552" y="347"/>
                </a:lnTo>
                <a:lnTo>
                  <a:pt x="640" y="347"/>
                </a:lnTo>
                <a:lnTo>
                  <a:pt x="733" y="347"/>
                </a:lnTo>
                <a:cubicBezTo>
                  <a:pt x="740" y="347"/>
                  <a:pt x="746" y="341"/>
                  <a:pt x="746" y="333"/>
                </a:cubicBezTo>
                <a:lnTo>
                  <a:pt x="746" y="173"/>
                </a:lnTo>
                <a:cubicBezTo>
                  <a:pt x="746" y="166"/>
                  <a:pt x="740" y="160"/>
                  <a:pt x="733" y="160"/>
                </a:cubicBezTo>
                <a:close/>
                <a:moveTo>
                  <a:pt x="533" y="320"/>
                </a:moveTo>
                <a:lnTo>
                  <a:pt x="440" y="320"/>
                </a:lnTo>
                <a:lnTo>
                  <a:pt x="408" y="320"/>
                </a:lnTo>
                <a:lnTo>
                  <a:pt x="475" y="187"/>
                </a:lnTo>
                <a:lnTo>
                  <a:pt x="533" y="187"/>
                </a:lnTo>
                <a:lnTo>
                  <a:pt x="600" y="187"/>
                </a:lnTo>
                <a:lnTo>
                  <a:pt x="605" y="187"/>
                </a:lnTo>
                <a:lnTo>
                  <a:pt x="538" y="320"/>
                </a:lnTo>
                <a:lnTo>
                  <a:pt x="533" y="320"/>
                </a:lnTo>
                <a:close/>
                <a:moveTo>
                  <a:pt x="141" y="320"/>
                </a:moveTo>
                <a:lnTo>
                  <a:pt x="208" y="187"/>
                </a:lnTo>
                <a:lnTo>
                  <a:pt x="213" y="187"/>
                </a:lnTo>
                <a:lnTo>
                  <a:pt x="351" y="187"/>
                </a:lnTo>
                <a:lnTo>
                  <a:pt x="285" y="320"/>
                </a:lnTo>
                <a:lnTo>
                  <a:pt x="213" y="320"/>
                </a:lnTo>
                <a:lnTo>
                  <a:pt x="141" y="320"/>
                </a:lnTo>
                <a:close/>
                <a:moveTo>
                  <a:pt x="316" y="347"/>
                </a:moveTo>
                <a:lnTo>
                  <a:pt x="386" y="347"/>
                </a:lnTo>
                <a:lnTo>
                  <a:pt x="430" y="347"/>
                </a:lnTo>
                <a:lnTo>
                  <a:pt x="473" y="480"/>
                </a:lnTo>
                <a:lnTo>
                  <a:pt x="273" y="480"/>
                </a:lnTo>
                <a:lnTo>
                  <a:pt x="316" y="347"/>
                </a:lnTo>
                <a:close/>
                <a:moveTo>
                  <a:pt x="566" y="27"/>
                </a:moveTo>
                <a:cubicBezTo>
                  <a:pt x="592" y="27"/>
                  <a:pt x="613" y="48"/>
                  <a:pt x="613" y="73"/>
                </a:cubicBezTo>
                <a:cubicBezTo>
                  <a:pt x="613" y="92"/>
                  <a:pt x="602" y="108"/>
                  <a:pt x="585" y="116"/>
                </a:cubicBezTo>
                <a:cubicBezTo>
                  <a:pt x="584" y="116"/>
                  <a:pt x="583" y="117"/>
                  <a:pt x="582" y="117"/>
                </a:cubicBezTo>
                <a:cubicBezTo>
                  <a:pt x="581" y="118"/>
                  <a:pt x="580" y="118"/>
                  <a:pt x="578" y="118"/>
                </a:cubicBezTo>
                <a:cubicBezTo>
                  <a:pt x="577" y="119"/>
                  <a:pt x="575" y="119"/>
                  <a:pt x="574" y="119"/>
                </a:cubicBezTo>
                <a:cubicBezTo>
                  <a:pt x="573" y="119"/>
                  <a:pt x="572" y="119"/>
                  <a:pt x="571" y="120"/>
                </a:cubicBezTo>
                <a:cubicBezTo>
                  <a:pt x="568" y="120"/>
                  <a:pt x="565" y="120"/>
                  <a:pt x="562" y="120"/>
                </a:cubicBezTo>
                <a:cubicBezTo>
                  <a:pt x="561" y="119"/>
                  <a:pt x="560" y="119"/>
                  <a:pt x="559" y="119"/>
                </a:cubicBezTo>
                <a:cubicBezTo>
                  <a:pt x="557" y="119"/>
                  <a:pt x="556" y="119"/>
                  <a:pt x="554" y="118"/>
                </a:cubicBezTo>
                <a:cubicBezTo>
                  <a:pt x="553" y="118"/>
                  <a:pt x="552" y="118"/>
                  <a:pt x="551" y="117"/>
                </a:cubicBezTo>
                <a:cubicBezTo>
                  <a:pt x="549" y="117"/>
                  <a:pt x="548" y="116"/>
                  <a:pt x="547" y="116"/>
                </a:cubicBezTo>
                <a:cubicBezTo>
                  <a:pt x="531" y="108"/>
                  <a:pt x="520" y="92"/>
                  <a:pt x="520" y="73"/>
                </a:cubicBezTo>
                <a:cubicBezTo>
                  <a:pt x="520" y="48"/>
                  <a:pt x="541" y="27"/>
                  <a:pt x="566" y="27"/>
                </a:cubicBezTo>
                <a:close/>
                <a:moveTo>
                  <a:pt x="546" y="144"/>
                </a:moveTo>
                <a:cubicBezTo>
                  <a:pt x="547" y="144"/>
                  <a:pt x="547" y="144"/>
                  <a:pt x="548" y="144"/>
                </a:cubicBezTo>
                <a:cubicBezTo>
                  <a:pt x="550" y="145"/>
                  <a:pt x="552" y="145"/>
                  <a:pt x="555" y="146"/>
                </a:cubicBezTo>
                <a:cubicBezTo>
                  <a:pt x="556" y="146"/>
                  <a:pt x="556" y="146"/>
                  <a:pt x="557" y="146"/>
                </a:cubicBezTo>
                <a:cubicBezTo>
                  <a:pt x="560" y="146"/>
                  <a:pt x="563" y="147"/>
                  <a:pt x="566" y="147"/>
                </a:cubicBezTo>
                <a:cubicBezTo>
                  <a:pt x="569" y="147"/>
                  <a:pt x="573" y="146"/>
                  <a:pt x="576" y="146"/>
                </a:cubicBezTo>
                <a:cubicBezTo>
                  <a:pt x="576" y="146"/>
                  <a:pt x="577" y="146"/>
                  <a:pt x="578" y="146"/>
                </a:cubicBezTo>
                <a:cubicBezTo>
                  <a:pt x="580" y="145"/>
                  <a:pt x="583" y="145"/>
                  <a:pt x="585" y="144"/>
                </a:cubicBezTo>
                <a:cubicBezTo>
                  <a:pt x="585" y="144"/>
                  <a:pt x="586" y="144"/>
                  <a:pt x="586" y="144"/>
                </a:cubicBezTo>
                <a:lnTo>
                  <a:pt x="586" y="160"/>
                </a:lnTo>
                <a:lnTo>
                  <a:pt x="546" y="160"/>
                </a:lnTo>
                <a:lnTo>
                  <a:pt x="546" y="144"/>
                </a:lnTo>
                <a:close/>
                <a:moveTo>
                  <a:pt x="445" y="187"/>
                </a:moveTo>
                <a:lnTo>
                  <a:pt x="378" y="320"/>
                </a:lnTo>
                <a:lnTo>
                  <a:pt x="315" y="320"/>
                </a:lnTo>
                <a:lnTo>
                  <a:pt x="381" y="187"/>
                </a:lnTo>
                <a:lnTo>
                  <a:pt x="445" y="187"/>
                </a:lnTo>
                <a:close/>
                <a:moveTo>
                  <a:pt x="180" y="27"/>
                </a:moveTo>
                <a:cubicBezTo>
                  <a:pt x="205" y="27"/>
                  <a:pt x="226" y="48"/>
                  <a:pt x="226" y="73"/>
                </a:cubicBezTo>
                <a:cubicBezTo>
                  <a:pt x="226" y="92"/>
                  <a:pt x="215" y="108"/>
                  <a:pt x="199" y="116"/>
                </a:cubicBezTo>
                <a:cubicBezTo>
                  <a:pt x="198" y="116"/>
                  <a:pt x="197" y="117"/>
                  <a:pt x="195" y="117"/>
                </a:cubicBezTo>
                <a:cubicBezTo>
                  <a:pt x="194" y="118"/>
                  <a:pt x="193" y="118"/>
                  <a:pt x="192" y="118"/>
                </a:cubicBezTo>
                <a:cubicBezTo>
                  <a:pt x="190" y="119"/>
                  <a:pt x="189" y="119"/>
                  <a:pt x="187" y="119"/>
                </a:cubicBezTo>
                <a:cubicBezTo>
                  <a:pt x="186" y="119"/>
                  <a:pt x="185" y="119"/>
                  <a:pt x="185" y="120"/>
                </a:cubicBezTo>
                <a:cubicBezTo>
                  <a:pt x="181" y="120"/>
                  <a:pt x="178" y="120"/>
                  <a:pt x="175" y="120"/>
                </a:cubicBezTo>
                <a:cubicBezTo>
                  <a:pt x="174" y="119"/>
                  <a:pt x="173" y="119"/>
                  <a:pt x="172" y="119"/>
                </a:cubicBezTo>
                <a:cubicBezTo>
                  <a:pt x="171" y="119"/>
                  <a:pt x="169" y="119"/>
                  <a:pt x="168" y="118"/>
                </a:cubicBezTo>
                <a:cubicBezTo>
                  <a:pt x="166" y="118"/>
                  <a:pt x="165" y="118"/>
                  <a:pt x="164" y="117"/>
                </a:cubicBezTo>
                <a:cubicBezTo>
                  <a:pt x="163" y="117"/>
                  <a:pt x="162" y="116"/>
                  <a:pt x="161" y="116"/>
                </a:cubicBezTo>
                <a:cubicBezTo>
                  <a:pt x="144" y="108"/>
                  <a:pt x="133" y="92"/>
                  <a:pt x="133" y="73"/>
                </a:cubicBezTo>
                <a:cubicBezTo>
                  <a:pt x="133" y="48"/>
                  <a:pt x="154" y="27"/>
                  <a:pt x="180" y="27"/>
                </a:cubicBezTo>
                <a:close/>
                <a:moveTo>
                  <a:pt x="160" y="144"/>
                </a:moveTo>
                <a:cubicBezTo>
                  <a:pt x="160" y="144"/>
                  <a:pt x="161" y="144"/>
                  <a:pt x="161" y="144"/>
                </a:cubicBezTo>
                <a:cubicBezTo>
                  <a:pt x="163" y="145"/>
                  <a:pt x="166" y="145"/>
                  <a:pt x="168" y="146"/>
                </a:cubicBezTo>
                <a:cubicBezTo>
                  <a:pt x="169" y="146"/>
                  <a:pt x="170" y="146"/>
                  <a:pt x="170" y="146"/>
                </a:cubicBezTo>
                <a:cubicBezTo>
                  <a:pt x="173" y="146"/>
                  <a:pt x="177" y="147"/>
                  <a:pt x="180" y="147"/>
                </a:cubicBezTo>
                <a:cubicBezTo>
                  <a:pt x="183" y="147"/>
                  <a:pt x="186" y="146"/>
                  <a:pt x="189" y="146"/>
                </a:cubicBezTo>
                <a:cubicBezTo>
                  <a:pt x="190" y="146"/>
                  <a:pt x="190" y="146"/>
                  <a:pt x="191" y="146"/>
                </a:cubicBezTo>
                <a:cubicBezTo>
                  <a:pt x="194" y="145"/>
                  <a:pt x="196" y="145"/>
                  <a:pt x="198" y="144"/>
                </a:cubicBezTo>
                <a:cubicBezTo>
                  <a:pt x="199" y="144"/>
                  <a:pt x="199" y="144"/>
                  <a:pt x="200" y="144"/>
                </a:cubicBezTo>
                <a:lnTo>
                  <a:pt x="200" y="160"/>
                </a:lnTo>
                <a:lnTo>
                  <a:pt x="160" y="160"/>
                </a:lnTo>
                <a:lnTo>
                  <a:pt x="160" y="144"/>
                </a:lnTo>
                <a:close/>
                <a:moveTo>
                  <a:pt x="85" y="187"/>
                </a:moveTo>
                <a:lnTo>
                  <a:pt x="26" y="304"/>
                </a:lnTo>
                <a:lnTo>
                  <a:pt x="26" y="187"/>
                </a:lnTo>
                <a:lnTo>
                  <a:pt x="85" y="187"/>
                </a:lnTo>
                <a:close/>
                <a:moveTo>
                  <a:pt x="48" y="320"/>
                </a:moveTo>
                <a:lnTo>
                  <a:pt x="115" y="187"/>
                </a:lnTo>
                <a:lnTo>
                  <a:pt x="146" y="187"/>
                </a:lnTo>
                <a:lnTo>
                  <a:pt x="178" y="187"/>
                </a:lnTo>
                <a:lnTo>
                  <a:pt x="111" y="320"/>
                </a:lnTo>
                <a:lnTo>
                  <a:pt x="48" y="320"/>
                </a:lnTo>
                <a:close/>
                <a:moveTo>
                  <a:pt x="609" y="773"/>
                </a:moveTo>
                <a:lnTo>
                  <a:pt x="532" y="569"/>
                </a:lnTo>
                <a:cubicBezTo>
                  <a:pt x="530" y="563"/>
                  <a:pt x="525" y="560"/>
                  <a:pt x="520" y="560"/>
                </a:cubicBezTo>
                <a:lnTo>
                  <a:pt x="226" y="560"/>
                </a:lnTo>
                <a:cubicBezTo>
                  <a:pt x="221" y="560"/>
                  <a:pt x="216" y="563"/>
                  <a:pt x="214" y="569"/>
                </a:cubicBezTo>
                <a:lnTo>
                  <a:pt x="137" y="773"/>
                </a:lnTo>
                <a:lnTo>
                  <a:pt x="72" y="773"/>
                </a:lnTo>
                <a:lnTo>
                  <a:pt x="222" y="347"/>
                </a:lnTo>
                <a:lnTo>
                  <a:pt x="288" y="347"/>
                </a:lnTo>
                <a:lnTo>
                  <a:pt x="242" y="489"/>
                </a:lnTo>
                <a:cubicBezTo>
                  <a:pt x="241" y="493"/>
                  <a:pt x="242" y="498"/>
                  <a:pt x="244" y="501"/>
                </a:cubicBezTo>
                <a:cubicBezTo>
                  <a:pt x="247" y="505"/>
                  <a:pt x="251" y="507"/>
                  <a:pt x="255" y="507"/>
                </a:cubicBezTo>
                <a:lnTo>
                  <a:pt x="491" y="507"/>
                </a:lnTo>
                <a:cubicBezTo>
                  <a:pt x="495" y="507"/>
                  <a:pt x="499" y="505"/>
                  <a:pt x="502" y="501"/>
                </a:cubicBezTo>
                <a:cubicBezTo>
                  <a:pt x="504" y="498"/>
                  <a:pt x="505" y="493"/>
                  <a:pt x="504" y="489"/>
                </a:cubicBezTo>
                <a:lnTo>
                  <a:pt x="458" y="347"/>
                </a:lnTo>
                <a:lnTo>
                  <a:pt x="524" y="347"/>
                </a:lnTo>
                <a:lnTo>
                  <a:pt x="674" y="773"/>
                </a:lnTo>
                <a:lnTo>
                  <a:pt x="609" y="773"/>
                </a:lnTo>
                <a:close/>
                <a:moveTo>
                  <a:pt x="568" y="320"/>
                </a:moveTo>
                <a:lnTo>
                  <a:pt x="635" y="187"/>
                </a:lnTo>
                <a:lnTo>
                  <a:pt x="698" y="187"/>
                </a:lnTo>
                <a:lnTo>
                  <a:pt x="631" y="320"/>
                </a:lnTo>
                <a:lnTo>
                  <a:pt x="568" y="320"/>
                </a:lnTo>
                <a:close/>
                <a:moveTo>
                  <a:pt x="661" y="320"/>
                </a:moveTo>
                <a:lnTo>
                  <a:pt x="720" y="203"/>
                </a:lnTo>
                <a:lnTo>
                  <a:pt x="720" y="320"/>
                </a:lnTo>
                <a:lnTo>
                  <a:pt x="661" y="32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/>
          </a:p>
        </p:txBody>
      </p:sp>
      <p:sp>
        <p:nvSpPr>
          <p:cNvPr id="379" name="îs1ídê">
            <a:extLst>
              <a:ext uri="{FF2B5EF4-FFF2-40B4-BE49-F238E27FC236}">
                <a16:creationId xmlns:a16="http://schemas.microsoft.com/office/drawing/2014/main" id="{362F4EC7-1AF4-4AD6-BB86-813B20BDFCE7}"/>
              </a:ext>
            </a:extLst>
          </p:cNvPr>
          <p:cNvSpPr txBox="1"/>
          <p:nvPr/>
        </p:nvSpPr>
        <p:spPr>
          <a:xfrm>
            <a:off x="4559324" y="3336305"/>
            <a:ext cx="1048524" cy="794171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defRPr/>
            </a:pPr>
            <a:r>
              <a:rPr lang="en-US" altLang="zh-CN" sz="1400" dirty="0"/>
              <a:t>Mitigation </a:t>
            </a:r>
          </a:p>
          <a:p>
            <a:pPr algn="ctr" defTabSz="914378">
              <a:spcBef>
                <a:spcPct val="0"/>
              </a:spcBef>
              <a:defRPr/>
            </a:pPr>
            <a:r>
              <a:rPr lang="en-US" altLang="zh-CN" sz="1400" dirty="0"/>
              <a:t>&amp; </a:t>
            </a:r>
          </a:p>
          <a:p>
            <a:pPr algn="ctr" defTabSz="914378">
              <a:spcBef>
                <a:spcPct val="0"/>
              </a:spcBef>
              <a:defRPr/>
            </a:pPr>
            <a:r>
              <a:rPr lang="en-US" altLang="zh-CN" sz="1400" dirty="0"/>
              <a:t>Implications</a:t>
            </a:r>
            <a:endParaRPr lang="zh-CN" altLang="en-US" sz="1400" dirty="0"/>
          </a:p>
        </p:txBody>
      </p:sp>
      <p:sp>
        <p:nvSpPr>
          <p:cNvPr id="380" name="ïSḷîďê">
            <a:extLst>
              <a:ext uri="{FF2B5EF4-FFF2-40B4-BE49-F238E27FC236}">
                <a16:creationId xmlns:a16="http://schemas.microsoft.com/office/drawing/2014/main" id="{CF215DA8-13C3-46EF-9D8C-29DB4968EB16}"/>
              </a:ext>
            </a:extLst>
          </p:cNvPr>
          <p:cNvSpPr txBox="1"/>
          <p:nvPr/>
        </p:nvSpPr>
        <p:spPr>
          <a:xfrm>
            <a:off x="6584552" y="3449807"/>
            <a:ext cx="1048524" cy="449136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defRPr/>
            </a:pPr>
            <a:r>
              <a:rPr lang="en-US" altLang="zh-CN" sz="1400" dirty="0"/>
              <a:t>Limitations</a:t>
            </a:r>
            <a:endParaRPr lang="zh-CN" altLang="en-US" sz="1400" dirty="0"/>
          </a:p>
        </p:txBody>
      </p:sp>
      <p:sp>
        <p:nvSpPr>
          <p:cNvPr id="413" name="íṥḷîḓé">
            <a:extLst>
              <a:ext uri="{FF2B5EF4-FFF2-40B4-BE49-F238E27FC236}">
                <a16:creationId xmlns:a16="http://schemas.microsoft.com/office/drawing/2014/main" id="{D4BA7E82-A3F7-41DF-AA81-2911618A8D0C}"/>
              </a:ext>
            </a:extLst>
          </p:cNvPr>
          <p:cNvSpPr txBox="1"/>
          <p:nvPr/>
        </p:nvSpPr>
        <p:spPr bwMode="auto">
          <a:xfrm>
            <a:off x="688681" y="1406023"/>
            <a:ext cx="285579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pp Market Maintainers</a:t>
            </a:r>
          </a:p>
        </p:txBody>
      </p:sp>
      <p:sp>
        <p:nvSpPr>
          <p:cNvPr id="414" name="iślíḑé">
            <a:extLst>
              <a:ext uri="{FF2B5EF4-FFF2-40B4-BE49-F238E27FC236}">
                <a16:creationId xmlns:a16="http://schemas.microsoft.com/office/drawing/2014/main" id="{782485B8-93B4-44D6-A2BA-636E5E30A058}"/>
              </a:ext>
            </a:extLst>
          </p:cNvPr>
          <p:cNvSpPr/>
          <p:nvPr/>
        </p:nvSpPr>
        <p:spPr bwMode="auto">
          <a:xfrm>
            <a:off x="688682" y="1847830"/>
            <a:ext cx="2855797" cy="76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rgbClr val="000000"/>
                </a:solidFill>
              </a:rPr>
              <a:t>Need to design</a:t>
            </a:r>
          </a:p>
          <a:p>
            <a:pPr lvl="0">
              <a:lnSpc>
                <a:spcPct val="150000"/>
              </a:lnSpc>
              <a:defRPr/>
            </a:pPr>
            <a:r>
              <a:rPr lang="en-US" altLang="zh-CN" sz="1400" dirty="0">
                <a:solidFill>
                  <a:srgbClr val="000000"/>
                </a:solidFill>
              </a:rPr>
              <a:t>policies to regulate app naming schemes.</a:t>
            </a:r>
          </a:p>
        </p:txBody>
      </p:sp>
      <p:cxnSp>
        <p:nvCxnSpPr>
          <p:cNvPr id="411" name="直接连接符 41">
            <a:extLst>
              <a:ext uri="{FF2B5EF4-FFF2-40B4-BE49-F238E27FC236}">
                <a16:creationId xmlns:a16="http://schemas.microsoft.com/office/drawing/2014/main" id="{61386D1A-2C32-42B0-8757-7B1A07C85435}"/>
              </a:ext>
            </a:extLst>
          </p:cNvPr>
          <p:cNvCxnSpPr>
            <a:cxnSpLocks/>
          </p:cNvCxnSpPr>
          <p:nvPr/>
        </p:nvCxnSpPr>
        <p:spPr>
          <a:xfrm>
            <a:off x="688681" y="1847828"/>
            <a:ext cx="2846371" cy="0"/>
          </a:xfrm>
          <a:prstGeom prst="line">
            <a:avLst/>
          </a:prstGeom>
          <a:ln w="3175" cap="rnd">
            <a:solidFill>
              <a:schemeClr val="tx2">
                <a:lumMod val="9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2" name="iśļîḑè">
            <a:extLst>
              <a:ext uri="{FF2B5EF4-FFF2-40B4-BE49-F238E27FC236}">
                <a16:creationId xmlns:a16="http://schemas.microsoft.com/office/drawing/2014/main" id="{D734561A-0C6B-4142-8CCE-AE5CF0448975}"/>
              </a:ext>
            </a:extLst>
          </p:cNvPr>
          <p:cNvSpPr/>
          <p:nvPr/>
        </p:nvSpPr>
        <p:spPr bwMode="auto">
          <a:xfrm>
            <a:off x="3264448" y="1455698"/>
            <a:ext cx="328264" cy="358619"/>
          </a:xfrm>
          <a:custGeom>
            <a:avLst/>
            <a:gdLst>
              <a:gd name="connsiteX0" fmla="*/ 320106 w 555350"/>
              <a:gd name="connsiteY0" fmla="*/ 331358 h 606704"/>
              <a:gd name="connsiteX1" fmla="*/ 408926 w 555350"/>
              <a:gd name="connsiteY1" fmla="*/ 420059 h 606704"/>
              <a:gd name="connsiteX2" fmla="*/ 92091 w 555350"/>
              <a:gd name="connsiteY2" fmla="*/ 597105 h 606704"/>
              <a:gd name="connsiteX3" fmla="*/ 59696 w 555350"/>
              <a:gd name="connsiteY3" fmla="*/ 606704 h 606704"/>
              <a:gd name="connsiteX4" fmla="*/ 46079 w 555350"/>
              <a:gd name="connsiteY4" fmla="*/ 605015 h 606704"/>
              <a:gd name="connsiteX5" fmla="*/ 444987 w 555350"/>
              <a:gd name="connsiteY5" fmla="*/ 206669 h 606704"/>
              <a:gd name="connsiteX6" fmla="*/ 524822 w 555350"/>
              <a:gd name="connsiteY6" fmla="*/ 251295 h 606704"/>
              <a:gd name="connsiteX7" fmla="*/ 555350 w 555350"/>
              <a:gd name="connsiteY7" fmla="*/ 303299 h 606704"/>
              <a:gd name="connsiteX8" fmla="*/ 524822 w 555350"/>
              <a:gd name="connsiteY8" fmla="*/ 355392 h 606704"/>
              <a:gd name="connsiteX9" fmla="*/ 444987 w 555350"/>
              <a:gd name="connsiteY9" fmla="*/ 400018 h 606704"/>
              <a:gd name="connsiteX10" fmla="*/ 348240 w 555350"/>
              <a:gd name="connsiteY10" fmla="*/ 303299 h 606704"/>
              <a:gd name="connsiteX11" fmla="*/ 12103 w 555350"/>
              <a:gd name="connsiteY11" fmla="*/ 23834 h 606704"/>
              <a:gd name="connsiteX12" fmla="*/ 292000 w 555350"/>
              <a:gd name="connsiteY12" fmla="*/ 303309 h 606704"/>
              <a:gd name="connsiteX13" fmla="*/ 12103 w 555350"/>
              <a:gd name="connsiteY13" fmla="*/ 582783 h 606704"/>
              <a:gd name="connsiteX14" fmla="*/ 0 w 555350"/>
              <a:gd name="connsiteY14" fmla="*/ 547060 h 606704"/>
              <a:gd name="connsiteX15" fmla="*/ 0 w 555350"/>
              <a:gd name="connsiteY15" fmla="*/ 59646 h 606704"/>
              <a:gd name="connsiteX16" fmla="*/ 12103 w 555350"/>
              <a:gd name="connsiteY16" fmla="*/ 23834 h 606704"/>
              <a:gd name="connsiteX17" fmla="*/ 69753 w 555350"/>
              <a:gd name="connsiteY17" fmla="*/ 836 h 606704"/>
              <a:gd name="connsiteX18" fmla="*/ 92091 w 555350"/>
              <a:gd name="connsiteY18" fmla="*/ 9491 h 606704"/>
              <a:gd name="connsiteX19" fmla="*/ 408926 w 555350"/>
              <a:gd name="connsiteY19" fmla="*/ 186551 h 606704"/>
              <a:gd name="connsiteX20" fmla="*/ 320106 w 555350"/>
              <a:gd name="connsiteY20" fmla="*/ 275258 h 606704"/>
              <a:gd name="connsiteX21" fmla="*/ 46079 w 555350"/>
              <a:gd name="connsiteY21" fmla="*/ 1580 h 606704"/>
              <a:gd name="connsiteX22" fmla="*/ 69753 w 555350"/>
              <a:gd name="connsiteY22" fmla="*/ 836 h 60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55350" h="606704">
                <a:moveTo>
                  <a:pt x="320106" y="331358"/>
                </a:moveTo>
                <a:lnTo>
                  <a:pt x="408926" y="420059"/>
                </a:lnTo>
                <a:lnTo>
                  <a:pt x="92091" y="597105"/>
                </a:lnTo>
                <a:cubicBezTo>
                  <a:pt x="82302" y="603504"/>
                  <a:pt x="70999" y="606704"/>
                  <a:pt x="59696" y="606704"/>
                </a:cubicBezTo>
                <a:cubicBezTo>
                  <a:pt x="55157" y="606704"/>
                  <a:pt x="50529" y="606082"/>
                  <a:pt x="46079" y="605015"/>
                </a:cubicBezTo>
                <a:close/>
                <a:moveTo>
                  <a:pt x="444987" y="206669"/>
                </a:moveTo>
                <a:lnTo>
                  <a:pt x="524822" y="251295"/>
                </a:lnTo>
                <a:cubicBezTo>
                  <a:pt x="543958" y="261962"/>
                  <a:pt x="555350" y="281431"/>
                  <a:pt x="555350" y="303299"/>
                </a:cubicBezTo>
                <a:cubicBezTo>
                  <a:pt x="555350" y="325167"/>
                  <a:pt x="543958" y="344636"/>
                  <a:pt x="524822" y="355392"/>
                </a:cubicBezTo>
                <a:lnTo>
                  <a:pt x="444987" y="400018"/>
                </a:lnTo>
                <a:lnTo>
                  <a:pt x="348240" y="303299"/>
                </a:lnTo>
                <a:close/>
                <a:moveTo>
                  <a:pt x="12103" y="23834"/>
                </a:moveTo>
                <a:lnTo>
                  <a:pt x="292000" y="303309"/>
                </a:lnTo>
                <a:lnTo>
                  <a:pt x="12103" y="582783"/>
                </a:lnTo>
                <a:cubicBezTo>
                  <a:pt x="4450" y="572653"/>
                  <a:pt x="0" y="560212"/>
                  <a:pt x="0" y="547060"/>
                </a:cubicBezTo>
                <a:lnTo>
                  <a:pt x="0" y="59646"/>
                </a:lnTo>
                <a:cubicBezTo>
                  <a:pt x="0" y="46494"/>
                  <a:pt x="4450" y="33964"/>
                  <a:pt x="12103" y="23834"/>
                </a:cubicBezTo>
                <a:close/>
                <a:moveTo>
                  <a:pt x="69753" y="836"/>
                </a:moveTo>
                <a:cubicBezTo>
                  <a:pt x="77585" y="2158"/>
                  <a:pt x="85194" y="5047"/>
                  <a:pt x="92091" y="9491"/>
                </a:cubicBezTo>
                <a:lnTo>
                  <a:pt x="408926" y="186551"/>
                </a:lnTo>
                <a:lnTo>
                  <a:pt x="320106" y="275258"/>
                </a:lnTo>
                <a:lnTo>
                  <a:pt x="46079" y="1580"/>
                </a:lnTo>
                <a:cubicBezTo>
                  <a:pt x="53867" y="-242"/>
                  <a:pt x="61921" y="-486"/>
                  <a:pt x="69753" y="83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398" name="íSḻïdê">
            <a:extLst>
              <a:ext uri="{FF2B5EF4-FFF2-40B4-BE49-F238E27FC236}">
                <a16:creationId xmlns:a16="http://schemas.microsoft.com/office/drawing/2014/main" id="{A816D1D6-3FDD-4827-8591-FD9A6F981728}"/>
              </a:ext>
            </a:extLst>
          </p:cNvPr>
          <p:cNvGrpSpPr/>
          <p:nvPr/>
        </p:nvGrpSpPr>
        <p:grpSpPr>
          <a:xfrm>
            <a:off x="688681" y="3033123"/>
            <a:ext cx="2897065" cy="1210855"/>
            <a:chOff x="688681" y="1560626"/>
            <a:chExt cx="2897065" cy="1210855"/>
          </a:xfrm>
        </p:grpSpPr>
        <p:grpSp>
          <p:nvGrpSpPr>
            <p:cNvPr id="405" name="îšḷiḍê">
              <a:extLst>
                <a:ext uri="{FF2B5EF4-FFF2-40B4-BE49-F238E27FC236}">
                  <a16:creationId xmlns:a16="http://schemas.microsoft.com/office/drawing/2014/main" id="{A15B9C7C-D8D0-46A5-B631-C79AC9D98B71}"/>
                </a:ext>
              </a:extLst>
            </p:cNvPr>
            <p:cNvGrpSpPr/>
            <p:nvPr/>
          </p:nvGrpSpPr>
          <p:grpSpPr>
            <a:xfrm>
              <a:off x="688681" y="1560626"/>
              <a:ext cx="2855798" cy="1210855"/>
              <a:chOff x="8210999" y="1130300"/>
              <a:chExt cx="2760914" cy="1210855"/>
            </a:xfrm>
          </p:grpSpPr>
          <p:sp>
            <p:nvSpPr>
              <p:cNvPr id="408" name="işļiḑe">
                <a:extLst>
                  <a:ext uri="{FF2B5EF4-FFF2-40B4-BE49-F238E27FC236}">
                    <a16:creationId xmlns:a16="http://schemas.microsoft.com/office/drawing/2014/main" id="{3CC444DD-9CEF-4D17-B594-D3BCDB88629C}"/>
                  </a:ext>
                </a:extLst>
              </p:cNvPr>
              <p:cNvSpPr txBox="1"/>
              <p:nvPr/>
            </p:nvSpPr>
            <p:spPr bwMode="auto">
              <a:xfrm>
                <a:off x="8210999" y="1130300"/>
                <a:ext cx="276091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App Developers</a:t>
                </a:r>
              </a:p>
            </p:txBody>
          </p:sp>
          <p:sp>
            <p:nvSpPr>
              <p:cNvPr id="409" name="íşḻíde">
                <a:extLst>
                  <a:ext uri="{FF2B5EF4-FFF2-40B4-BE49-F238E27FC236}">
                    <a16:creationId xmlns:a16="http://schemas.microsoft.com/office/drawing/2014/main" id="{3B23ACF3-EB68-4710-B358-1B553DFCFE1B}"/>
                  </a:ext>
                </a:extLst>
              </p:cNvPr>
              <p:cNvSpPr/>
              <p:nvPr/>
            </p:nvSpPr>
            <p:spPr bwMode="auto">
              <a:xfrm>
                <a:off x="8211000" y="1572107"/>
                <a:ext cx="2760913" cy="7690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>
                  <a:lnSpc>
                    <a:spcPct val="150000"/>
                  </a:lnSpc>
                  <a:defRPr/>
                </a:pPr>
                <a:r>
                  <a:rPr lang="en-US" altLang="zh-CN" sz="1200" dirty="0">
                    <a:solidFill>
                      <a:srgbClr val="000000"/>
                    </a:solidFill>
                  </a:rPr>
                  <a:t>Be aware of squatting abuse and take the responsibility to search for and report squatting apps to market maintainers</a:t>
                </a:r>
              </a:p>
            </p:txBody>
          </p:sp>
        </p:grpSp>
        <p:cxnSp>
          <p:nvCxnSpPr>
            <p:cNvPr id="406" name="直接连接符 36">
              <a:extLst>
                <a:ext uri="{FF2B5EF4-FFF2-40B4-BE49-F238E27FC236}">
                  <a16:creationId xmlns:a16="http://schemas.microsoft.com/office/drawing/2014/main" id="{F6C5FDF1-3252-44DF-B17E-2B42C4FD49F4}"/>
                </a:ext>
              </a:extLst>
            </p:cNvPr>
            <p:cNvCxnSpPr>
              <a:cxnSpLocks/>
            </p:cNvCxnSpPr>
            <p:nvPr/>
          </p:nvCxnSpPr>
          <p:spPr>
            <a:xfrm>
              <a:off x="688681" y="2002431"/>
              <a:ext cx="2846371" cy="0"/>
            </a:xfrm>
            <a:prstGeom prst="line">
              <a:avLst/>
            </a:prstGeom>
            <a:ln w="3175" cap="rnd">
              <a:solidFill>
                <a:schemeClr val="tx2">
                  <a:lumMod val="90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7" name="ïṩľíḋê">
              <a:extLst>
                <a:ext uri="{FF2B5EF4-FFF2-40B4-BE49-F238E27FC236}">
                  <a16:creationId xmlns:a16="http://schemas.microsoft.com/office/drawing/2014/main" id="{01A9355B-44A3-45DA-B6AF-C8A16CA11DEE}"/>
                </a:ext>
              </a:extLst>
            </p:cNvPr>
            <p:cNvSpPr/>
            <p:nvPr/>
          </p:nvSpPr>
          <p:spPr bwMode="auto">
            <a:xfrm>
              <a:off x="3271414" y="1643811"/>
              <a:ext cx="314332" cy="358619"/>
            </a:xfrm>
            <a:custGeom>
              <a:avLst/>
              <a:gdLst>
                <a:gd name="T0" fmla="*/ 450 w 560"/>
                <a:gd name="T1" fmla="*/ 152 h 640"/>
                <a:gd name="T2" fmla="*/ 280 w 560"/>
                <a:gd name="T3" fmla="*/ 0 h 640"/>
                <a:gd name="T4" fmla="*/ 110 w 560"/>
                <a:gd name="T5" fmla="*/ 152 h 640"/>
                <a:gd name="T6" fmla="*/ 110 w 560"/>
                <a:gd name="T7" fmla="*/ 181 h 640"/>
                <a:gd name="T8" fmla="*/ 450 w 560"/>
                <a:gd name="T9" fmla="*/ 181 h 640"/>
                <a:gd name="T10" fmla="*/ 450 w 560"/>
                <a:gd name="T11" fmla="*/ 152 h 640"/>
                <a:gd name="T12" fmla="*/ 217 w 560"/>
                <a:gd name="T13" fmla="*/ 152 h 640"/>
                <a:gd name="T14" fmla="*/ 178 w 560"/>
                <a:gd name="T15" fmla="*/ 113 h 640"/>
                <a:gd name="T16" fmla="*/ 217 w 560"/>
                <a:gd name="T17" fmla="*/ 74 h 640"/>
                <a:gd name="T18" fmla="*/ 257 w 560"/>
                <a:gd name="T19" fmla="*/ 113 h 640"/>
                <a:gd name="T20" fmla="*/ 217 w 560"/>
                <a:gd name="T21" fmla="*/ 152 h 640"/>
                <a:gd name="T22" fmla="*/ 343 w 560"/>
                <a:gd name="T23" fmla="*/ 152 h 640"/>
                <a:gd name="T24" fmla="*/ 303 w 560"/>
                <a:gd name="T25" fmla="*/ 113 h 640"/>
                <a:gd name="T26" fmla="*/ 343 w 560"/>
                <a:gd name="T27" fmla="*/ 74 h 640"/>
                <a:gd name="T28" fmla="*/ 382 w 560"/>
                <a:gd name="T29" fmla="*/ 113 h 640"/>
                <a:gd name="T30" fmla="*/ 343 w 560"/>
                <a:gd name="T31" fmla="*/ 152 h 640"/>
                <a:gd name="T32" fmla="*/ 0 w 560"/>
                <a:gd name="T33" fmla="*/ 244 h 640"/>
                <a:gd name="T34" fmla="*/ 42 w 560"/>
                <a:gd name="T35" fmla="*/ 244 h 640"/>
                <a:gd name="T36" fmla="*/ 42 w 560"/>
                <a:gd name="T37" fmla="*/ 394 h 640"/>
                <a:gd name="T38" fmla="*/ 0 w 560"/>
                <a:gd name="T39" fmla="*/ 394 h 640"/>
                <a:gd name="T40" fmla="*/ 0 w 560"/>
                <a:gd name="T41" fmla="*/ 244 h 640"/>
                <a:gd name="T42" fmla="*/ 58 w 560"/>
                <a:gd name="T43" fmla="*/ 396 h 640"/>
                <a:gd name="T44" fmla="*/ 115 w 560"/>
                <a:gd name="T45" fmla="*/ 534 h 640"/>
                <a:gd name="T46" fmla="*/ 115 w 560"/>
                <a:gd name="T47" fmla="*/ 640 h 640"/>
                <a:gd name="T48" fmla="*/ 228 w 560"/>
                <a:gd name="T49" fmla="*/ 640 h 640"/>
                <a:gd name="T50" fmla="*/ 228 w 560"/>
                <a:gd name="T51" fmla="*/ 590 h 640"/>
                <a:gd name="T52" fmla="*/ 280 w 560"/>
                <a:gd name="T53" fmla="*/ 595 h 640"/>
                <a:gd name="T54" fmla="*/ 332 w 560"/>
                <a:gd name="T55" fmla="*/ 590 h 640"/>
                <a:gd name="T56" fmla="*/ 332 w 560"/>
                <a:gd name="T57" fmla="*/ 640 h 640"/>
                <a:gd name="T58" fmla="*/ 445 w 560"/>
                <a:gd name="T59" fmla="*/ 640 h 640"/>
                <a:gd name="T60" fmla="*/ 445 w 560"/>
                <a:gd name="T61" fmla="*/ 536 h 640"/>
                <a:gd name="T62" fmla="*/ 502 w 560"/>
                <a:gd name="T63" fmla="*/ 398 h 640"/>
                <a:gd name="T64" fmla="*/ 502 w 560"/>
                <a:gd name="T65" fmla="*/ 208 h 640"/>
                <a:gd name="T66" fmla="*/ 58 w 560"/>
                <a:gd name="T67" fmla="*/ 208 h 640"/>
                <a:gd name="T68" fmla="*/ 58 w 560"/>
                <a:gd name="T69" fmla="*/ 396 h 640"/>
                <a:gd name="T70" fmla="*/ 337 w 560"/>
                <a:gd name="T71" fmla="*/ 437 h 640"/>
                <a:gd name="T72" fmla="*/ 432 w 560"/>
                <a:gd name="T73" fmla="*/ 394 h 640"/>
                <a:gd name="T74" fmla="*/ 337 w 560"/>
                <a:gd name="T75" fmla="*/ 351 h 640"/>
                <a:gd name="T76" fmla="*/ 337 w 560"/>
                <a:gd name="T77" fmla="*/ 322 h 640"/>
                <a:gd name="T78" fmla="*/ 461 w 560"/>
                <a:gd name="T79" fmla="*/ 381 h 640"/>
                <a:gd name="T80" fmla="*/ 461 w 560"/>
                <a:gd name="T81" fmla="*/ 406 h 640"/>
                <a:gd name="T82" fmla="*/ 337 w 560"/>
                <a:gd name="T83" fmla="*/ 466 h 640"/>
                <a:gd name="T84" fmla="*/ 337 w 560"/>
                <a:gd name="T85" fmla="*/ 437 h 640"/>
                <a:gd name="T86" fmla="*/ 296 w 560"/>
                <a:gd name="T87" fmla="*/ 295 h 640"/>
                <a:gd name="T88" fmla="*/ 321 w 560"/>
                <a:gd name="T89" fmla="*/ 295 h 640"/>
                <a:gd name="T90" fmla="*/ 266 w 560"/>
                <a:gd name="T91" fmla="*/ 491 h 640"/>
                <a:gd name="T92" fmla="*/ 241 w 560"/>
                <a:gd name="T93" fmla="*/ 491 h 640"/>
                <a:gd name="T94" fmla="*/ 296 w 560"/>
                <a:gd name="T95" fmla="*/ 295 h 640"/>
                <a:gd name="T96" fmla="*/ 99 w 560"/>
                <a:gd name="T97" fmla="*/ 381 h 640"/>
                <a:gd name="T98" fmla="*/ 223 w 560"/>
                <a:gd name="T99" fmla="*/ 320 h 640"/>
                <a:gd name="T100" fmla="*/ 223 w 560"/>
                <a:gd name="T101" fmla="*/ 351 h 640"/>
                <a:gd name="T102" fmla="*/ 129 w 560"/>
                <a:gd name="T103" fmla="*/ 394 h 640"/>
                <a:gd name="T104" fmla="*/ 223 w 560"/>
                <a:gd name="T105" fmla="*/ 437 h 640"/>
                <a:gd name="T106" fmla="*/ 223 w 560"/>
                <a:gd name="T107" fmla="*/ 466 h 640"/>
                <a:gd name="T108" fmla="*/ 99 w 560"/>
                <a:gd name="T109" fmla="*/ 405 h 640"/>
                <a:gd name="T110" fmla="*/ 99 w 560"/>
                <a:gd name="T111" fmla="*/ 381 h 640"/>
                <a:gd name="T112" fmla="*/ 560 w 560"/>
                <a:gd name="T113" fmla="*/ 244 h 640"/>
                <a:gd name="T114" fmla="*/ 560 w 560"/>
                <a:gd name="T115" fmla="*/ 394 h 640"/>
                <a:gd name="T116" fmla="*/ 518 w 560"/>
                <a:gd name="T117" fmla="*/ 394 h 640"/>
                <a:gd name="T118" fmla="*/ 518 w 560"/>
                <a:gd name="T119" fmla="*/ 244 h 640"/>
                <a:gd name="T120" fmla="*/ 560 w 560"/>
                <a:gd name="T121" fmla="*/ 244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60" h="640">
                  <a:moveTo>
                    <a:pt x="450" y="152"/>
                  </a:moveTo>
                  <a:cubicBezTo>
                    <a:pt x="450" y="59"/>
                    <a:pt x="373" y="0"/>
                    <a:pt x="280" y="0"/>
                  </a:cubicBezTo>
                  <a:cubicBezTo>
                    <a:pt x="187" y="0"/>
                    <a:pt x="110" y="59"/>
                    <a:pt x="110" y="152"/>
                  </a:cubicBezTo>
                  <a:lnTo>
                    <a:pt x="110" y="181"/>
                  </a:lnTo>
                  <a:lnTo>
                    <a:pt x="450" y="181"/>
                  </a:lnTo>
                  <a:lnTo>
                    <a:pt x="450" y="152"/>
                  </a:lnTo>
                  <a:close/>
                  <a:moveTo>
                    <a:pt x="217" y="152"/>
                  </a:moveTo>
                  <a:cubicBezTo>
                    <a:pt x="196" y="152"/>
                    <a:pt x="178" y="134"/>
                    <a:pt x="178" y="113"/>
                  </a:cubicBezTo>
                  <a:cubicBezTo>
                    <a:pt x="178" y="91"/>
                    <a:pt x="196" y="74"/>
                    <a:pt x="217" y="74"/>
                  </a:cubicBezTo>
                  <a:cubicBezTo>
                    <a:pt x="239" y="74"/>
                    <a:pt x="257" y="91"/>
                    <a:pt x="257" y="113"/>
                  </a:cubicBezTo>
                  <a:cubicBezTo>
                    <a:pt x="257" y="134"/>
                    <a:pt x="241" y="152"/>
                    <a:pt x="217" y="152"/>
                  </a:cubicBezTo>
                  <a:close/>
                  <a:moveTo>
                    <a:pt x="343" y="152"/>
                  </a:moveTo>
                  <a:cubicBezTo>
                    <a:pt x="321" y="152"/>
                    <a:pt x="303" y="134"/>
                    <a:pt x="303" y="113"/>
                  </a:cubicBezTo>
                  <a:cubicBezTo>
                    <a:pt x="303" y="91"/>
                    <a:pt x="321" y="74"/>
                    <a:pt x="343" y="74"/>
                  </a:cubicBezTo>
                  <a:cubicBezTo>
                    <a:pt x="364" y="74"/>
                    <a:pt x="382" y="91"/>
                    <a:pt x="382" y="113"/>
                  </a:cubicBezTo>
                  <a:cubicBezTo>
                    <a:pt x="382" y="134"/>
                    <a:pt x="364" y="152"/>
                    <a:pt x="343" y="152"/>
                  </a:cubicBezTo>
                  <a:close/>
                  <a:moveTo>
                    <a:pt x="0" y="244"/>
                  </a:moveTo>
                  <a:lnTo>
                    <a:pt x="42" y="244"/>
                  </a:lnTo>
                  <a:lnTo>
                    <a:pt x="42" y="394"/>
                  </a:lnTo>
                  <a:lnTo>
                    <a:pt x="0" y="394"/>
                  </a:lnTo>
                  <a:lnTo>
                    <a:pt x="0" y="244"/>
                  </a:lnTo>
                  <a:close/>
                  <a:moveTo>
                    <a:pt x="58" y="396"/>
                  </a:moveTo>
                  <a:cubicBezTo>
                    <a:pt x="58" y="454"/>
                    <a:pt x="79" y="500"/>
                    <a:pt x="115" y="534"/>
                  </a:cubicBezTo>
                  <a:lnTo>
                    <a:pt x="115" y="640"/>
                  </a:lnTo>
                  <a:lnTo>
                    <a:pt x="228" y="640"/>
                  </a:lnTo>
                  <a:lnTo>
                    <a:pt x="228" y="590"/>
                  </a:lnTo>
                  <a:cubicBezTo>
                    <a:pt x="244" y="593"/>
                    <a:pt x="262" y="595"/>
                    <a:pt x="280" y="595"/>
                  </a:cubicBezTo>
                  <a:cubicBezTo>
                    <a:pt x="298" y="595"/>
                    <a:pt x="316" y="593"/>
                    <a:pt x="332" y="590"/>
                  </a:cubicBezTo>
                  <a:lnTo>
                    <a:pt x="332" y="640"/>
                  </a:lnTo>
                  <a:lnTo>
                    <a:pt x="445" y="640"/>
                  </a:lnTo>
                  <a:lnTo>
                    <a:pt x="445" y="536"/>
                  </a:lnTo>
                  <a:cubicBezTo>
                    <a:pt x="481" y="502"/>
                    <a:pt x="502" y="455"/>
                    <a:pt x="502" y="398"/>
                  </a:cubicBezTo>
                  <a:lnTo>
                    <a:pt x="502" y="208"/>
                  </a:lnTo>
                  <a:lnTo>
                    <a:pt x="58" y="208"/>
                  </a:lnTo>
                  <a:lnTo>
                    <a:pt x="58" y="396"/>
                  </a:lnTo>
                  <a:close/>
                  <a:moveTo>
                    <a:pt x="337" y="437"/>
                  </a:moveTo>
                  <a:lnTo>
                    <a:pt x="432" y="394"/>
                  </a:lnTo>
                  <a:lnTo>
                    <a:pt x="337" y="351"/>
                  </a:lnTo>
                  <a:lnTo>
                    <a:pt x="337" y="322"/>
                  </a:lnTo>
                  <a:lnTo>
                    <a:pt x="461" y="381"/>
                  </a:lnTo>
                  <a:lnTo>
                    <a:pt x="461" y="406"/>
                  </a:lnTo>
                  <a:lnTo>
                    <a:pt x="337" y="466"/>
                  </a:lnTo>
                  <a:lnTo>
                    <a:pt x="337" y="437"/>
                  </a:lnTo>
                  <a:close/>
                  <a:moveTo>
                    <a:pt x="296" y="295"/>
                  </a:moveTo>
                  <a:lnTo>
                    <a:pt x="321" y="295"/>
                  </a:lnTo>
                  <a:lnTo>
                    <a:pt x="266" y="491"/>
                  </a:lnTo>
                  <a:lnTo>
                    <a:pt x="241" y="491"/>
                  </a:lnTo>
                  <a:lnTo>
                    <a:pt x="296" y="295"/>
                  </a:lnTo>
                  <a:close/>
                  <a:moveTo>
                    <a:pt x="99" y="381"/>
                  </a:moveTo>
                  <a:lnTo>
                    <a:pt x="223" y="320"/>
                  </a:lnTo>
                  <a:lnTo>
                    <a:pt x="223" y="351"/>
                  </a:lnTo>
                  <a:lnTo>
                    <a:pt x="129" y="394"/>
                  </a:lnTo>
                  <a:lnTo>
                    <a:pt x="223" y="437"/>
                  </a:lnTo>
                  <a:lnTo>
                    <a:pt x="223" y="466"/>
                  </a:lnTo>
                  <a:lnTo>
                    <a:pt x="99" y="405"/>
                  </a:lnTo>
                  <a:lnTo>
                    <a:pt x="99" y="381"/>
                  </a:lnTo>
                  <a:close/>
                  <a:moveTo>
                    <a:pt x="560" y="244"/>
                  </a:moveTo>
                  <a:lnTo>
                    <a:pt x="560" y="394"/>
                  </a:lnTo>
                  <a:lnTo>
                    <a:pt x="518" y="394"/>
                  </a:lnTo>
                  <a:lnTo>
                    <a:pt x="518" y="244"/>
                  </a:lnTo>
                  <a:lnTo>
                    <a:pt x="560" y="24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99" name="íṥḷiḓè">
            <a:extLst>
              <a:ext uri="{FF2B5EF4-FFF2-40B4-BE49-F238E27FC236}">
                <a16:creationId xmlns:a16="http://schemas.microsoft.com/office/drawing/2014/main" id="{D3E97712-3BC9-4600-8118-BE946AE57A52}"/>
              </a:ext>
            </a:extLst>
          </p:cNvPr>
          <p:cNvGrpSpPr/>
          <p:nvPr/>
        </p:nvGrpSpPr>
        <p:grpSpPr>
          <a:xfrm>
            <a:off x="688681" y="4660223"/>
            <a:ext cx="2944212" cy="1210855"/>
            <a:chOff x="688681" y="1560626"/>
            <a:chExt cx="2944212" cy="1210855"/>
          </a:xfrm>
        </p:grpSpPr>
        <p:grpSp>
          <p:nvGrpSpPr>
            <p:cNvPr id="400" name="í$ḷîdè">
              <a:extLst>
                <a:ext uri="{FF2B5EF4-FFF2-40B4-BE49-F238E27FC236}">
                  <a16:creationId xmlns:a16="http://schemas.microsoft.com/office/drawing/2014/main" id="{930919B1-86BE-4B1F-A3E7-98FB948F9E1E}"/>
                </a:ext>
              </a:extLst>
            </p:cNvPr>
            <p:cNvGrpSpPr/>
            <p:nvPr/>
          </p:nvGrpSpPr>
          <p:grpSpPr>
            <a:xfrm>
              <a:off x="688682" y="1560626"/>
              <a:ext cx="2855797" cy="1210855"/>
              <a:chOff x="8211000" y="1130300"/>
              <a:chExt cx="2760913" cy="1210855"/>
            </a:xfrm>
          </p:grpSpPr>
          <p:sp>
            <p:nvSpPr>
              <p:cNvPr id="403" name="ï$1íḍê">
                <a:extLst>
                  <a:ext uri="{FF2B5EF4-FFF2-40B4-BE49-F238E27FC236}">
                    <a16:creationId xmlns:a16="http://schemas.microsoft.com/office/drawing/2014/main" id="{FC94C38A-43FE-4542-8E8E-5FFA348DF82D}"/>
                  </a:ext>
                </a:extLst>
              </p:cNvPr>
              <p:cNvSpPr txBox="1"/>
              <p:nvPr/>
            </p:nvSpPr>
            <p:spPr bwMode="auto">
              <a:xfrm>
                <a:off x="8211000" y="1130300"/>
                <a:ext cx="276091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Mobile Users</a:t>
                </a:r>
              </a:p>
            </p:txBody>
          </p:sp>
          <p:sp>
            <p:nvSpPr>
              <p:cNvPr id="404" name="î$ļíḋê">
                <a:extLst>
                  <a:ext uri="{FF2B5EF4-FFF2-40B4-BE49-F238E27FC236}">
                    <a16:creationId xmlns:a16="http://schemas.microsoft.com/office/drawing/2014/main" id="{D7D4A620-B3A3-415F-A04A-C31788910533}"/>
                  </a:ext>
                </a:extLst>
              </p:cNvPr>
              <p:cNvSpPr/>
              <p:nvPr/>
            </p:nvSpPr>
            <p:spPr bwMode="auto">
              <a:xfrm>
                <a:off x="8211000" y="1572107"/>
                <a:ext cx="2760913" cy="7690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altLang="zh-CN" sz="1400" dirty="0"/>
                  <a:t>L</a:t>
                </a:r>
                <a:r>
                  <a:rPr lang="en-US" altLang="zh-CN" sz="1400" b="0" i="0" u="none" strike="noStrike" baseline="0" dirty="0"/>
                  <a:t>earn more about app squatting </a:t>
                </a:r>
                <a:r>
                  <a:rPr lang="en-NZ" altLang="zh-CN" sz="1400" b="0" i="0" u="none" strike="noStrike" baseline="0" dirty="0"/>
                  <a:t>attacks</a:t>
                </a:r>
                <a:endParaRPr lang="en-US" altLang="zh-CN" sz="1400" dirty="0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01" name="直接连接符 31">
              <a:extLst>
                <a:ext uri="{FF2B5EF4-FFF2-40B4-BE49-F238E27FC236}">
                  <a16:creationId xmlns:a16="http://schemas.microsoft.com/office/drawing/2014/main" id="{1B33D276-F17B-4F95-9229-8BF74E3569C5}"/>
                </a:ext>
              </a:extLst>
            </p:cNvPr>
            <p:cNvCxnSpPr>
              <a:cxnSpLocks/>
            </p:cNvCxnSpPr>
            <p:nvPr/>
          </p:nvCxnSpPr>
          <p:spPr>
            <a:xfrm>
              <a:off x="688681" y="2002431"/>
              <a:ext cx="2846371" cy="0"/>
            </a:xfrm>
            <a:prstGeom prst="line">
              <a:avLst/>
            </a:prstGeom>
            <a:ln w="3175" cap="rnd">
              <a:solidFill>
                <a:schemeClr val="tx2">
                  <a:lumMod val="90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2" name="isľíḍe">
              <a:extLst>
                <a:ext uri="{FF2B5EF4-FFF2-40B4-BE49-F238E27FC236}">
                  <a16:creationId xmlns:a16="http://schemas.microsoft.com/office/drawing/2014/main" id="{5E7A0FA7-429B-455C-B192-727E9A27D932}"/>
                </a:ext>
              </a:extLst>
            </p:cNvPr>
            <p:cNvSpPr/>
            <p:nvPr/>
          </p:nvSpPr>
          <p:spPr bwMode="auto">
            <a:xfrm>
              <a:off x="3274274" y="1626876"/>
              <a:ext cx="358619" cy="255081"/>
            </a:xfrm>
            <a:custGeom>
              <a:avLst/>
              <a:gdLst>
                <a:gd name="T0" fmla="*/ 8498 w 12000"/>
                <a:gd name="T1" fmla="*/ 7734 h 8534"/>
                <a:gd name="T2" fmla="*/ 7441 w 12000"/>
                <a:gd name="T3" fmla="*/ 8534 h 8534"/>
                <a:gd name="T4" fmla="*/ 1093 w 12000"/>
                <a:gd name="T5" fmla="*/ 8534 h 8534"/>
                <a:gd name="T6" fmla="*/ 0 w 12000"/>
                <a:gd name="T7" fmla="*/ 7462 h 8534"/>
                <a:gd name="T8" fmla="*/ 2 w 12000"/>
                <a:gd name="T9" fmla="*/ 7422 h 8534"/>
                <a:gd name="T10" fmla="*/ 19 w 12000"/>
                <a:gd name="T11" fmla="*/ 7228 h 8534"/>
                <a:gd name="T12" fmla="*/ 72 w 12000"/>
                <a:gd name="T13" fmla="*/ 6802 h 8534"/>
                <a:gd name="T14" fmla="*/ 239 w 12000"/>
                <a:gd name="T15" fmla="*/ 6155 h 8534"/>
                <a:gd name="T16" fmla="*/ 4267 w 12000"/>
                <a:gd name="T17" fmla="*/ 4595 h 8534"/>
                <a:gd name="T18" fmla="*/ 6645 w 12000"/>
                <a:gd name="T19" fmla="*/ 5087 h 8534"/>
                <a:gd name="T20" fmla="*/ 8800 w 12000"/>
                <a:gd name="T21" fmla="*/ 4534 h 8534"/>
                <a:gd name="T22" fmla="*/ 11818 w 12000"/>
                <a:gd name="T23" fmla="*/ 5777 h 8534"/>
                <a:gd name="T24" fmla="*/ 11948 w 12000"/>
                <a:gd name="T25" fmla="*/ 6293 h 8534"/>
                <a:gd name="T26" fmla="*/ 11999 w 12000"/>
                <a:gd name="T27" fmla="*/ 6762 h 8534"/>
                <a:gd name="T28" fmla="*/ 12000 w 12000"/>
                <a:gd name="T29" fmla="*/ 6800 h 8534"/>
                <a:gd name="T30" fmla="*/ 11068 w 12000"/>
                <a:gd name="T31" fmla="*/ 7734 h 8534"/>
                <a:gd name="T32" fmla="*/ 8498 w 12000"/>
                <a:gd name="T33" fmla="*/ 7734 h 8534"/>
                <a:gd name="T34" fmla="*/ 7906 w 12000"/>
                <a:gd name="T35" fmla="*/ 5739 h 8534"/>
                <a:gd name="T36" fmla="*/ 8295 w 12000"/>
                <a:gd name="T37" fmla="*/ 6155 h 8534"/>
                <a:gd name="T38" fmla="*/ 8440 w 12000"/>
                <a:gd name="T39" fmla="*/ 6667 h 8534"/>
                <a:gd name="T40" fmla="*/ 10920 w 12000"/>
                <a:gd name="T41" fmla="*/ 6667 h 8534"/>
                <a:gd name="T42" fmla="*/ 10892 w 12000"/>
                <a:gd name="T43" fmla="*/ 6447 h 8534"/>
                <a:gd name="T44" fmla="*/ 10861 w 12000"/>
                <a:gd name="T45" fmla="*/ 6270 h 8534"/>
                <a:gd name="T46" fmla="*/ 10763 w 12000"/>
                <a:gd name="T47" fmla="*/ 6202 h 8534"/>
                <a:gd name="T48" fmla="*/ 10245 w 12000"/>
                <a:gd name="T49" fmla="*/ 5934 h 8534"/>
                <a:gd name="T50" fmla="*/ 8800 w 12000"/>
                <a:gd name="T51" fmla="*/ 5600 h 8534"/>
                <a:gd name="T52" fmla="*/ 7906 w 12000"/>
                <a:gd name="T53" fmla="*/ 5739 h 8534"/>
                <a:gd name="T54" fmla="*/ 8800 w 12000"/>
                <a:gd name="T55" fmla="*/ 4000 h 8534"/>
                <a:gd name="T56" fmla="*/ 7200 w 12000"/>
                <a:gd name="T57" fmla="*/ 2400 h 8534"/>
                <a:gd name="T58" fmla="*/ 8800 w 12000"/>
                <a:gd name="T59" fmla="*/ 800 h 8534"/>
                <a:gd name="T60" fmla="*/ 10400 w 12000"/>
                <a:gd name="T61" fmla="*/ 2400 h 8534"/>
                <a:gd name="T62" fmla="*/ 8800 w 12000"/>
                <a:gd name="T63" fmla="*/ 4000 h 8534"/>
                <a:gd name="T64" fmla="*/ 8800 w 12000"/>
                <a:gd name="T65" fmla="*/ 2934 h 8534"/>
                <a:gd name="T66" fmla="*/ 9334 w 12000"/>
                <a:gd name="T67" fmla="*/ 2400 h 8534"/>
                <a:gd name="T68" fmla="*/ 8800 w 12000"/>
                <a:gd name="T69" fmla="*/ 1867 h 8534"/>
                <a:gd name="T70" fmla="*/ 8267 w 12000"/>
                <a:gd name="T71" fmla="*/ 2400 h 8534"/>
                <a:gd name="T72" fmla="*/ 8800 w 12000"/>
                <a:gd name="T73" fmla="*/ 2934 h 8534"/>
                <a:gd name="T74" fmla="*/ 4267 w 12000"/>
                <a:gd name="T75" fmla="*/ 3939 h 8534"/>
                <a:gd name="T76" fmla="*/ 2298 w 12000"/>
                <a:gd name="T77" fmla="*/ 1970 h 8534"/>
                <a:gd name="T78" fmla="*/ 4267 w 12000"/>
                <a:gd name="T79" fmla="*/ 0 h 8534"/>
                <a:gd name="T80" fmla="*/ 6236 w 12000"/>
                <a:gd name="T81" fmla="*/ 1970 h 8534"/>
                <a:gd name="T82" fmla="*/ 4267 w 12000"/>
                <a:gd name="T83" fmla="*/ 3939 h 8534"/>
                <a:gd name="T84" fmla="*/ 4267 w 12000"/>
                <a:gd name="T85" fmla="*/ 2872 h 8534"/>
                <a:gd name="T86" fmla="*/ 5170 w 12000"/>
                <a:gd name="T87" fmla="*/ 1970 h 8534"/>
                <a:gd name="T88" fmla="*/ 4267 w 12000"/>
                <a:gd name="T89" fmla="*/ 1067 h 8534"/>
                <a:gd name="T90" fmla="*/ 3364 w 12000"/>
                <a:gd name="T91" fmla="*/ 1970 h 8534"/>
                <a:gd name="T92" fmla="*/ 4267 w 12000"/>
                <a:gd name="T93" fmla="*/ 2872 h 8534"/>
                <a:gd name="T94" fmla="*/ 7339 w 12000"/>
                <a:gd name="T95" fmla="*/ 6646 h 8534"/>
                <a:gd name="T96" fmla="*/ 7139 w 12000"/>
                <a:gd name="T97" fmla="*/ 6506 h 8534"/>
                <a:gd name="T98" fmla="*/ 6380 w 12000"/>
                <a:gd name="T99" fmla="*/ 6129 h 8534"/>
                <a:gd name="T100" fmla="*/ 4267 w 12000"/>
                <a:gd name="T101" fmla="*/ 5662 h 8534"/>
                <a:gd name="T102" fmla="*/ 2154 w 12000"/>
                <a:gd name="T103" fmla="*/ 6129 h 8534"/>
                <a:gd name="T104" fmla="*/ 1395 w 12000"/>
                <a:gd name="T105" fmla="*/ 6506 h 8534"/>
                <a:gd name="T106" fmla="*/ 1189 w 12000"/>
                <a:gd name="T107" fmla="*/ 6652 h 8534"/>
                <a:gd name="T108" fmla="*/ 1126 w 12000"/>
                <a:gd name="T109" fmla="*/ 6963 h 8534"/>
                <a:gd name="T110" fmla="*/ 1069 w 12000"/>
                <a:gd name="T111" fmla="*/ 7462 h 8534"/>
                <a:gd name="T112" fmla="*/ 1093 w 12000"/>
                <a:gd name="T113" fmla="*/ 7467 h 8534"/>
                <a:gd name="T114" fmla="*/ 7441 w 12000"/>
                <a:gd name="T115" fmla="*/ 7467 h 8534"/>
                <a:gd name="T116" fmla="*/ 7465 w 12000"/>
                <a:gd name="T117" fmla="*/ 7462 h 8534"/>
                <a:gd name="T118" fmla="*/ 7408 w 12000"/>
                <a:gd name="T119" fmla="*/ 6963 h 8534"/>
                <a:gd name="T120" fmla="*/ 7345 w 12000"/>
                <a:gd name="T121" fmla="*/ 6652 h 8534"/>
                <a:gd name="T122" fmla="*/ 7339 w 12000"/>
                <a:gd name="T123" fmla="*/ 6646 h 8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00" h="8534">
                  <a:moveTo>
                    <a:pt x="8498" y="7734"/>
                  </a:moveTo>
                  <a:cubicBezTo>
                    <a:pt x="8375" y="8196"/>
                    <a:pt x="7946" y="8534"/>
                    <a:pt x="7441" y="8534"/>
                  </a:cubicBezTo>
                  <a:lnTo>
                    <a:pt x="1093" y="8534"/>
                  </a:lnTo>
                  <a:cubicBezTo>
                    <a:pt x="494" y="8534"/>
                    <a:pt x="0" y="8058"/>
                    <a:pt x="0" y="7462"/>
                  </a:cubicBezTo>
                  <a:lnTo>
                    <a:pt x="2" y="7422"/>
                  </a:lnTo>
                  <a:cubicBezTo>
                    <a:pt x="5" y="7382"/>
                    <a:pt x="10" y="7314"/>
                    <a:pt x="19" y="7228"/>
                  </a:cubicBezTo>
                  <a:cubicBezTo>
                    <a:pt x="34" y="7083"/>
                    <a:pt x="51" y="6939"/>
                    <a:pt x="72" y="6802"/>
                  </a:cubicBezTo>
                  <a:cubicBezTo>
                    <a:pt x="115" y="6523"/>
                    <a:pt x="164" y="6313"/>
                    <a:pt x="239" y="6155"/>
                  </a:cubicBezTo>
                  <a:cubicBezTo>
                    <a:pt x="560" y="5484"/>
                    <a:pt x="2727" y="4595"/>
                    <a:pt x="4267" y="4595"/>
                  </a:cubicBezTo>
                  <a:cubicBezTo>
                    <a:pt x="5006" y="4595"/>
                    <a:pt x="5890" y="4800"/>
                    <a:pt x="6645" y="5087"/>
                  </a:cubicBezTo>
                  <a:cubicBezTo>
                    <a:pt x="7272" y="4775"/>
                    <a:pt x="8115" y="4534"/>
                    <a:pt x="8800" y="4534"/>
                  </a:cubicBezTo>
                  <a:cubicBezTo>
                    <a:pt x="9955" y="4534"/>
                    <a:pt x="11561" y="5219"/>
                    <a:pt x="11818" y="5777"/>
                  </a:cubicBezTo>
                  <a:cubicBezTo>
                    <a:pt x="11879" y="5909"/>
                    <a:pt x="11916" y="6073"/>
                    <a:pt x="11948" y="6293"/>
                  </a:cubicBezTo>
                  <a:cubicBezTo>
                    <a:pt x="11970" y="6449"/>
                    <a:pt x="11988" y="6605"/>
                    <a:pt x="11999" y="6762"/>
                  </a:cubicBezTo>
                  <a:lnTo>
                    <a:pt x="12000" y="6800"/>
                  </a:lnTo>
                  <a:cubicBezTo>
                    <a:pt x="12000" y="7315"/>
                    <a:pt x="11583" y="7733"/>
                    <a:pt x="11068" y="7734"/>
                  </a:cubicBezTo>
                  <a:lnTo>
                    <a:pt x="8498" y="7734"/>
                  </a:lnTo>
                  <a:close/>
                  <a:moveTo>
                    <a:pt x="7906" y="5739"/>
                  </a:moveTo>
                  <a:cubicBezTo>
                    <a:pt x="8095" y="5880"/>
                    <a:pt x="8231" y="6022"/>
                    <a:pt x="8295" y="6155"/>
                  </a:cubicBezTo>
                  <a:cubicBezTo>
                    <a:pt x="8358" y="6286"/>
                    <a:pt x="8402" y="6453"/>
                    <a:pt x="8440" y="6667"/>
                  </a:cubicBezTo>
                  <a:lnTo>
                    <a:pt x="10920" y="6667"/>
                  </a:lnTo>
                  <a:cubicBezTo>
                    <a:pt x="10912" y="6594"/>
                    <a:pt x="10903" y="6520"/>
                    <a:pt x="10892" y="6447"/>
                  </a:cubicBezTo>
                  <a:cubicBezTo>
                    <a:pt x="10882" y="6374"/>
                    <a:pt x="10870" y="6311"/>
                    <a:pt x="10861" y="6270"/>
                  </a:cubicBezTo>
                  <a:cubicBezTo>
                    <a:pt x="10829" y="6246"/>
                    <a:pt x="10797" y="6223"/>
                    <a:pt x="10763" y="6202"/>
                  </a:cubicBezTo>
                  <a:cubicBezTo>
                    <a:pt x="10598" y="6099"/>
                    <a:pt x="10424" y="6010"/>
                    <a:pt x="10245" y="5934"/>
                  </a:cubicBezTo>
                  <a:cubicBezTo>
                    <a:pt x="9758" y="5727"/>
                    <a:pt x="9238" y="5600"/>
                    <a:pt x="8800" y="5600"/>
                  </a:cubicBezTo>
                  <a:cubicBezTo>
                    <a:pt x="8525" y="5600"/>
                    <a:pt x="8217" y="5650"/>
                    <a:pt x="7906" y="5739"/>
                  </a:cubicBezTo>
                  <a:close/>
                  <a:moveTo>
                    <a:pt x="8800" y="4000"/>
                  </a:moveTo>
                  <a:cubicBezTo>
                    <a:pt x="7917" y="4000"/>
                    <a:pt x="7200" y="3284"/>
                    <a:pt x="7200" y="2400"/>
                  </a:cubicBezTo>
                  <a:cubicBezTo>
                    <a:pt x="7200" y="1517"/>
                    <a:pt x="7917" y="800"/>
                    <a:pt x="8800" y="800"/>
                  </a:cubicBezTo>
                  <a:cubicBezTo>
                    <a:pt x="9684" y="800"/>
                    <a:pt x="10400" y="1517"/>
                    <a:pt x="10400" y="2400"/>
                  </a:cubicBezTo>
                  <a:cubicBezTo>
                    <a:pt x="10400" y="3284"/>
                    <a:pt x="9684" y="4000"/>
                    <a:pt x="8800" y="4000"/>
                  </a:cubicBezTo>
                  <a:close/>
                  <a:moveTo>
                    <a:pt x="8800" y="2934"/>
                  </a:moveTo>
                  <a:cubicBezTo>
                    <a:pt x="9095" y="2934"/>
                    <a:pt x="9334" y="2695"/>
                    <a:pt x="9334" y="2400"/>
                  </a:cubicBezTo>
                  <a:cubicBezTo>
                    <a:pt x="9334" y="2106"/>
                    <a:pt x="9095" y="1867"/>
                    <a:pt x="8800" y="1867"/>
                  </a:cubicBezTo>
                  <a:cubicBezTo>
                    <a:pt x="8506" y="1867"/>
                    <a:pt x="8267" y="2106"/>
                    <a:pt x="8267" y="2400"/>
                  </a:cubicBezTo>
                  <a:cubicBezTo>
                    <a:pt x="8267" y="2695"/>
                    <a:pt x="8506" y="2934"/>
                    <a:pt x="8800" y="2934"/>
                  </a:cubicBezTo>
                  <a:close/>
                  <a:moveTo>
                    <a:pt x="4267" y="3939"/>
                  </a:moveTo>
                  <a:cubicBezTo>
                    <a:pt x="3179" y="3939"/>
                    <a:pt x="2298" y="3057"/>
                    <a:pt x="2298" y="1970"/>
                  </a:cubicBezTo>
                  <a:cubicBezTo>
                    <a:pt x="2298" y="882"/>
                    <a:pt x="3179" y="0"/>
                    <a:pt x="4267" y="0"/>
                  </a:cubicBezTo>
                  <a:cubicBezTo>
                    <a:pt x="5355" y="0"/>
                    <a:pt x="6236" y="882"/>
                    <a:pt x="6236" y="1970"/>
                  </a:cubicBezTo>
                  <a:cubicBezTo>
                    <a:pt x="6236" y="3057"/>
                    <a:pt x="5355" y="3939"/>
                    <a:pt x="4267" y="3939"/>
                  </a:cubicBezTo>
                  <a:close/>
                  <a:moveTo>
                    <a:pt x="4267" y="2872"/>
                  </a:moveTo>
                  <a:cubicBezTo>
                    <a:pt x="4766" y="2872"/>
                    <a:pt x="5170" y="2468"/>
                    <a:pt x="5170" y="1970"/>
                  </a:cubicBezTo>
                  <a:cubicBezTo>
                    <a:pt x="5170" y="1471"/>
                    <a:pt x="4766" y="1067"/>
                    <a:pt x="4267" y="1067"/>
                  </a:cubicBezTo>
                  <a:cubicBezTo>
                    <a:pt x="3768" y="1067"/>
                    <a:pt x="3364" y="1471"/>
                    <a:pt x="3364" y="1970"/>
                  </a:cubicBezTo>
                  <a:cubicBezTo>
                    <a:pt x="3364" y="2468"/>
                    <a:pt x="3768" y="2872"/>
                    <a:pt x="4267" y="2872"/>
                  </a:cubicBezTo>
                  <a:close/>
                  <a:moveTo>
                    <a:pt x="7339" y="6646"/>
                  </a:moveTo>
                  <a:cubicBezTo>
                    <a:pt x="7276" y="6595"/>
                    <a:pt x="7209" y="6548"/>
                    <a:pt x="7139" y="6506"/>
                  </a:cubicBezTo>
                  <a:cubicBezTo>
                    <a:pt x="6940" y="6383"/>
                    <a:pt x="6674" y="6250"/>
                    <a:pt x="6380" y="6129"/>
                  </a:cubicBezTo>
                  <a:cubicBezTo>
                    <a:pt x="5672" y="5839"/>
                    <a:pt x="4915" y="5662"/>
                    <a:pt x="4267" y="5662"/>
                  </a:cubicBezTo>
                  <a:cubicBezTo>
                    <a:pt x="3619" y="5662"/>
                    <a:pt x="2862" y="5839"/>
                    <a:pt x="2154" y="6129"/>
                  </a:cubicBezTo>
                  <a:cubicBezTo>
                    <a:pt x="1860" y="6250"/>
                    <a:pt x="1594" y="6383"/>
                    <a:pt x="1395" y="6506"/>
                  </a:cubicBezTo>
                  <a:cubicBezTo>
                    <a:pt x="1323" y="6550"/>
                    <a:pt x="1254" y="6598"/>
                    <a:pt x="1189" y="6652"/>
                  </a:cubicBezTo>
                  <a:cubicBezTo>
                    <a:pt x="1172" y="6710"/>
                    <a:pt x="1148" y="6824"/>
                    <a:pt x="1126" y="6963"/>
                  </a:cubicBezTo>
                  <a:cubicBezTo>
                    <a:pt x="1102" y="7128"/>
                    <a:pt x="1082" y="7295"/>
                    <a:pt x="1069" y="7462"/>
                  </a:cubicBezTo>
                  <a:cubicBezTo>
                    <a:pt x="1072" y="7463"/>
                    <a:pt x="1079" y="7467"/>
                    <a:pt x="1093" y="7467"/>
                  </a:cubicBezTo>
                  <a:lnTo>
                    <a:pt x="7441" y="7467"/>
                  </a:lnTo>
                  <a:cubicBezTo>
                    <a:pt x="7455" y="7467"/>
                    <a:pt x="7462" y="7463"/>
                    <a:pt x="7465" y="7462"/>
                  </a:cubicBezTo>
                  <a:cubicBezTo>
                    <a:pt x="7451" y="7295"/>
                    <a:pt x="7432" y="7128"/>
                    <a:pt x="7408" y="6963"/>
                  </a:cubicBezTo>
                  <a:cubicBezTo>
                    <a:pt x="7386" y="6824"/>
                    <a:pt x="7362" y="6710"/>
                    <a:pt x="7345" y="6652"/>
                  </a:cubicBezTo>
                  <a:cubicBezTo>
                    <a:pt x="7343" y="6650"/>
                    <a:pt x="7341" y="6648"/>
                    <a:pt x="7339" y="664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82" name="ïś1iḍe">
            <a:extLst>
              <a:ext uri="{FF2B5EF4-FFF2-40B4-BE49-F238E27FC236}">
                <a16:creationId xmlns:a16="http://schemas.microsoft.com/office/drawing/2014/main" id="{4A37BAC1-AA61-495F-858A-8656EFF74EF9}"/>
              </a:ext>
            </a:extLst>
          </p:cNvPr>
          <p:cNvGrpSpPr/>
          <p:nvPr/>
        </p:nvGrpSpPr>
        <p:grpSpPr>
          <a:xfrm>
            <a:off x="8664691" y="1406023"/>
            <a:ext cx="2855797" cy="1210855"/>
            <a:chOff x="8211000" y="1130300"/>
            <a:chExt cx="2760913" cy="1210855"/>
          </a:xfrm>
        </p:grpSpPr>
        <p:sp>
          <p:nvSpPr>
            <p:cNvPr id="395" name="ísḻïḋê">
              <a:extLst>
                <a:ext uri="{FF2B5EF4-FFF2-40B4-BE49-F238E27FC236}">
                  <a16:creationId xmlns:a16="http://schemas.microsoft.com/office/drawing/2014/main" id="{070EA69E-B3D2-4188-A74B-896C4274CF3B}"/>
                </a:ext>
              </a:extLst>
            </p:cNvPr>
            <p:cNvSpPr txBox="1"/>
            <p:nvPr/>
          </p:nvSpPr>
          <p:spPr bwMode="auto">
            <a:xfrm>
              <a:off x="8211000" y="1130300"/>
              <a:ext cx="2760913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AppCrazy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6" name="îṧliḍe">
              <a:extLst>
                <a:ext uri="{FF2B5EF4-FFF2-40B4-BE49-F238E27FC236}">
                  <a16:creationId xmlns:a16="http://schemas.microsoft.com/office/drawing/2014/main" id="{47A9FC6D-8B8B-421F-BD72-7867A1F98E72}"/>
                </a:ext>
              </a:extLst>
            </p:cNvPr>
            <p:cNvSpPr/>
            <p:nvPr/>
          </p:nvSpPr>
          <p:spPr bwMode="auto">
            <a:xfrm>
              <a:off x="8211000" y="1572107"/>
              <a:ext cx="2760913" cy="7690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altLang="zh-CN" sz="1400" b="0" i="0" u="none" strike="noStrike" baseline="0" dirty="0"/>
                <a:t>It is still possible that the generation</a:t>
              </a:r>
            </a:p>
            <a:p>
              <a:pPr algn="l"/>
              <a:r>
                <a:rPr lang="en-US" altLang="zh-CN" sz="1400" b="0" i="0" u="none" strike="noStrike" baseline="0" dirty="0"/>
                <a:t>models are incomplete, and other sophisticated methods exist</a:t>
              </a:r>
              <a:r>
                <a:rPr lang="en-US" altLang="zh-CN" sz="1400" dirty="0"/>
                <a:t>.</a:t>
              </a:r>
              <a:endParaRPr lang="en-US" altLang="zh-CN" sz="1400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383" name="直接连接符 13">
            <a:extLst>
              <a:ext uri="{FF2B5EF4-FFF2-40B4-BE49-F238E27FC236}">
                <a16:creationId xmlns:a16="http://schemas.microsoft.com/office/drawing/2014/main" id="{2E60ADC1-D8F7-4E24-94D0-0549F55939B0}"/>
              </a:ext>
            </a:extLst>
          </p:cNvPr>
          <p:cNvCxnSpPr>
            <a:cxnSpLocks/>
          </p:cNvCxnSpPr>
          <p:nvPr/>
        </p:nvCxnSpPr>
        <p:spPr>
          <a:xfrm>
            <a:off x="8664690" y="1847828"/>
            <a:ext cx="2846371" cy="0"/>
          </a:xfrm>
          <a:prstGeom prst="line">
            <a:avLst/>
          </a:prstGeom>
          <a:ln w="3175" cap="rnd">
            <a:solidFill>
              <a:schemeClr val="tx2">
                <a:lumMod val="9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íš1ïḓè">
            <a:extLst>
              <a:ext uri="{FF2B5EF4-FFF2-40B4-BE49-F238E27FC236}">
                <a16:creationId xmlns:a16="http://schemas.microsoft.com/office/drawing/2014/main" id="{80E4E755-69AE-49B3-B6DD-DF8C27E06329}"/>
              </a:ext>
            </a:extLst>
          </p:cNvPr>
          <p:cNvSpPr/>
          <p:nvPr/>
        </p:nvSpPr>
        <p:spPr bwMode="auto">
          <a:xfrm>
            <a:off x="8663764" y="1423825"/>
            <a:ext cx="358619" cy="351977"/>
          </a:xfrm>
          <a:custGeom>
            <a:avLst/>
            <a:gdLst>
              <a:gd name="T0" fmla="*/ 5204 w 6300"/>
              <a:gd name="T1" fmla="*/ 4432 h 6181"/>
              <a:gd name="T2" fmla="*/ 3924 w 6300"/>
              <a:gd name="T3" fmla="*/ 3151 h 6181"/>
              <a:gd name="T4" fmla="*/ 4963 w 6300"/>
              <a:gd name="T5" fmla="*/ 2112 h 6181"/>
              <a:gd name="T6" fmla="*/ 5932 w 6300"/>
              <a:gd name="T7" fmla="*/ 1837 h 6181"/>
              <a:gd name="T8" fmla="*/ 6179 w 6300"/>
              <a:gd name="T9" fmla="*/ 773 h 6181"/>
              <a:gd name="T10" fmla="*/ 5690 w 6300"/>
              <a:gd name="T11" fmla="*/ 1262 h 6181"/>
              <a:gd name="T12" fmla="*/ 5051 w 6300"/>
              <a:gd name="T13" fmla="*/ 1250 h 6181"/>
              <a:gd name="T14" fmla="*/ 5038 w 6300"/>
              <a:gd name="T15" fmla="*/ 611 h 6181"/>
              <a:gd name="T16" fmla="*/ 5527 w 6300"/>
              <a:gd name="T17" fmla="*/ 122 h 6181"/>
              <a:gd name="T18" fmla="*/ 4463 w 6300"/>
              <a:gd name="T19" fmla="*/ 368 h 6181"/>
              <a:gd name="T20" fmla="*/ 4189 w 6300"/>
              <a:gd name="T21" fmla="*/ 1338 h 6181"/>
              <a:gd name="T22" fmla="*/ 3150 w 6300"/>
              <a:gd name="T23" fmla="*/ 2376 h 6181"/>
              <a:gd name="T24" fmla="*/ 2111 w 6300"/>
              <a:gd name="T25" fmla="*/ 1338 h 6181"/>
              <a:gd name="T26" fmla="*/ 1837 w 6300"/>
              <a:gd name="T27" fmla="*/ 368 h 6181"/>
              <a:gd name="T28" fmla="*/ 773 w 6300"/>
              <a:gd name="T29" fmla="*/ 122 h 6181"/>
              <a:gd name="T30" fmla="*/ 1261 w 6300"/>
              <a:gd name="T31" fmla="*/ 611 h 6181"/>
              <a:gd name="T32" fmla="*/ 1249 w 6300"/>
              <a:gd name="T33" fmla="*/ 1250 h 6181"/>
              <a:gd name="T34" fmla="*/ 610 w 6300"/>
              <a:gd name="T35" fmla="*/ 1262 h 6181"/>
              <a:gd name="T36" fmla="*/ 122 w 6300"/>
              <a:gd name="T37" fmla="*/ 773 h 6181"/>
              <a:gd name="T38" fmla="*/ 368 w 6300"/>
              <a:gd name="T39" fmla="*/ 1838 h 6181"/>
              <a:gd name="T40" fmla="*/ 1338 w 6300"/>
              <a:gd name="T41" fmla="*/ 2112 h 6181"/>
              <a:gd name="T42" fmla="*/ 2376 w 6300"/>
              <a:gd name="T43" fmla="*/ 3150 h 6181"/>
              <a:gd name="T44" fmla="*/ 1096 w 6300"/>
              <a:gd name="T45" fmla="*/ 4430 h 6181"/>
              <a:gd name="T46" fmla="*/ 448 w 6300"/>
              <a:gd name="T47" fmla="*/ 4670 h 6181"/>
              <a:gd name="T48" fmla="*/ 448 w 6300"/>
              <a:gd name="T49" fmla="*/ 5854 h 6181"/>
              <a:gd name="T50" fmla="*/ 1631 w 6300"/>
              <a:gd name="T51" fmla="*/ 5854 h 6181"/>
              <a:gd name="T52" fmla="*/ 1871 w 6300"/>
              <a:gd name="T53" fmla="*/ 5204 h 6181"/>
              <a:gd name="T54" fmla="*/ 3150 w 6300"/>
              <a:gd name="T55" fmla="*/ 3925 h 6181"/>
              <a:gd name="T56" fmla="*/ 4430 w 6300"/>
              <a:gd name="T57" fmla="*/ 5205 h 6181"/>
              <a:gd name="T58" fmla="*/ 4670 w 6300"/>
              <a:gd name="T59" fmla="*/ 5854 h 6181"/>
              <a:gd name="T60" fmla="*/ 5853 w 6300"/>
              <a:gd name="T61" fmla="*/ 5854 h 6181"/>
              <a:gd name="T62" fmla="*/ 5853 w 6300"/>
              <a:gd name="T63" fmla="*/ 4670 h 6181"/>
              <a:gd name="T64" fmla="*/ 5204 w 6300"/>
              <a:gd name="T65" fmla="*/ 4432 h 6181"/>
              <a:gd name="T66" fmla="*/ 1153 w 6300"/>
              <a:gd name="T67" fmla="*/ 5687 h 6181"/>
              <a:gd name="T68" fmla="*/ 727 w 6300"/>
              <a:gd name="T69" fmla="*/ 5573 h 6181"/>
              <a:gd name="T70" fmla="*/ 614 w 6300"/>
              <a:gd name="T71" fmla="*/ 5148 h 6181"/>
              <a:gd name="T72" fmla="*/ 925 w 6300"/>
              <a:gd name="T73" fmla="*/ 4836 h 6181"/>
              <a:gd name="T74" fmla="*/ 1350 w 6300"/>
              <a:gd name="T75" fmla="*/ 4950 h 6181"/>
              <a:gd name="T76" fmla="*/ 1464 w 6300"/>
              <a:gd name="T77" fmla="*/ 5375 h 6181"/>
              <a:gd name="T78" fmla="*/ 1153 w 6300"/>
              <a:gd name="T79" fmla="*/ 5687 h 6181"/>
              <a:gd name="T80" fmla="*/ 5573 w 6300"/>
              <a:gd name="T81" fmla="*/ 5574 h 6181"/>
              <a:gd name="T82" fmla="*/ 5147 w 6300"/>
              <a:gd name="T83" fmla="*/ 5688 h 6181"/>
              <a:gd name="T84" fmla="*/ 4836 w 6300"/>
              <a:gd name="T85" fmla="*/ 5376 h 6181"/>
              <a:gd name="T86" fmla="*/ 4949 w 6300"/>
              <a:gd name="T87" fmla="*/ 4951 h 6181"/>
              <a:gd name="T88" fmla="*/ 5375 w 6300"/>
              <a:gd name="T89" fmla="*/ 4837 h 6181"/>
              <a:gd name="T90" fmla="*/ 5687 w 6300"/>
              <a:gd name="T91" fmla="*/ 5148 h 6181"/>
              <a:gd name="T92" fmla="*/ 5573 w 6300"/>
              <a:gd name="T93" fmla="*/ 5574 h 6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300" h="6181">
                <a:moveTo>
                  <a:pt x="5204" y="4432"/>
                </a:moveTo>
                <a:lnTo>
                  <a:pt x="3924" y="3151"/>
                </a:lnTo>
                <a:lnTo>
                  <a:pt x="4963" y="2112"/>
                </a:lnTo>
                <a:cubicBezTo>
                  <a:pt x="5300" y="2191"/>
                  <a:pt x="5669" y="2101"/>
                  <a:pt x="5932" y="1837"/>
                </a:cubicBezTo>
                <a:cubicBezTo>
                  <a:pt x="6221" y="1549"/>
                  <a:pt x="6300" y="1135"/>
                  <a:pt x="6179" y="773"/>
                </a:cubicBezTo>
                <a:lnTo>
                  <a:pt x="5690" y="1262"/>
                </a:lnTo>
                <a:cubicBezTo>
                  <a:pt x="5516" y="1435"/>
                  <a:pt x="5231" y="1430"/>
                  <a:pt x="5051" y="1250"/>
                </a:cubicBezTo>
                <a:cubicBezTo>
                  <a:pt x="4871" y="1070"/>
                  <a:pt x="4865" y="784"/>
                  <a:pt x="5038" y="611"/>
                </a:cubicBezTo>
                <a:lnTo>
                  <a:pt x="5527" y="122"/>
                </a:lnTo>
                <a:cubicBezTo>
                  <a:pt x="5166" y="0"/>
                  <a:pt x="4752" y="80"/>
                  <a:pt x="4463" y="368"/>
                </a:cubicBezTo>
                <a:cubicBezTo>
                  <a:pt x="4200" y="631"/>
                  <a:pt x="4111" y="1000"/>
                  <a:pt x="4189" y="1338"/>
                </a:cubicBezTo>
                <a:lnTo>
                  <a:pt x="3150" y="2376"/>
                </a:lnTo>
                <a:lnTo>
                  <a:pt x="2111" y="1338"/>
                </a:lnTo>
                <a:cubicBezTo>
                  <a:pt x="2190" y="1000"/>
                  <a:pt x="2099" y="632"/>
                  <a:pt x="1837" y="368"/>
                </a:cubicBezTo>
                <a:cubicBezTo>
                  <a:pt x="1549" y="80"/>
                  <a:pt x="1135" y="1"/>
                  <a:pt x="773" y="122"/>
                </a:cubicBezTo>
                <a:lnTo>
                  <a:pt x="1261" y="611"/>
                </a:lnTo>
                <a:cubicBezTo>
                  <a:pt x="1435" y="784"/>
                  <a:pt x="1430" y="1070"/>
                  <a:pt x="1249" y="1250"/>
                </a:cubicBezTo>
                <a:cubicBezTo>
                  <a:pt x="1069" y="1430"/>
                  <a:pt x="784" y="1435"/>
                  <a:pt x="610" y="1262"/>
                </a:cubicBezTo>
                <a:lnTo>
                  <a:pt x="122" y="773"/>
                </a:lnTo>
                <a:cubicBezTo>
                  <a:pt x="0" y="1135"/>
                  <a:pt x="80" y="1549"/>
                  <a:pt x="368" y="1838"/>
                </a:cubicBezTo>
                <a:cubicBezTo>
                  <a:pt x="631" y="2101"/>
                  <a:pt x="999" y="2190"/>
                  <a:pt x="1338" y="2112"/>
                </a:cubicBezTo>
                <a:lnTo>
                  <a:pt x="2376" y="3150"/>
                </a:lnTo>
                <a:lnTo>
                  <a:pt x="1096" y="4430"/>
                </a:lnTo>
                <a:cubicBezTo>
                  <a:pt x="863" y="4414"/>
                  <a:pt x="625" y="4492"/>
                  <a:pt x="448" y="4670"/>
                </a:cubicBezTo>
                <a:cubicBezTo>
                  <a:pt x="120" y="4997"/>
                  <a:pt x="120" y="5527"/>
                  <a:pt x="448" y="5854"/>
                </a:cubicBezTo>
                <a:cubicBezTo>
                  <a:pt x="774" y="6180"/>
                  <a:pt x="1304" y="6180"/>
                  <a:pt x="1631" y="5854"/>
                </a:cubicBezTo>
                <a:cubicBezTo>
                  <a:pt x="1809" y="5676"/>
                  <a:pt x="1886" y="5437"/>
                  <a:pt x="1871" y="5204"/>
                </a:cubicBezTo>
                <a:lnTo>
                  <a:pt x="3150" y="3925"/>
                </a:lnTo>
                <a:lnTo>
                  <a:pt x="4430" y="5205"/>
                </a:lnTo>
                <a:cubicBezTo>
                  <a:pt x="4414" y="5438"/>
                  <a:pt x="4492" y="5676"/>
                  <a:pt x="4670" y="5854"/>
                </a:cubicBezTo>
                <a:cubicBezTo>
                  <a:pt x="4996" y="6181"/>
                  <a:pt x="5527" y="6181"/>
                  <a:pt x="5853" y="5854"/>
                </a:cubicBezTo>
                <a:cubicBezTo>
                  <a:pt x="6180" y="5527"/>
                  <a:pt x="6180" y="4997"/>
                  <a:pt x="5853" y="4670"/>
                </a:cubicBezTo>
                <a:cubicBezTo>
                  <a:pt x="5675" y="4493"/>
                  <a:pt x="5437" y="4415"/>
                  <a:pt x="5204" y="4432"/>
                </a:cubicBezTo>
                <a:close/>
                <a:moveTo>
                  <a:pt x="1153" y="5687"/>
                </a:moveTo>
                <a:lnTo>
                  <a:pt x="727" y="5573"/>
                </a:lnTo>
                <a:lnTo>
                  <a:pt x="614" y="5148"/>
                </a:lnTo>
                <a:lnTo>
                  <a:pt x="925" y="4836"/>
                </a:lnTo>
                <a:lnTo>
                  <a:pt x="1350" y="4950"/>
                </a:lnTo>
                <a:lnTo>
                  <a:pt x="1464" y="5375"/>
                </a:lnTo>
                <a:lnTo>
                  <a:pt x="1153" y="5687"/>
                </a:lnTo>
                <a:close/>
                <a:moveTo>
                  <a:pt x="5573" y="5574"/>
                </a:moveTo>
                <a:lnTo>
                  <a:pt x="5147" y="5688"/>
                </a:lnTo>
                <a:lnTo>
                  <a:pt x="4836" y="5376"/>
                </a:lnTo>
                <a:lnTo>
                  <a:pt x="4949" y="4951"/>
                </a:lnTo>
                <a:lnTo>
                  <a:pt x="5375" y="4837"/>
                </a:lnTo>
                <a:lnTo>
                  <a:pt x="5687" y="5148"/>
                </a:lnTo>
                <a:lnTo>
                  <a:pt x="5573" y="557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385" name="îŝľïḓê">
            <a:extLst>
              <a:ext uri="{FF2B5EF4-FFF2-40B4-BE49-F238E27FC236}">
                <a16:creationId xmlns:a16="http://schemas.microsoft.com/office/drawing/2014/main" id="{2EA83A14-C69E-44B0-A48F-C20B2A81B6AF}"/>
              </a:ext>
            </a:extLst>
          </p:cNvPr>
          <p:cNvGrpSpPr/>
          <p:nvPr/>
        </p:nvGrpSpPr>
        <p:grpSpPr>
          <a:xfrm>
            <a:off x="8664691" y="3033123"/>
            <a:ext cx="2855797" cy="1210855"/>
            <a:chOff x="8211000" y="1130300"/>
            <a:chExt cx="2760913" cy="1210855"/>
          </a:xfrm>
        </p:grpSpPr>
        <p:sp>
          <p:nvSpPr>
            <p:cNvPr id="393" name="íŝļîḑè">
              <a:extLst>
                <a:ext uri="{FF2B5EF4-FFF2-40B4-BE49-F238E27FC236}">
                  <a16:creationId xmlns:a16="http://schemas.microsoft.com/office/drawing/2014/main" id="{AEF35A2F-8080-4314-9060-7771D58A6FEB}"/>
                </a:ext>
              </a:extLst>
            </p:cNvPr>
            <p:cNvSpPr txBox="1"/>
            <p:nvPr/>
          </p:nvSpPr>
          <p:spPr bwMode="auto">
            <a:xfrm>
              <a:off x="8211000" y="1130300"/>
              <a:ext cx="2760913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2000" b="1" dirty="0">
                  <a:solidFill>
                    <a:srgbClr val="000000"/>
                  </a:solidFill>
                </a:rPr>
                <a:t>W</a:t>
              </a:r>
              <a:r>
                <a:rPr kumimoji="0" lang="en-US" altLang="zh-CN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hite</a:t>
              </a: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list</a:t>
              </a:r>
            </a:p>
          </p:txBody>
        </p:sp>
        <p:sp>
          <p:nvSpPr>
            <p:cNvPr id="394" name="íšļiḋê">
              <a:extLst>
                <a:ext uri="{FF2B5EF4-FFF2-40B4-BE49-F238E27FC236}">
                  <a16:creationId xmlns:a16="http://schemas.microsoft.com/office/drawing/2014/main" id="{968189CB-96DB-4081-8B4D-A7ACA12B0200}"/>
                </a:ext>
              </a:extLst>
            </p:cNvPr>
            <p:cNvSpPr/>
            <p:nvPr/>
          </p:nvSpPr>
          <p:spPr bwMode="auto">
            <a:xfrm>
              <a:off x="8211000" y="1572107"/>
              <a:ext cx="2760913" cy="7690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altLang="zh-CN" sz="1400" b="0" i="0" u="none" strike="noStrike" baseline="0" dirty="0" err="1"/>
                <a:t>Incompelete</a:t>
              </a:r>
              <a:r>
                <a:rPr lang="en-US" altLang="zh-CN" sz="1400" b="0" i="0" u="none" strike="noStrike" baseline="0" dirty="0"/>
                <a:t> white list used in </a:t>
              </a:r>
              <a:r>
                <a:rPr lang="en-NZ" altLang="zh-CN" sz="1400" b="0" i="0" u="none" strike="noStrike" baseline="0" dirty="0"/>
                <a:t>filtering false positives</a:t>
              </a:r>
              <a:endParaRPr lang="en-US" altLang="zh-CN" sz="1400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386" name="直接连接符 16">
            <a:extLst>
              <a:ext uri="{FF2B5EF4-FFF2-40B4-BE49-F238E27FC236}">
                <a16:creationId xmlns:a16="http://schemas.microsoft.com/office/drawing/2014/main" id="{5C7315D1-4421-44DE-8795-51DCC9FEA863}"/>
              </a:ext>
            </a:extLst>
          </p:cNvPr>
          <p:cNvCxnSpPr>
            <a:cxnSpLocks/>
          </p:cNvCxnSpPr>
          <p:nvPr/>
        </p:nvCxnSpPr>
        <p:spPr>
          <a:xfrm>
            <a:off x="8664690" y="3474928"/>
            <a:ext cx="2846371" cy="0"/>
          </a:xfrm>
          <a:prstGeom prst="line">
            <a:avLst/>
          </a:prstGeom>
          <a:ln w="3175" cap="rnd">
            <a:solidFill>
              <a:schemeClr val="tx2">
                <a:lumMod val="9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7" name="îṣḻíďe">
            <a:extLst>
              <a:ext uri="{FF2B5EF4-FFF2-40B4-BE49-F238E27FC236}">
                <a16:creationId xmlns:a16="http://schemas.microsoft.com/office/drawing/2014/main" id="{D6CB8772-ED69-4DDE-A68F-6D1FFC0F0C28}"/>
              </a:ext>
            </a:extLst>
          </p:cNvPr>
          <p:cNvSpPr/>
          <p:nvPr/>
        </p:nvSpPr>
        <p:spPr bwMode="auto">
          <a:xfrm>
            <a:off x="8663764" y="3047604"/>
            <a:ext cx="358619" cy="358619"/>
          </a:xfrm>
          <a:custGeom>
            <a:avLst/>
            <a:gdLst>
              <a:gd name="T0" fmla="*/ 3200 w 12800"/>
              <a:gd name="T1" fmla="*/ 4800 h 12800"/>
              <a:gd name="T2" fmla="*/ 4800 w 12800"/>
              <a:gd name="T3" fmla="*/ 4800 h 12800"/>
              <a:gd name="T4" fmla="*/ 4800 w 12800"/>
              <a:gd name="T5" fmla="*/ 3200 h 12800"/>
              <a:gd name="T6" fmla="*/ 3200 w 12800"/>
              <a:gd name="T7" fmla="*/ 3200 h 12800"/>
              <a:gd name="T8" fmla="*/ 3200 w 12800"/>
              <a:gd name="T9" fmla="*/ 4800 h 12800"/>
              <a:gd name="T10" fmla="*/ 3200 w 12800"/>
              <a:gd name="T11" fmla="*/ 7200 h 12800"/>
              <a:gd name="T12" fmla="*/ 4800 w 12800"/>
              <a:gd name="T13" fmla="*/ 7200 h 12800"/>
              <a:gd name="T14" fmla="*/ 4800 w 12800"/>
              <a:gd name="T15" fmla="*/ 5600 h 12800"/>
              <a:gd name="T16" fmla="*/ 3200 w 12800"/>
              <a:gd name="T17" fmla="*/ 5600 h 12800"/>
              <a:gd name="T18" fmla="*/ 3200 w 12800"/>
              <a:gd name="T19" fmla="*/ 7200 h 12800"/>
              <a:gd name="T20" fmla="*/ 3200 w 12800"/>
              <a:gd name="T21" fmla="*/ 9600 h 12800"/>
              <a:gd name="T22" fmla="*/ 4800 w 12800"/>
              <a:gd name="T23" fmla="*/ 9600 h 12800"/>
              <a:gd name="T24" fmla="*/ 4800 w 12800"/>
              <a:gd name="T25" fmla="*/ 8000 h 12800"/>
              <a:gd name="T26" fmla="*/ 3200 w 12800"/>
              <a:gd name="T27" fmla="*/ 8000 h 12800"/>
              <a:gd name="T28" fmla="*/ 3200 w 12800"/>
              <a:gd name="T29" fmla="*/ 9600 h 12800"/>
              <a:gd name="T30" fmla="*/ 5600 w 12800"/>
              <a:gd name="T31" fmla="*/ 4800 h 12800"/>
              <a:gd name="T32" fmla="*/ 9600 w 12800"/>
              <a:gd name="T33" fmla="*/ 4800 h 12800"/>
              <a:gd name="T34" fmla="*/ 9600 w 12800"/>
              <a:gd name="T35" fmla="*/ 3200 h 12800"/>
              <a:gd name="T36" fmla="*/ 5600 w 12800"/>
              <a:gd name="T37" fmla="*/ 3200 h 12800"/>
              <a:gd name="T38" fmla="*/ 5600 w 12800"/>
              <a:gd name="T39" fmla="*/ 4800 h 12800"/>
              <a:gd name="T40" fmla="*/ 10400 w 12800"/>
              <a:gd name="T41" fmla="*/ 0 h 12800"/>
              <a:gd name="T42" fmla="*/ 2400 w 12800"/>
              <a:gd name="T43" fmla="*/ 0 h 12800"/>
              <a:gd name="T44" fmla="*/ 0 w 12800"/>
              <a:gd name="T45" fmla="*/ 2400 h 12800"/>
              <a:gd name="T46" fmla="*/ 0 w 12800"/>
              <a:gd name="T47" fmla="*/ 10400 h 12800"/>
              <a:gd name="T48" fmla="*/ 2400 w 12800"/>
              <a:gd name="T49" fmla="*/ 12800 h 12800"/>
              <a:gd name="T50" fmla="*/ 10400 w 12800"/>
              <a:gd name="T51" fmla="*/ 12800 h 12800"/>
              <a:gd name="T52" fmla="*/ 12800 w 12800"/>
              <a:gd name="T53" fmla="*/ 10400 h 12800"/>
              <a:gd name="T54" fmla="*/ 12800 w 12800"/>
              <a:gd name="T55" fmla="*/ 2400 h 12800"/>
              <a:gd name="T56" fmla="*/ 10400 w 12800"/>
              <a:gd name="T57" fmla="*/ 0 h 12800"/>
              <a:gd name="T58" fmla="*/ 11200 w 12800"/>
              <a:gd name="T59" fmla="*/ 10400 h 12800"/>
              <a:gd name="T60" fmla="*/ 10400 w 12800"/>
              <a:gd name="T61" fmla="*/ 11200 h 12800"/>
              <a:gd name="T62" fmla="*/ 2400 w 12800"/>
              <a:gd name="T63" fmla="*/ 11200 h 12800"/>
              <a:gd name="T64" fmla="*/ 1600 w 12800"/>
              <a:gd name="T65" fmla="*/ 10400 h 12800"/>
              <a:gd name="T66" fmla="*/ 1600 w 12800"/>
              <a:gd name="T67" fmla="*/ 2400 h 12800"/>
              <a:gd name="T68" fmla="*/ 2400 w 12800"/>
              <a:gd name="T69" fmla="*/ 1600 h 12800"/>
              <a:gd name="T70" fmla="*/ 10400 w 12800"/>
              <a:gd name="T71" fmla="*/ 1600 h 12800"/>
              <a:gd name="T72" fmla="*/ 11200 w 12800"/>
              <a:gd name="T73" fmla="*/ 2400 h 12800"/>
              <a:gd name="T74" fmla="*/ 11200 w 12800"/>
              <a:gd name="T75" fmla="*/ 10400 h 12800"/>
              <a:gd name="T76" fmla="*/ 5600 w 12800"/>
              <a:gd name="T77" fmla="*/ 7200 h 12800"/>
              <a:gd name="T78" fmla="*/ 9600 w 12800"/>
              <a:gd name="T79" fmla="*/ 7200 h 12800"/>
              <a:gd name="T80" fmla="*/ 9600 w 12800"/>
              <a:gd name="T81" fmla="*/ 5600 h 12800"/>
              <a:gd name="T82" fmla="*/ 5600 w 12800"/>
              <a:gd name="T83" fmla="*/ 5600 h 12800"/>
              <a:gd name="T84" fmla="*/ 5600 w 12800"/>
              <a:gd name="T85" fmla="*/ 7200 h 12800"/>
              <a:gd name="T86" fmla="*/ 5600 w 12800"/>
              <a:gd name="T87" fmla="*/ 9600 h 12800"/>
              <a:gd name="T88" fmla="*/ 9600 w 12800"/>
              <a:gd name="T89" fmla="*/ 9600 h 12800"/>
              <a:gd name="T90" fmla="*/ 9600 w 12800"/>
              <a:gd name="T91" fmla="*/ 8000 h 12800"/>
              <a:gd name="T92" fmla="*/ 5600 w 12800"/>
              <a:gd name="T93" fmla="*/ 8000 h 12800"/>
              <a:gd name="T94" fmla="*/ 5600 w 12800"/>
              <a:gd name="T95" fmla="*/ 9600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800" h="12800">
                <a:moveTo>
                  <a:pt x="3200" y="4800"/>
                </a:moveTo>
                <a:lnTo>
                  <a:pt x="4800" y="4800"/>
                </a:lnTo>
                <a:lnTo>
                  <a:pt x="4800" y="3200"/>
                </a:lnTo>
                <a:lnTo>
                  <a:pt x="3200" y="3200"/>
                </a:lnTo>
                <a:lnTo>
                  <a:pt x="3200" y="4800"/>
                </a:lnTo>
                <a:close/>
                <a:moveTo>
                  <a:pt x="3200" y="7200"/>
                </a:moveTo>
                <a:lnTo>
                  <a:pt x="4800" y="7200"/>
                </a:lnTo>
                <a:lnTo>
                  <a:pt x="4800" y="5600"/>
                </a:lnTo>
                <a:lnTo>
                  <a:pt x="3200" y="5600"/>
                </a:lnTo>
                <a:lnTo>
                  <a:pt x="3200" y="7200"/>
                </a:lnTo>
                <a:close/>
                <a:moveTo>
                  <a:pt x="3200" y="9600"/>
                </a:moveTo>
                <a:lnTo>
                  <a:pt x="4800" y="9600"/>
                </a:lnTo>
                <a:lnTo>
                  <a:pt x="4800" y="8000"/>
                </a:lnTo>
                <a:lnTo>
                  <a:pt x="3200" y="8000"/>
                </a:lnTo>
                <a:lnTo>
                  <a:pt x="3200" y="9600"/>
                </a:lnTo>
                <a:close/>
                <a:moveTo>
                  <a:pt x="5600" y="4800"/>
                </a:moveTo>
                <a:lnTo>
                  <a:pt x="9600" y="4800"/>
                </a:lnTo>
                <a:lnTo>
                  <a:pt x="9600" y="3200"/>
                </a:lnTo>
                <a:lnTo>
                  <a:pt x="5600" y="3200"/>
                </a:lnTo>
                <a:lnTo>
                  <a:pt x="5600" y="4800"/>
                </a:lnTo>
                <a:close/>
                <a:moveTo>
                  <a:pt x="10400" y="0"/>
                </a:moveTo>
                <a:lnTo>
                  <a:pt x="2400" y="0"/>
                </a:lnTo>
                <a:cubicBezTo>
                  <a:pt x="1075" y="0"/>
                  <a:pt x="0" y="1075"/>
                  <a:pt x="0" y="2400"/>
                </a:cubicBezTo>
                <a:lnTo>
                  <a:pt x="0" y="10400"/>
                </a:lnTo>
                <a:cubicBezTo>
                  <a:pt x="0" y="11725"/>
                  <a:pt x="1074" y="12800"/>
                  <a:pt x="2400" y="12800"/>
                </a:cubicBezTo>
                <a:lnTo>
                  <a:pt x="10400" y="12800"/>
                </a:lnTo>
                <a:cubicBezTo>
                  <a:pt x="11726" y="12800"/>
                  <a:pt x="12800" y="11725"/>
                  <a:pt x="12800" y="10400"/>
                </a:cubicBezTo>
                <a:lnTo>
                  <a:pt x="12800" y="2400"/>
                </a:lnTo>
                <a:cubicBezTo>
                  <a:pt x="12800" y="1075"/>
                  <a:pt x="11725" y="0"/>
                  <a:pt x="10400" y="0"/>
                </a:cubicBezTo>
                <a:close/>
                <a:moveTo>
                  <a:pt x="11200" y="10400"/>
                </a:moveTo>
                <a:cubicBezTo>
                  <a:pt x="11200" y="10842"/>
                  <a:pt x="10842" y="11200"/>
                  <a:pt x="10400" y="11200"/>
                </a:cubicBezTo>
                <a:lnTo>
                  <a:pt x="2400" y="11200"/>
                </a:lnTo>
                <a:cubicBezTo>
                  <a:pt x="1958" y="11200"/>
                  <a:pt x="1600" y="10842"/>
                  <a:pt x="1600" y="10400"/>
                </a:cubicBezTo>
                <a:lnTo>
                  <a:pt x="1600" y="2400"/>
                </a:lnTo>
                <a:cubicBezTo>
                  <a:pt x="1600" y="1958"/>
                  <a:pt x="1958" y="1600"/>
                  <a:pt x="2400" y="1600"/>
                </a:cubicBezTo>
                <a:lnTo>
                  <a:pt x="10400" y="1600"/>
                </a:lnTo>
                <a:cubicBezTo>
                  <a:pt x="10842" y="1600"/>
                  <a:pt x="11200" y="1958"/>
                  <a:pt x="11200" y="2400"/>
                </a:cubicBezTo>
                <a:lnTo>
                  <a:pt x="11200" y="10400"/>
                </a:lnTo>
                <a:close/>
                <a:moveTo>
                  <a:pt x="5600" y="7200"/>
                </a:moveTo>
                <a:lnTo>
                  <a:pt x="9600" y="7200"/>
                </a:lnTo>
                <a:lnTo>
                  <a:pt x="9600" y="5600"/>
                </a:lnTo>
                <a:lnTo>
                  <a:pt x="5600" y="5600"/>
                </a:lnTo>
                <a:lnTo>
                  <a:pt x="5600" y="7200"/>
                </a:lnTo>
                <a:close/>
                <a:moveTo>
                  <a:pt x="5600" y="9600"/>
                </a:moveTo>
                <a:lnTo>
                  <a:pt x="9600" y="9600"/>
                </a:lnTo>
                <a:lnTo>
                  <a:pt x="9600" y="8000"/>
                </a:lnTo>
                <a:lnTo>
                  <a:pt x="5600" y="8000"/>
                </a:lnTo>
                <a:lnTo>
                  <a:pt x="5600" y="9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388" name="ïṣļîdé">
            <a:extLst>
              <a:ext uri="{FF2B5EF4-FFF2-40B4-BE49-F238E27FC236}">
                <a16:creationId xmlns:a16="http://schemas.microsoft.com/office/drawing/2014/main" id="{B889E879-2E2F-40D3-9824-51134B06B978}"/>
              </a:ext>
            </a:extLst>
          </p:cNvPr>
          <p:cNvGrpSpPr/>
          <p:nvPr/>
        </p:nvGrpSpPr>
        <p:grpSpPr>
          <a:xfrm>
            <a:off x="8664691" y="4660223"/>
            <a:ext cx="2855797" cy="1210855"/>
            <a:chOff x="8211000" y="1130300"/>
            <a:chExt cx="2760913" cy="1210855"/>
          </a:xfrm>
        </p:grpSpPr>
        <p:sp>
          <p:nvSpPr>
            <p:cNvPr id="391" name="ï$1íḓé">
              <a:extLst>
                <a:ext uri="{FF2B5EF4-FFF2-40B4-BE49-F238E27FC236}">
                  <a16:creationId xmlns:a16="http://schemas.microsoft.com/office/drawing/2014/main" id="{CE22E042-34F8-44F3-8D95-71723F2880E6}"/>
                </a:ext>
              </a:extLst>
            </p:cNvPr>
            <p:cNvSpPr txBox="1"/>
            <p:nvPr/>
          </p:nvSpPr>
          <p:spPr bwMode="auto">
            <a:xfrm>
              <a:off x="8211000" y="1130300"/>
              <a:ext cx="2760913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Mainly on popular apps</a:t>
              </a:r>
            </a:p>
          </p:txBody>
        </p:sp>
        <p:sp>
          <p:nvSpPr>
            <p:cNvPr id="392" name="îṥḷîdè">
              <a:extLst>
                <a:ext uri="{FF2B5EF4-FFF2-40B4-BE49-F238E27FC236}">
                  <a16:creationId xmlns:a16="http://schemas.microsoft.com/office/drawing/2014/main" id="{C4E53DBD-7619-441E-AC03-EBE20B79B4ED}"/>
                </a:ext>
              </a:extLst>
            </p:cNvPr>
            <p:cNvSpPr/>
            <p:nvPr/>
          </p:nvSpPr>
          <p:spPr bwMode="auto">
            <a:xfrm>
              <a:off x="8211000" y="1572107"/>
              <a:ext cx="2760913" cy="7690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r">
                <a:lnSpc>
                  <a:spcPct val="150000"/>
                </a:lnSpc>
                <a:defRPr/>
              </a:pPr>
              <a:r>
                <a:rPr lang="en-US" altLang="zh-CN" sz="1400" dirty="0">
                  <a:solidFill>
                    <a:srgbClr val="000000"/>
                  </a:solidFill>
                </a:rPr>
                <a:t>Attackers primarily target</a:t>
              </a:r>
            </a:p>
            <a:p>
              <a:pPr lvl="0" algn="r">
                <a:lnSpc>
                  <a:spcPct val="150000"/>
                </a:lnSpc>
                <a:defRPr/>
              </a:pPr>
              <a:r>
                <a:rPr lang="en-US" altLang="zh-CN" sz="1400" dirty="0">
                  <a:solidFill>
                    <a:srgbClr val="000000"/>
                  </a:solidFill>
                </a:rPr>
                <a:t>these well known apps</a:t>
              </a:r>
            </a:p>
          </p:txBody>
        </p:sp>
      </p:grpSp>
      <p:cxnSp>
        <p:nvCxnSpPr>
          <p:cNvPr id="389" name="直接连接符 19">
            <a:extLst>
              <a:ext uri="{FF2B5EF4-FFF2-40B4-BE49-F238E27FC236}">
                <a16:creationId xmlns:a16="http://schemas.microsoft.com/office/drawing/2014/main" id="{6A442DC1-D323-405F-AA0A-FA57D6430ED2}"/>
              </a:ext>
            </a:extLst>
          </p:cNvPr>
          <p:cNvCxnSpPr>
            <a:cxnSpLocks/>
          </p:cNvCxnSpPr>
          <p:nvPr/>
        </p:nvCxnSpPr>
        <p:spPr>
          <a:xfrm>
            <a:off x="8664690" y="5102028"/>
            <a:ext cx="2846371" cy="0"/>
          </a:xfrm>
          <a:prstGeom prst="line">
            <a:avLst/>
          </a:prstGeom>
          <a:ln w="3175" cap="rnd">
            <a:solidFill>
              <a:schemeClr val="tx2">
                <a:lumMod val="9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0" name="îṡľiďê">
            <a:extLst>
              <a:ext uri="{FF2B5EF4-FFF2-40B4-BE49-F238E27FC236}">
                <a16:creationId xmlns:a16="http://schemas.microsoft.com/office/drawing/2014/main" id="{5BA3185E-204F-4064-A67C-365E9FCBE25A}"/>
              </a:ext>
            </a:extLst>
          </p:cNvPr>
          <p:cNvSpPr/>
          <p:nvPr/>
        </p:nvSpPr>
        <p:spPr bwMode="auto">
          <a:xfrm>
            <a:off x="8663764" y="4675717"/>
            <a:ext cx="358619" cy="356593"/>
          </a:xfrm>
          <a:custGeom>
            <a:avLst/>
            <a:gdLst>
              <a:gd name="T0" fmla="*/ 10734 w 11801"/>
              <a:gd name="T1" fmla="*/ 1688 h 11734"/>
              <a:gd name="T2" fmla="*/ 7597 w 11801"/>
              <a:gd name="T3" fmla="*/ 4153 h 11734"/>
              <a:gd name="T4" fmla="*/ 6961 w 11801"/>
              <a:gd name="T5" fmla="*/ 4170 h 11734"/>
              <a:gd name="T6" fmla="*/ 4622 w 11801"/>
              <a:gd name="T7" fmla="*/ 2533 h 11734"/>
              <a:gd name="T8" fmla="*/ 934 w 11801"/>
              <a:gd name="T9" fmla="*/ 5483 h 11734"/>
              <a:gd name="T10" fmla="*/ 184 w 11801"/>
              <a:gd name="T11" fmla="*/ 5400 h 11734"/>
              <a:gd name="T12" fmla="*/ 267 w 11801"/>
              <a:gd name="T13" fmla="*/ 4650 h 11734"/>
              <a:gd name="T14" fmla="*/ 4267 w 11801"/>
              <a:gd name="T15" fmla="*/ 1450 h 11734"/>
              <a:gd name="T16" fmla="*/ 4907 w 11801"/>
              <a:gd name="T17" fmla="*/ 1430 h 11734"/>
              <a:gd name="T18" fmla="*/ 7249 w 11801"/>
              <a:gd name="T19" fmla="*/ 3070 h 11734"/>
              <a:gd name="T20" fmla="*/ 9798 w 11801"/>
              <a:gd name="T21" fmla="*/ 1067 h 11734"/>
              <a:gd name="T22" fmla="*/ 8601 w 11801"/>
              <a:gd name="T23" fmla="*/ 1067 h 11734"/>
              <a:gd name="T24" fmla="*/ 8067 w 11801"/>
              <a:gd name="T25" fmla="*/ 534 h 11734"/>
              <a:gd name="T26" fmla="*/ 8601 w 11801"/>
              <a:gd name="T27" fmla="*/ 0 h 11734"/>
              <a:gd name="T28" fmla="*/ 11267 w 11801"/>
              <a:gd name="T29" fmla="*/ 0 h 11734"/>
              <a:gd name="T30" fmla="*/ 11801 w 11801"/>
              <a:gd name="T31" fmla="*/ 534 h 11734"/>
              <a:gd name="T32" fmla="*/ 11801 w 11801"/>
              <a:gd name="T33" fmla="*/ 3200 h 11734"/>
              <a:gd name="T34" fmla="*/ 11267 w 11801"/>
              <a:gd name="T35" fmla="*/ 3734 h 11734"/>
              <a:gd name="T36" fmla="*/ 10734 w 11801"/>
              <a:gd name="T37" fmla="*/ 3200 h 11734"/>
              <a:gd name="T38" fmla="*/ 10734 w 11801"/>
              <a:gd name="T39" fmla="*/ 1688 h 11734"/>
              <a:gd name="T40" fmla="*/ 1401 w 11801"/>
              <a:gd name="T41" fmla="*/ 6400 h 11734"/>
              <a:gd name="T42" fmla="*/ 1934 w 11801"/>
              <a:gd name="T43" fmla="*/ 5867 h 11734"/>
              <a:gd name="T44" fmla="*/ 2467 w 11801"/>
              <a:gd name="T45" fmla="*/ 6400 h 11734"/>
              <a:gd name="T46" fmla="*/ 2467 w 11801"/>
              <a:gd name="T47" fmla="*/ 11200 h 11734"/>
              <a:gd name="T48" fmla="*/ 1934 w 11801"/>
              <a:gd name="T49" fmla="*/ 11734 h 11734"/>
              <a:gd name="T50" fmla="*/ 1401 w 11801"/>
              <a:gd name="T51" fmla="*/ 11200 h 11734"/>
              <a:gd name="T52" fmla="*/ 1401 w 11801"/>
              <a:gd name="T53" fmla="*/ 6400 h 11734"/>
              <a:gd name="T54" fmla="*/ 4067 w 11801"/>
              <a:gd name="T55" fmla="*/ 4267 h 11734"/>
              <a:gd name="T56" fmla="*/ 4601 w 11801"/>
              <a:gd name="T57" fmla="*/ 3734 h 11734"/>
              <a:gd name="T58" fmla="*/ 5134 w 11801"/>
              <a:gd name="T59" fmla="*/ 4267 h 11734"/>
              <a:gd name="T60" fmla="*/ 5134 w 11801"/>
              <a:gd name="T61" fmla="*/ 11200 h 11734"/>
              <a:gd name="T62" fmla="*/ 4601 w 11801"/>
              <a:gd name="T63" fmla="*/ 11734 h 11734"/>
              <a:gd name="T64" fmla="*/ 4067 w 11801"/>
              <a:gd name="T65" fmla="*/ 11200 h 11734"/>
              <a:gd name="T66" fmla="*/ 4067 w 11801"/>
              <a:gd name="T67" fmla="*/ 4267 h 11734"/>
              <a:gd name="T68" fmla="*/ 6734 w 11801"/>
              <a:gd name="T69" fmla="*/ 5867 h 11734"/>
              <a:gd name="T70" fmla="*/ 7267 w 11801"/>
              <a:gd name="T71" fmla="*/ 5334 h 11734"/>
              <a:gd name="T72" fmla="*/ 7801 w 11801"/>
              <a:gd name="T73" fmla="*/ 5867 h 11734"/>
              <a:gd name="T74" fmla="*/ 7801 w 11801"/>
              <a:gd name="T75" fmla="*/ 11200 h 11734"/>
              <a:gd name="T76" fmla="*/ 7267 w 11801"/>
              <a:gd name="T77" fmla="*/ 11734 h 11734"/>
              <a:gd name="T78" fmla="*/ 6734 w 11801"/>
              <a:gd name="T79" fmla="*/ 11200 h 11734"/>
              <a:gd name="T80" fmla="*/ 6734 w 11801"/>
              <a:gd name="T81" fmla="*/ 5867 h 11734"/>
              <a:gd name="T82" fmla="*/ 9401 w 11801"/>
              <a:gd name="T83" fmla="*/ 4800 h 11734"/>
              <a:gd name="T84" fmla="*/ 9934 w 11801"/>
              <a:gd name="T85" fmla="*/ 4267 h 11734"/>
              <a:gd name="T86" fmla="*/ 10467 w 11801"/>
              <a:gd name="T87" fmla="*/ 4800 h 11734"/>
              <a:gd name="T88" fmla="*/ 10467 w 11801"/>
              <a:gd name="T89" fmla="*/ 11200 h 11734"/>
              <a:gd name="T90" fmla="*/ 9934 w 11801"/>
              <a:gd name="T91" fmla="*/ 11734 h 11734"/>
              <a:gd name="T92" fmla="*/ 9401 w 11801"/>
              <a:gd name="T93" fmla="*/ 11200 h 11734"/>
              <a:gd name="T94" fmla="*/ 9401 w 11801"/>
              <a:gd name="T95" fmla="*/ 4800 h 117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801" h="11734">
                <a:moveTo>
                  <a:pt x="10734" y="1688"/>
                </a:moveTo>
                <a:lnTo>
                  <a:pt x="7597" y="4153"/>
                </a:lnTo>
                <a:cubicBezTo>
                  <a:pt x="7412" y="4298"/>
                  <a:pt x="7154" y="4305"/>
                  <a:pt x="6961" y="4170"/>
                </a:cubicBezTo>
                <a:lnTo>
                  <a:pt x="4622" y="2533"/>
                </a:lnTo>
                <a:lnTo>
                  <a:pt x="934" y="5483"/>
                </a:lnTo>
                <a:cubicBezTo>
                  <a:pt x="704" y="5667"/>
                  <a:pt x="368" y="5630"/>
                  <a:pt x="184" y="5400"/>
                </a:cubicBezTo>
                <a:cubicBezTo>
                  <a:pt x="0" y="5170"/>
                  <a:pt x="37" y="4834"/>
                  <a:pt x="267" y="4650"/>
                </a:cubicBezTo>
                <a:lnTo>
                  <a:pt x="4267" y="1450"/>
                </a:lnTo>
                <a:cubicBezTo>
                  <a:pt x="4452" y="1302"/>
                  <a:pt x="4713" y="1294"/>
                  <a:pt x="4907" y="1430"/>
                </a:cubicBezTo>
                <a:lnTo>
                  <a:pt x="7249" y="3070"/>
                </a:lnTo>
                <a:lnTo>
                  <a:pt x="9798" y="1067"/>
                </a:lnTo>
                <a:lnTo>
                  <a:pt x="8601" y="1067"/>
                </a:lnTo>
                <a:cubicBezTo>
                  <a:pt x="8306" y="1067"/>
                  <a:pt x="8067" y="828"/>
                  <a:pt x="8067" y="534"/>
                </a:cubicBezTo>
                <a:cubicBezTo>
                  <a:pt x="8067" y="239"/>
                  <a:pt x="8306" y="0"/>
                  <a:pt x="8601" y="0"/>
                </a:cubicBezTo>
                <a:lnTo>
                  <a:pt x="11267" y="0"/>
                </a:lnTo>
                <a:cubicBezTo>
                  <a:pt x="11562" y="0"/>
                  <a:pt x="11801" y="239"/>
                  <a:pt x="11801" y="534"/>
                </a:cubicBezTo>
                <a:lnTo>
                  <a:pt x="11801" y="3200"/>
                </a:lnTo>
                <a:cubicBezTo>
                  <a:pt x="11801" y="3495"/>
                  <a:pt x="11562" y="3734"/>
                  <a:pt x="11267" y="3734"/>
                </a:cubicBezTo>
                <a:cubicBezTo>
                  <a:pt x="10973" y="3734"/>
                  <a:pt x="10734" y="3495"/>
                  <a:pt x="10734" y="3200"/>
                </a:cubicBezTo>
                <a:lnTo>
                  <a:pt x="10734" y="1688"/>
                </a:lnTo>
                <a:close/>
                <a:moveTo>
                  <a:pt x="1401" y="6400"/>
                </a:moveTo>
                <a:cubicBezTo>
                  <a:pt x="1401" y="6106"/>
                  <a:pt x="1639" y="5867"/>
                  <a:pt x="1934" y="5867"/>
                </a:cubicBezTo>
                <a:cubicBezTo>
                  <a:pt x="2229" y="5867"/>
                  <a:pt x="2467" y="6106"/>
                  <a:pt x="2467" y="6400"/>
                </a:cubicBezTo>
                <a:lnTo>
                  <a:pt x="2467" y="11200"/>
                </a:lnTo>
                <a:cubicBezTo>
                  <a:pt x="2467" y="11495"/>
                  <a:pt x="2229" y="11734"/>
                  <a:pt x="1934" y="11734"/>
                </a:cubicBezTo>
                <a:cubicBezTo>
                  <a:pt x="1639" y="11734"/>
                  <a:pt x="1401" y="11495"/>
                  <a:pt x="1401" y="11200"/>
                </a:cubicBezTo>
                <a:lnTo>
                  <a:pt x="1401" y="6400"/>
                </a:lnTo>
                <a:close/>
                <a:moveTo>
                  <a:pt x="4067" y="4267"/>
                </a:moveTo>
                <a:cubicBezTo>
                  <a:pt x="4067" y="3972"/>
                  <a:pt x="4306" y="3734"/>
                  <a:pt x="4601" y="3734"/>
                </a:cubicBezTo>
                <a:cubicBezTo>
                  <a:pt x="4895" y="3734"/>
                  <a:pt x="5134" y="3972"/>
                  <a:pt x="5134" y="4267"/>
                </a:cubicBezTo>
                <a:lnTo>
                  <a:pt x="5134" y="11200"/>
                </a:lnTo>
                <a:cubicBezTo>
                  <a:pt x="5134" y="11495"/>
                  <a:pt x="4895" y="11734"/>
                  <a:pt x="4601" y="11734"/>
                </a:cubicBezTo>
                <a:cubicBezTo>
                  <a:pt x="4306" y="11734"/>
                  <a:pt x="4067" y="11495"/>
                  <a:pt x="4067" y="11200"/>
                </a:cubicBezTo>
                <a:lnTo>
                  <a:pt x="4067" y="4267"/>
                </a:lnTo>
                <a:close/>
                <a:moveTo>
                  <a:pt x="6734" y="5867"/>
                </a:moveTo>
                <a:cubicBezTo>
                  <a:pt x="6734" y="5572"/>
                  <a:pt x="6973" y="5334"/>
                  <a:pt x="7267" y="5334"/>
                </a:cubicBezTo>
                <a:cubicBezTo>
                  <a:pt x="7562" y="5334"/>
                  <a:pt x="7801" y="5572"/>
                  <a:pt x="7801" y="5867"/>
                </a:cubicBezTo>
                <a:lnTo>
                  <a:pt x="7801" y="11200"/>
                </a:lnTo>
                <a:cubicBezTo>
                  <a:pt x="7801" y="11495"/>
                  <a:pt x="7562" y="11734"/>
                  <a:pt x="7267" y="11734"/>
                </a:cubicBezTo>
                <a:cubicBezTo>
                  <a:pt x="6973" y="11734"/>
                  <a:pt x="6734" y="11495"/>
                  <a:pt x="6734" y="11200"/>
                </a:cubicBezTo>
                <a:lnTo>
                  <a:pt x="6734" y="5867"/>
                </a:lnTo>
                <a:close/>
                <a:moveTo>
                  <a:pt x="9401" y="4800"/>
                </a:moveTo>
                <a:cubicBezTo>
                  <a:pt x="9401" y="4506"/>
                  <a:pt x="9639" y="4267"/>
                  <a:pt x="9934" y="4267"/>
                </a:cubicBezTo>
                <a:cubicBezTo>
                  <a:pt x="10229" y="4267"/>
                  <a:pt x="10467" y="4506"/>
                  <a:pt x="10467" y="4800"/>
                </a:cubicBezTo>
                <a:lnTo>
                  <a:pt x="10467" y="11200"/>
                </a:lnTo>
                <a:cubicBezTo>
                  <a:pt x="10467" y="11495"/>
                  <a:pt x="10229" y="11734"/>
                  <a:pt x="9934" y="11734"/>
                </a:cubicBezTo>
                <a:cubicBezTo>
                  <a:pt x="9639" y="11734"/>
                  <a:pt x="9401" y="11495"/>
                  <a:pt x="9401" y="11200"/>
                </a:cubicBezTo>
                <a:lnTo>
                  <a:pt x="9401" y="48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3032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6" dur="500" fill="hold"/>
                                        <p:tgtEl>
                                          <p:spTgt spid="413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3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i="0" dirty="0"/>
              <a:t>Q&amp;A</a:t>
            </a:r>
            <a:endParaRPr lang="zh-CN" altLang="en-US" i="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203547" y="3985058"/>
            <a:ext cx="1104224" cy="96008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E973ECBA-1429-4BFA-B85E-691E30031FBF}"/>
              </a:ext>
            </a:extLst>
          </p:cNvPr>
          <p:cNvCxnSpPr>
            <a:cxnSpLocks/>
          </p:cNvCxnSpPr>
          <p:nvPr/>
        </p:nvCxnSpPr>
        <p:spPr>
          <a:xfrm>
            <a:off x="2786743" y="4351269"/>
            <a:ext cx="46155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C224E4-31E2-4530-BF77-A24DD805C5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92378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7200" dirty="0"/>
              <a:t>Thanks</a:t>
            </a:r>
            <a:br>
              <a:rPr lang="en-US" altLang="zh-CN" dirty="0"/>
            </a:br>
            <a:endParaRPr lang="zh-CN" altLang="en-US" b="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COMPSCI 702 Seminar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Louis Wang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i="0" dirty="0"/>
              <a:t>Introduction</a:t>
            </a:r>
            <a:endParaRPr lang="zh-CN" altLang="en-US" i="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altLang="zh-CN" sz="1600" dirty="0"/>
              <a:t>What exactly is App Squatting? From Domain Squatting onwards.</a:t>
            </a:r>
            <a:endParaRPr lang="zh-CN" altLang="en-US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203547" y="3985058"/>
            <a:ext cx="1104224" cy="96008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E973ECBA-1429-4BFA-B85E-691E30031FBF}"/>
              </a:ext>
            </a:extLst>
          </p:cNvPr>
          <p:cNvCxnSpPr>
            <a:cxnSpLocks/>
          </p:cNvCxnSpPr>
          <p:nvPr/>
        </p:nvCxnSpPr>
        <p:spPr>
          <a:xfrm>
            <a:off x="2786743" y="4351269"/>
            <a:ext cx="46155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E9B6BA-067D-47EA-A601-A120AAFF2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omain Squatting</a:t>
            </a:r>
            <a:endParaRPr lang="zh-CN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382DAD-D5F0-4967-86DB-F81B88C44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1026" name="Picture 2" descr="Domain Squatting and Phishing | ImmuniWeb">
            <a:extLst>
              <a:ext uri="{FF2B5EF4-FFF2-40B4-BE49-F238E27FC236}">
                <a16:creationId xmlns:a16="http://schemas.microsoft.com/office/drawing/2014/main" id="{6C27CB70-2852-4DDC-832A-59A4BBD329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5209" y="1785092"/>
            <a:ext cx="8099991" cy="4236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59364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0B073-3B1C-4354-9D35-D0789D831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Fake apps already appear in the store</a:t>
            </a:r>
            <a:endParaRPr lang="zh-CN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653B3-6365-4064-A5BC-D3F6CDF8B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pic>
        <p:nvPicPr>
          <p:cNvPr id="2050" name="Picture 2" descr="whatsapp fake app on play store">
            <a:extLst>
              <a:ext uri="{FF2B5EF4-FFF2-40B4-BE49-F238E27FC236}">
                <a16:creationId xmlns:a16="http://schemas.microsoft.com/office/drawing/2014/main" id="{B1A1AF3A-1123-43A7-9F12-D8EADDA558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7605" y="1528762"/>
            <a:ext cx="7315200" cy="4410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41134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7E19B-D008-4315-924B-5661F2477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xample of squatting apps</a:t>
            </a:r>
            <a:endParaRPr lang="zh-CN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5A560D-A5F1-4552-9B8E-271EC0A9D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CB891BF-EC80-454B-AA3C-2C41A823B38A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24471" y="2395503"/>
            <a:ext cx="11543058" cy="292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9573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816FA81-3A93-4388-BCD6-2F27AED01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chievement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E5548C0-1E2E-4CC9-AD3E-F57F6BEC5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27765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5CFB24E-3C3D-4D23-8243-4246E9B4F7E0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86797"/>
            <a:ext cx="10845801" cy="4960003"/>
            <a:chOff x="673100" y="1186797"/>
            <a:chExt cx="10845801" cy="4960003"/>
          </a:xfrm>
        </p:grpSpPr>
        <p:grpSp>
          <p:nvGrpSpPr>
            <p:cNvPr id="6" name="îṩḷiďe">
              <a:extLst>
                <a:ext uri="{FF2B5EF4-FFF2-40B4-BE49-F238E27FC236}">
                  <a16:creationId xmlns:a16="http://schemas.microsoft.com/office/drawing/2014/main" id="{8A49AF53-4799-4750-814D-4338F8F42F3D}"/>
                </a:ext>
              </a:extLst>
            </p:cNvPr>
            <p:cNvGrpSpPr/>
            <p:nvPr/>
          </p:nvGrpSpPr>
          <p:grpSpPr>
            <a:xfrm>
              <a:off x="882650" y="1186797"/>
              <a:ext cx="3794708" cy="4688346"/>
              <a:chOff x="1724886" y="2630715"/>
              <a:chExt cx="2626015" cy="3244428"/>
            </a:xfrm>
          </p:grpSpPr>
          <p:sp>
            <p:nvSpPr>
              <p:cNvPr id="32" name="ïš1íḑê">
                <a:extLst>
                  <a:ext uri="{FF2B5EF4-FFF2-40B4-BE49-F238E27FC236}">
                    <a16:creationId xmlns:a16="http://schemas.microsoft.com/office/drawing/2014/main" id="{2F08401A-50C5-411B-BFD5-BEC571808970}"/>
                  </a:ext>
                </a:extLst>
              </p:cNvPr>
              <p:cNvSpPr/>
              <p:nvPr/>
            </p:nvSpPr>
            <p:spPr>
              <a:xfrm>
                <a:off x="2836117" y="5196001"/>
                <a:ext cx="362209" cy="67914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33" name="í$ḷiḓé">
                <a:extLst>
                  <a:ext uri="{FF2B5EF4-FFF2-40B4-BE49-F238E27FC236}">
                    <a16:creationId xmlns:a16="http://schemas.microsoft.com/office/drawing/2014/main" id="{A01DFCDD-3AAB-4E69-871D-678C46CADB7E}"/>
                  </a:ext>
                </a:extLst>
              </p:cNvPr>
              <p:cNvGrpSpPr/>
              <p:nvPr/>
            </p:nvGrpSpPr>
            <p:grpSpPr>
              <a:xfrm>
                <a:off x="1724886" y="2630715"/>
                <a:ext cx="2626015" cy="2583758"/>
                <a:chOff x="1724886" y="2748073"/>
                <a:chExt cx="2626015" cy="2583758"/>
              </a:xfrm>
            </p:grpSpPr>
            <p:sp>
              <p:nvSpPr>
                <p:cNvPr id="34" name="iSḷïḋê">
                  <a:extLst>
                    <a:ext uri="{FF2B5EF4-FFF2-40B4-BE49-F238E27FC236}">
                      <a16:creationId xmlns:a16="http://schemas.microsoft.com/office/drawing/2014/main" id="{FDCF93D0-243E-497C-B572-E5BC490691E9}"/>
                    </a:ext>
                  </a:extLst>
                </p:cNvPr>
                <p:cNvSpPr/>
                <p:nvPr/>
              </p:nvSpPr>
              <p:spPr bwMode="auto">
                <a:xfrm>
                  <a:off x="2926671" y="2748073"/>
                  <a:ext cx="1424230" cy="1407105"/>
                </a:xfrm>
                <a:custGeom>
                  <a:avLst/>
                  <a:gdLst/>
                  <a:ahLst/>
                  <a:cxnLst>
                    <a:cxn ang="0">
                      <a:pos x="230" y="155"/>
                    </a:cxn>
                    <a:cxn ang="0">
                      <a:pos x="196" y="151"/>
                    </a:cxn>
                    <a:cxn ang="0">
                      <a:pos x="32" y="315"/>
                    </a:cxn>
                    <a:cxn ang="0">
                      <a:pos x="7" y="315"/>
                    </a:cxn>
                    <a:cxn ang="0">
                      <a:pos x="7" y="291"/>
                    </a:cxn>
                    <a:cxn ang="0">
                      <a:pos x="171" y="126"/>
                    </a:cxn>
                    <a:cxn ang="0">
                      <a:pos x="168" y="93"/>
                    </a:cxn>
                    <a:cxn ang="0">
                      <a:pos x="260" y="0"/>
                    </a:cxn>
                    <a:cxn ang="0">
                      <a:pos x="273" y="50"/>
                    </a:cxn>
                    <a:cxn ang="0">
                      <a:pos x="322" y="62"/>
                    </a:cxn>
                    <a:cxn ang="0">
                      <a:pos x="230" y="155"/>
                    </a:cxn>
                  </a:cxnLst>
                  <a:rect l="0" t="0" r="r" b="b"/>
                  <a:pathLst>
                    <a:path w="322" h="322">
                      <a:moveTo>
                        <a:pt x="230" y="155"/>
                      </a:moveTo>
                      <a:cubicBezTo>
                        <a:pt x="196" y="151"/>
                        <a:pt x="196" y="151"/>
                        <a:pt x="196" y="151"/>
                      </a:cubicBezTo>
                      <a:cubicBezTo>
                        <a:pt x="32" y="315"/>
                        <a:pt x="32" y="315"/>
                        <a:pt x="32" y="315"/>
                      </a:cubicBezTo>
                      <a:cubicBezTo>
                        <a:pt x="25" y="322"/>
                        <a:pt x="14" y="322"/>
                        <a:pt x="7" y="315"/>
                      </a:cubicBezTo>
                      <a:cubicBezTo>
                        <a:pt x="0" y="309"/>
                        <a:pt x="0" y="298"/>
                        <a:pt x="7" y="291"/>
                      </a:cubicBezTo>
                      <a:cubicBezTo>
                        <a:pt x="171" y="126"/>
                        <a:pt x="171" y="126"/>
                        <a:pt x="171" y="126"/>
                      </a:cubicBezTo>
                      <a:cubicBezTo>
                        <a:pt x="168" y="93"/>
                        <a:pt x="168" y="93"/>
                        <a:pt x="168" y="93"/>
                      </a:cubicBezTo>
                      <a:cubicBezTo>
                        <a:pt x="260" y="0"/>
                        <a:pt x="260" y="0"/>
                        <a:pt x="260" y="0"/>
                      </a:cubicBezTo>
                      <a:cubicBezTo>
                        <a:pt x="273" y="50"/>
                        <a:pt x="273" y="50"/>
                        <a:pt x="273" y="50"/>
                      </a:cubicBezTo>
                      <a:cubicBezTo>
                        <a:pt x="322" y="62"/>
                        <a:pt x="322" y="62"/>
                        <a:pt x="322" y="62"/>
                      </a:cubicBezTo>
                      <a:lnTo>
                        <a:pt x="230" y="15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" name="iṡļiḓè">
                  <a:extLst>
                    <a:ext uri="{FF2B5EF4-FFF2-40B4-BE49-F238E27FC236}">
                      <a16:creationId xmlns:a16="http://schemas.microsoft.com/office/drawing/2014/main" id="{574F91FA-F381-49F4-966D-FF2BA46278FE}"/>
                    </a:ext>
                  </a:extLst>
                </p:cNvPr>
                <p:cNvSpPr/>
                <p:nvPr/>
              </p:nvSpPr>
              <p:spPr bwMode="auto">
                <a:xfrm>
                  <a:off x="2162637" y="3241902"/>
                  <a:ext cx="1677017" cy="1657066"/>
                </a:xfrm>
                <a:custGeom>
                  <a:avLst/>
                  <a:gdLst/>
                  <a:ahLst/>
                  <a:cxnLst>
                    <a:cxn ang="0">
                      <a:pos x="350" y="90"/>
                    </a:cxn>
                    <a:cxn ang="0">
                      <a:pos x="325" y="115"/>
                    </a:cxn>
                    <a:cxn ang="0">
                      <a:pos x="344" y="189"/>
                    </a:cxn>
                    <a:cxn ang="0">
                      <a:pos x="189" y="344"/>
                    </a:cxn>
                    <a:cxn ang="0">
                      <a:pos x="35" y="189"/>
                    </a:cxn>
                    <a:cxn ang="0">
                      <a:pos x="189" y="35"/>
                    </a:cxn>
                    <a:cxn ang="0">
                      <a:pos x="263" y="54"/>
                    </a:cxn>
                    <a:cxn ang="0">
                      <a:pos x="289" y="28"/>
                    </a:cxn>
                    <a:cxn ang="0">
                      <a:pos x="189" y="0"/>
                    </a:cxn>
                    <a:cxn ang="0">
                      <a:pos x="0" y="189"/>
                    </a:cxn>
                    <a:cxn ang="0">
                      <a:pos x="189" y="379"/>
                    </a:cxn>
                    <a:cxn ang="0">
                      <a:pos x="379" y="189"/>
                    </a:cxn>
                    <a:cxn ang="0">
                      <a:pos x="350" y="90"/>
                    </a:cxn>
                  </a:cxnLst>
                  <a:rect l="0" t="0" r="r" b="b"/>
                  <a:pathLst>
                    <a:path w="379" h="379">
                      <a:moveTo>
                        <a:pt x="350" y="90"/>
                      </a:moveTo>
                      <a:cubicBezTo>
                        <a:pt x="325" y="115"/>
                        <a:pt x="325" y="115"/>
                        <a:pt x="325" y="115"/>
                      </a:cubicBezTo>
                      <a:cubicBezTo>
                        <a:pt x="337" y="137"/>
                        <a:pt x="344" y="163"/>
                        <a:pt x="344" y="189"/>
                      </a:cubicBezTo>
                      <a:cubicBezTo>
                        <a:pt x="344" y="275"/>
                        <a:pt x="274" y="344"/>
                        <a:pt x="189" y="344"/>
                      </a:cubicBezTo>
                      <a:cubicBezTo>
                        <a:pt x="104" y="344"/>
                        <a:pt x="35" y="275"/>
                        <a:pt x="35" y="189"/>
                      </a:cubicBezTo>
                      <a:cubicBezTo>
                        <a:pt x="35" y="104"/>
                        <a:pt x="104" y="35"/>
                        <a:pt x="189" y="35"/>
                      </a:cubicBezTo>
                      <a:cubicBezTo>
                        <a:pt x="216" y="35"/>
                        <a:pt x="241" y="42"/>
                        <a:pt x="263" y="54"/>
                      </a:cubicBezTo>
                      <a:cubicBezTo>
                        <a:pt x="289" y="28"/>
                        <a:pt x="289" y="28"/>
                        <a:pt x="289" y="28"/>
                      </a:cubicBezTo>
                      <a:cubicBezTo>
                        <a:pt x="260" y="10"/>
                        <a:pt x="226" y="0"/>
                        <a:pt x="189" y="0"/>
                      </a:cubicBezTo>
                      <a:cubicBezTo>
                        <a:pt x="85" y="0"/>
                        <a:pt x="0" y="85"/>
                        <a:pt x="0" y="189"/>
                      </a:cubicBezTo>
                      <a:cubicBezTo>
                        <a:pt x="0" y="294"/>
                        <a:pt x="85" y="379"/>
                        <a:pt x="189" y="379"/>
                      </a:cubicBezTo>
                      <a:cubicBezTo>
                        <a:pt x="294" y="379"/>
                        <a:pt x="379" y="294"/>
                        <a:pt x="379" y="189"/>
                      </a:cubicBezTo>
                      <a:cubicBezTo>
                        <a:pt x="379" y="153"/>
                        <a:pt x="368" y="119"/>
                        <a:pt x="350" y="90"/>
                      </a:cubicBezTo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" name="ï$ļiďè">
                  <a:extLst>
                    <a:ext uri="{FF2B5EF4-FFF2-40B4-BE49-F238E27FC236}">
                      <a16:creationId xmlns:a16="http://schemas.microsoft.com/office/drawing/2014/main" id="{90C5C98B-CE46-48C1-900A-B5468DF6D63B}"/>
                    </a:ext>
                  </a:extLst>
                </p:cNvPr>
                <p:cNvSpPr/>
                <p:nvPr/>
              </p:nvSpPr>
              <p:spPr bwMode="auto">
                <a:xfrm>
                  <a:off x="2579425" y="3656474"/>
                  <a:ext cx="839741" cy="826704"/>
                </a:xfrm>
                <a:custGeom>
                  <a:avLst/>
                  <a:gdLst/>
                  <a:ahLst/>
                  <a:cxnLst>
                    <a:cxn ang="0">
                      <a:pos x="185" y="66"/>
                    </a:cxn>
                    <a:cxn ang="0">
                      <a:pos x="155" y="97"/>
                    </a:cxn>
                    <a:cxn ang="0">
                      <a:pos x="95" y="154"/>
                    </a:cxn>
                    <a:cxn ang="0">
                      <a:pos x="35" y="94"/>
                    </a:cxn>
                    <a:cxn ang="0">
                      <a:pos x="93" y="35"/>
                    </a:cxn>
                    <a:cxn ang="0">
                      <a:pos x="124" y="4"/>
                    </a:cxn>
                    <a:cxn ang="0">
                      <a:pos x="95" y="0"/>
                    </a:cxn>
                    <a:cxn ang="0">
                      <a:pos x="0" y="94"/>
                    </a:cxn>
                    <a:cxn ang="0">
                      <a:pos x="95" y="189"/>
                    </a:cxn>
                    <a:cxn ang="0">
                      <a:pos x="190" y="94"/>
                    </a:cxn>
                    <a:cxn ang="0">
                      <a:pos x="185" y="66"/>
                    </a:cxn>
                  </a:cxnLst>
                  <a:rect l="0" t="0" r="r" b="b"/>
                  <a:pathLst>
                    <a:path w="190" h="189">
                      <a:moveTo>
                        <a:pt x="185" y="66"/>
                      </a:moveTo>
                      <a:cubicBezTo>
                        <a:pt x="155" y="97"/>
                        <a:pt x="155" y="97"/>
                        <a:pt x="155" y="97"/>
                      </a:cubicBezTo>
                      <a:cubicBezTo>
                        <a:pt x="154" y="129"/>
                        <a:pt x="127" y="154"/>
                        <a:pt x="95" y="154"/>
                      </a:cubicBezTo>
                      <a:cubicBezTo>
                        <a:pt x="62" y="154"/>
                        <a:pt x="35" y="127"/>
                        <a:pt x="35" y="94"/>
                      </a:cubicBezTo>
                      <a:cubicBezTo>
                        <a:pt x="35" y="62"/>
                        <a:pt x="61" y="36"/>
                        <a:pt x="93" y="35"/>
                      </a:cubicBezTo>
                      <a:cubicBezTo>
                        <a:pt x="124" y="4"/>
                        <a:pt x="124" y="4"/>
                        <a:pt x="124" y="4"/>
                      </a:cubicBezTo>
                      <a:cubicBezTo>
                        <a:pt x="115" y="1"/>
                        <a:pt x="105" y="0"/>
                        <a:pt x="95" y="0"/>
                      </a:cubicBezTo>
                      <a:cubicBezTo>
                        <a:pt x="43" y="0"/>
                        <a:pt x="0" y="42"/>
                        <a:pt x="0" y="94"/>
                      </a:cubicBezTo>
                      <a:cubicBezTo>
                        <a:pt x="0" y="147"/>
                        <a:pt x="43" y="189"/>
                        <a:pt x="95" y="189"/>
                      </a:cubicBezTo>
                      <a:cubicBezTo>
                        <a:pt x="147" y="189"/>
                        <a:pt x="190" y="147"/>
                        <a:pt x="190" y="94"/>
                      </a:cubicBezTo>
                      <a:cubicBezTo>
                        <a:pt x="190" y="84"/>
                        <a:pt x="188" y="75"/>
                        <a:pt x="185" y="66"/>
                      </a:cubicBez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7" name="ïṡ1íďê">
                  <a:extLst>
                    <a:ext uri="{FF2B5EF4-FFF2-40B4-BE49-F238E27FC236}">
                      <a16:creationId xmlns:a16="http://schemas.microsoft.com/office/drawing/2014/main" id="{B7D9F31C-7502-4525-B240-8267A83BC4F9}"/>
                    </a:ext>
                  </a:extLst>
                </p:cNvPr>
                <p:cNvSpPr/>
                <p:nvPr/>
              </p:nvSpPr>
              <p:spPr bwMode="auto">
                <a:xfrm>
                  <a:off x="1724886" y="2809042"/>
                  <a:ext cx="2552518" cy="2522789"/>
                </a:xfrm>
                <a:custGeom>
                  <a:avLst/>
                  <a:gdLst/>
                  <a:ahLst/>
                  <a:cxnLst>
                    <a:cxn ang="0">
                      <a:pos x="535" y="140"/>
                    </a:cxn>
                    <a:cxn ang="0">
                      <a:pos x="510" y="165"/>
                    </a:cxn>
                    <a:cxn ang="0">
                      <a:pos x="542" y="288"/>
                    </a:cxn>
                    <a:cxn ang="0">
                      <a:pos x="288" y="542"/>
                    </a:cxn>
                    <a:cxn ang="0">
                      <a:pos x="35" y="288"/>
                    </a:cxn>
                    <a:cxn ang="0">
                      <a:pos x="288" y="35"/>
                    </a:cxn>
                    <a:cxn ang="0">
                      <a:pos x="411" y="67"/>
                    </a:cxn>
                    <a:cxn ang="0">
                      <a:pos x="436" y="41"/>
                    </a:cxn>
                    <a:cxn ang="0">
                      <a:pos x="288" y="0"/>
                    </a:cxn>
                    <a:cxn ang="0">
                      <a:pos x="0" y="288"/>
                    </a:cxn>
                    <a:cxn ang="0">
                      <a:pos x="288" y="577"/>
                    </a:cxn>
                    <a:cxn ang="0">
                      <a:pos x="577" y="288"/>
                    </a:cxn>
                    <a:cxn ang="0">
                      <a:pos x="535" y="140"/>
                    </a:cxn>
                  </a:cxnLst>
                  <a:rect l="0" t="0" r="r" b="b"/>
                  <a:pathLst>
                    <a:path w="577" h="577">
                      <a:moveTo>
                        <a:pt x="535" y="140"/>
                      </a:moveTo>
                      <a:cubicBezTo>
                        <a:pt x="510" y="165"/>
                        <a:pt x="510" y="165"/>
                        <a:pt x="510" y="165"/>
                      </a:cubicBezTo>
                      <a:cubicBezTo>
                        <a:pt x="530" y="202"/>
                        <a:pt x="542" y="244"/>
                        <a:pt x="542" y="288"/>
                      </a:cubicBezTo>
                      <a:cubicBezTo>
                        <a:pt x="542" y="428"/>
                        <a:pt x="428" y="542"/>
                        <a:pt x="288" y="542"/>
                      </a:cubicBezTo>
                      <a:cubicBezTo>
                        <a:pt x="148" y="542"/>
                        <a:pt x="35" y="428"/>
                        <a:pt x="35" y="288"/>
                      </a:cubicBezTo>
                      <a:cubicBezTo>
                        <a:pt x="35" y="149"/>
                        <a:pt x="148" y="35"/>
                        <a:pt x="288" y="35"/>
                      </a:cubicBezTo>
                      <a:cubicBezTo>
                        <a:pt x="333" y="35"/>
                        <a:pt x="375" y="46"/>
                        <a:pt x="411" y="67"/>
                      </a:cubicBezTo>
                      <a:cubicBezTo>
                        <a:pt x="436" y="41"/>
                        <a:pt x="436" y="41"/>
                        <a:pt x="436" y="41"/>
                      </a:cubicBezTo>
                      <a:cubicBezTo>
                        <a:pt x="393" y="15"/>
                        <a:pt x="342" y="0"/>
                        <a:pt x="288" y="0"/>
                      </a:cubicBezTo>
                      <a:cubicBezTo>
                        <a:pt x="129" y="0"/>
                        <a:pt x="0" y="129"/>
                        <a:pt x="0" y="288"/>
                      </a:cubicBezTo>
                      <a:cubicBezTo>
                        <a:pt x="0" y="447"/>
                        <a:pt x="129" y="577"/>
                        <a:pt x="288" y="577"/>
                      </a:cubicBezTo>
                      <a:cubicBezTo>
                        <a:pt x="447" y="577"/>
                        <a:pt x="577" y="447"/>
                        <a:pt x="577" y="288"/>
                      </a:cubicBezTo>
                      <a:cubicBezTo>
                        <a:pt x="577" y="234"/>
                        <a:pt x="562" y="183"/>
                        <a:pt x="535" y="140"/>
                      </a:cubicBezTo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  <p:sp>
          <p:nvSpPr>
            <p:cNvPr id="7" name="ïṣḻîdè">
              <a:extLst>
                <a:ext uri="{FF2B5EF4-FFF2-40B4-BE49-F238E27FC236}">
                  <a16:creationId xmlns:a16="http://schemas.microsoft.com/office/drawing/2014/main" id="{726A77C2-07A2-4D24-A1B0-F9E650E9605E}"/>
                </a:ext>
              </a:extLst>
            </p:cNvPr>
            <p:cNvSpPr/>
            <p:nvPr/>
          </p:nvSpPr>
          <p:spPr>
            <a:xfrm>
              <a:off x="673100" y="5875143"/>
              <a:ext cx="10845800" cy="2716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8" name="ïṡļïḓê">
              <a:extLst>
                <a:ext uri="{FF2B5EF4-FFF2-40B4-BE49-F238E27FC236}">
                  <a16:creationId xmlns:a16="http://schemas.microsoft.com/office/drawing/2014/main" id="{63CE66AB-7501-4E1C-B888-F01697A961E1}"/>
                </a:ext>
              </a:extLst>
            </p:cNvPr>
            <p:cNvGrpSpPr/>
            <p:nvPr/>
          </p:nvGrpSpPr>
          <p:grpSpPr>
            <a:xfrm>
              <a:off x="6030797" y="1343190"/>
              <a:ext cx="5392848" cy="557212"/>
              <a:chOff x="6030797" y="1343190"/>
              <a:chExt cx="5392848" cy="557212"/>
            </a:xfrm>
          </p:grpSpPr>
          <p:sp>
            <p:nvSpPr>
              <p:cNvPr id="29" name="íš1ïḍè">
                <a:extLst>
                  <a:ext uri="{FF2B5EF4-FFF2-40B4-BE49-F238E27FC236}">
                    <a16:creationId xmlns:a16="http://schemas.microsoft.com/office/drawing/2014/main" id="{73191E21-E1D8-4FC5-8673-01A69620EBA1}"/>
                  </a:ext>
                </a:extLst>
              </p:cNvPr>
              <p:cNvSpPr/>
              <p:nvPr/>
            </p:nvSpPr>
            <p:spPr>
              <a:xfrm>
                <a:off x="6030797" y="1460752"/>
                <a:ext cx="383194" cy="322090"/>
              </a:xfrm>
              <a:custGeom>
                <a:avLst/>
                <a:gdLst>
                  <a:gd name="connsiteX0" fmla="*/ 536415 w 607227"/>
                  <a:gd name="connsiteY0" fmla="*/ 12631 h 510399"/>
                  <a:gd name="connsiteX1" fmla="*/ 557192 w 607227"/>
                  <a:gd name="connsiteY1" fmla="*/ 21221 h 510399"/>
                  <a:gd name="connsiteX2" fmla="*/ 598584 w 607227"/>
                  <a:gd name="connsiteY2" fmla="*/ 62633 h 510399"/>
                  <a:gd name="connsiteX3" fmla="*/ 598584 w 607227"/>
                  <a:gd name="connsiteY3" fmla="*/ 104044 h 510399"/>
                  <a:gd name="connsiteX4" fmla="*/ 511175 w 607227"/>
                  <a:gd name="connsiteY4" fmla="*/ 191324 h 510399"/>
                  <a:gd name="connsiteX5" fmla="*/ 444948 w 607227"/>
                  <a:gd name="connsiteY5" fmla="*/ 257453 h 510399"/>
                  <a:gd name="connsiteX6" fmla="*/ 339441 w 607227"/>
                  <a:gd name="connsiteY6" fmla="*/ 362805 h 510399"/>
                  <a:gd name="connsiteX7" fmla="*/ 297968 w 607227"/>
                  <a:gd name="connsiteY7" fmla="*/ 404217 h 510399"/>
                  <a:gd name="connsiteX8" fmla="*/ 277191 w 607227"/>
                  <a:gd name="connsiteY8" fmla="*/ 412807 h 510399"/>
                  <a:gd name="connsiteX9" fmla="*/ 256495 w 607227"/>
                  <a:gd name="connsiteY9" fmla="*/ 404217 h 510399"/>
                  <a:gd name="connsiteX10" fmla="*/ 215023 w 607227"/>
                  <a:gd name="connsiteY10" fmla="*/ 362805 h 510399"/>
                  <a:gd name="connsiteX11" fmla="*/ 138814 w 607227"/>
                  <a:gd name="connsiteY11" fmla="*/ 286790 h 510399"/>
                  <a:gd name="connsiteX12" fmla="*/ 138814 w 607227"/>
                  <a:gd name="connsiteY12" fmla="*/ 245378 h 510399"/>
                  <a:gd name="connsiteX13" fmla="*/ 180286 w 607227"/>
                  <a:gd name="connsiteY13" fmla="*/ 203967 h 510399"/>
                  <a:gd name="connsiteX14" fmla="*/ 201063 w 607227"/>
                  <a:gd name="connsiteY14" fmla="*/ 195376 h 510399"/>
                  <a:gd name="connsiteX15" fmla="*/ 221759 w 607227"/>
                  <a:gd name="connsiteY15" fmla="*/ 203967 h 510399"/>
                  <a:gd name="connsiteX16" fmla="*/ 277191 w 607227"/>
                  <a:gd name="connsiteY16" fmla="*/ 259317 h 510399"/>
                  <a:gd name="connsiteX17" fmla="*/ 444948 w 607227"/>
                  <a:gd name="connsiteY17" fmla="*/ 91807 h 510399"/>
                  <a:gd name="connsiteX18" fmla="*/ 503951 w 607227"/>
                  <a:gd name="connsiteY18" fmla="*/ 32891 h 510399"/>
                  <a:gd name="connsiteX19" fmla="*/ 515719 w 607227"/>
                  <a:gd name="connsiteY19" fmla="*/ 21221 h 510399"/>
                  <a:gd name="connsiteX20" fmla="*/ 536415 w 607227"/>
                  <a:gd name="connsiteY20" fmla="*/ 12631 h 510399"/>
                  <a:gd name="connsiteX21" fmla="*/ 61847 w 607227"/>
                  <a:gd name="connsiteY21" fmla="*/ 0 h 510399"/>
                  <a:gd name="connsiteX22" fmla="*/ 449328 w 607227"/>
                  <a:gd name="connsiteY22" fmla="*/ 0 h 510399"/>
                  <a:gd name="connsiteX23" fmla="*/ 491858 w 607227"/>
                  <a:gd name="connsiteY23" fmla="*/ 17019 h 510399"/>
                  <a:gd name="connsiteX24" fmla="*/ 442591 w 607227"/>
                  <a:gd name="connsiteY24" fmla="*/ 66130 h 510399"/>
                  <a:gd name="connsiteX25" fmla="*/ 66230 w 607227"/>
                  <a:gd name="connsiteY25" fmla="*/ 66130 h 510399"/>
                  <a:gd name="connsiteX26" fmla="*/ 66230 w 607227"/>
                  <a:gd name="connsiteY26" fmla="*/ 444269 h 510399"/>
                  <a:gd name="connsiteX27" fmla="*/ 444945 w 607227"/>
                  <a:gd name="connsiteY27" fmla="*/ 444269 h 510399"/>
                  <a:gd name="connsiteX28" fmla="*/ 444945 w 607227"/>
                  <a:gd name="connsiteY28" fmla="*/ 285590 h 510399"/>
                  <a:gd name="connsiteX29" fmla="*/ 511175 w 607227"/>
                  <a:gd name="connsiteY29" fmla="*/ 219460 h 510399"/>
                  <a:gd name="connsiteX30" fmla="*/ 511175 w 607227"/>
                  <a:gd name="connsiteY30" fmla="*/ 448645 h 510399"/>
                  <a:gd name="connsiteX31" fmla="*/ 449328 w 607227"/>
                  <a:gd name="connsiteY31" fmla="*/ 510399 h 510399"/>
                  <a:gd name="connsiteX32" fmla="*/ 61847 w 607227"/>
                  <a:gd name="connsiteY32" fmla="*/ 510399 h 510399"/>
                  <a:gd name="connsiteX33" fmla="*/ 0 w 607227"/>
                  <a:gd name="connsiteY33" fmla="*/ 448645 h 510399"/>
                  <a:gd name="connsiteX34" fmla="*/ 0 w 607227"/>
                  <a:gd name="connsiteY34" fmla="*/ 61673 h 510399"/>
                  <a:gd name="connsiteX35" fmla="*/ 61847 w 607227"/>
                  <a:gd name="connsiteY35" fmla="*/ 0 h 51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607227" h="510399">
                    <a:moveTo>
                      <a:pt x="536415" y="12631"/>
                    </a:moveTo>
                    <a:cubicBezTo>
                      <a:pt x="543882" y="12631"/>
                      <a:pt x="551430" y="15467"/>
                      <a:pt x="557192" y="21221"/>
                    </a:cubicBezTo>
                    <a:lnTo>
                      <a:pt x="598584" y="62633"/>
                    </a:lnTo>
                    <a:cubicBezTo>
                      <a:pt x="610108" y="74059"/>
                      <a:pt x="610108" y="92618"/>
                      <a:pt x="598584" y="104044"/>
                    </a:cubicBezTo>
                    <a:lnTo>
                      <a:pt x="511175" y="191324"/>
                    </a:lnTo>
                    <a:lnTo>
                      <a:pt x="444948" y="257453"/>
                    </a:lnTo>
                    <a:lnTo>
                      <a:pt x="339441" y="362805"/>
                    </a:lnTo>
                    <a:lnTo>
                      <a:pt x="297968" y="404217"/>
                    </a:lnTo>
                    <a:cubicBezTo>
                      <a:pt x="292206" y="409971"/>
                      <a:pt x="284739" y="412807"/>
                      <a:pt x="277191" y="412807"/>
                    </a:cubicBezTo>
                    <a:cubicBezTo>
                      <a:pt x="269724" y="412807"/>
                      <a:pt x="262177" y="409971"/>
                      <a:pt x="256495" y="404217"/>
                    </a:cubicBezTo>
                    <a:lnTo>
                      <a:pt x="215023" y="362805"/>
                    </a:lnTo>
                    <a:lnTo>
                      <a:pt x="138814" y="286790"/>
                    </a:lnTo>
                    <a:cubicBezTo>
                      <a:pt x="127370" y="275363"/>
                      <a:pt x="127370" y="256805"/>
                      <a:pt x="138814" y="245378"/>
                    </a:cubicBezTo>
                    <a:lnTo>
                      <a:pt x="180286" y="203967"/>
                    </a:lnTo>
                    <a:cubicBezTo>
                      <a:pt x="186049" y="198213"/>
                      <a:pt x="193515" y="195376"/>
                      <a:pt x="201063" y="195376"/>
                    </a:cubicBezTo>
                    <a:cubicBezTo>
                      <a:pt x="208530" y="195376"/>
                      <a:pt x="215997" y="198213"/>
                      <a:pt x="221759" y="203967"/>
                    </a:cubicBezTo>
                    <a:lnTo>
                      <a:pt x="277191" y="259317"/>
                    </a:lnTo>
                    <a:lnTo>
                      <a:pt x="444948" y="91807"/>
                    </a:lnTo>
                    <a:lnTo>
                      <a:pt x="503951" y="32891"/>
                    </a:lnTo>
                    <a:lnTo>
                      <a:pt x="515719" y="21221"/>
                    </a:lnTo>
                    <a:cubicBezTo>
                      <a:pt x="521401" y="15467"/>
                      <a:pt x="528949" y="12631"/>
                      <a:pt x="536415" y="12631"/>
                    </a:cubicBezTo>
                    <a:close/>
                    <a:moveTo>
                      <a:pt x="61847" y="0"/>
                    </a:moveTo>
                    <a:lnTo>
                      <a:pt x="449328" y="0"/>
                    </a:lnTo>
                    <a:cubicBezTo>
                      <a:pt x="465804" y="0"/>
                      <a:pt x="480738" y="6483"/>
                      <a:pt x="491858" y="17019"/>
                    </a:cubicBezTo>
                    <a:lnTo>
                      <a:pt x="442591" y="66130"/>
                    </a:lnTo>
                    <a:lnTo>
                      <a:pt x="66230" y="66130"/>
                    </a:lnTo>
                    <a:lnTo>
                      <a:pt x="66230" y="444269"/>
                    </a:lnTo>
                    <a:lnTo>
                      <a:pt x="444945" y="444269"/>
                    </a:lnTo>
                    <a:lnTo>
                      <a:pt x="444945" y="285590"/>
                    </a:lnTo>
                    <a:lnTo>
                      <a:pt x="511175" y="219460"/>
                    </a:lnTo>
                    <a:lnTo>
                      <a:pt x="511175" y="448645"/>
                    </a:lnTo>
                    <a:cubicBezTo>
                      <a:pt x="511175" y="482683"/>
                      <a:pt x="483417" y="510399"/>
                      <a:pt x="449328" y="510399"/>
                    </a:cubicBezTo>
                    <a:lnTo>
                      <a:pt x="61847" y="510399"/>
                    </a:lnTo>
                    <a:cubicBezTo>
                      <a:pt x="27758" y="510399"/>
                      <a:pt x="0" y="482683"/>
                      <a:pt x="0" y="448645"/>
                    </a:cubicBezTo>
                    <a:lnTo>
                      <a:pt x="0" y="61673"/>
                    </a:lnTo>
                    <a:cubicBezTo>
                      <a:pt x="0" y="27635"/>
                      <a:pt x="27758" y="0"/>
                      <a:pt x="6184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0" name="ïsḻîḍê">
                <a:extLst>
                  <a:ext uri="{FF2B5EF4-FFF2-40B4-BE49-F238E27FC236}">
                    <a16:creationId xmlns:a16="http://schemas.microsoft.com/office/drawing/2014/main" id="{BD7C3AA6-EC85-44CE-AA92-EFD8B554DA01}"/>
                  </a:ext>
                </a:extLst>
              </p:cNvPr>
              <p:cNvSpPr/>
              <p:nvPr/>
            </p:nvSpPr>
            <p:spPr bwMode="auto">
              <a:xfrm>
                <a:off x="6856408" y="1343190"/>
                <a:ext cx="4567237" cy="557212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 anchorCtr="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dirty="0">
                    <a:latin typeface="Calibri" panose="020F0502020204030204" pitchFamily="34" charset="0"/>
                    <a:cs typeface="Calibri" panose="020F0502020204030204" pitchFamily="34" charset="0"/>
                  </a:rPr>
                  <a:t>The first comprehensive study of App Squatting attacks </a:t>
                </a:r>
                <a:endParaRPr lang="en-US" altLang="zh-CN" sz="2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9" name="ïSļiḑé">
              <a:extLst>
                <a:ext uri="{FF2B5EF4-FFF2-40B4-BE49-F238E27FC236}">
                  <a16:creationId xmlns:a16="http://schemas.microsoft.com/office/drawing/2014/main" id="{7C8B3A08-7816-40DF-95B4-4D4785399212}"/>
                </a:ext>
              </a:extLst>
            </p:cNvPr>
            <p:cNvGrpSpPr/>
            <p:nvPr/>
          </p:nvGrpSpPr>
          <p:grpSpPr>
            <a:xfrm>
              <a:off x="6030797" y="2204936"/>
              <a:ext cx="5392848" cy="557212"/>
              <a:chOff x="6030797" y="1343190"/>
              <a:chExt cx="5392848" cy="557212"/>
            </a:xfrm>
          </p:grpSpPr>
          <p:sp>
            <p:nvSpPr>
              <p:cNvPr id="26" name="íŝ1îḑe">
                <a:extLst>
                  <a:ext uri="{FF2B5EF4-FFF2-40B4-BE49-F238E27FC236}">
                    <a16:creationId xmlns:a16="http://schemas.microsoft.com/office/drawing/2014/main" id="{D6BE85C9-F188-41E1-AC79-1E9AB836718E}"/>
                  </a:ext>
                </a:extLst>
              </p:cNvPr>
              <p:cNvSpPr/>
              <p:nvPr/>
            </p:nvSpPr>
            <p:spPr>
              <a:xfrm>
                <a:off x="6030797" y="1460752"/>
                <a:ext cx="383194" cy="322090"/>
              </a:xfrm>
              <a:custGeom>
                <a:avLst/>
                <a:gdLst>
                  <a:gd name="connsiteX0" fmla="*/ 536415 w 607227"/>
                  <a:gd name="connsiteY0" fmla="*/ 12631 h 510399"/>
                  <a:gd name="connsiteX1" fmla="*/ 557192 w 607227"/>
                  <a:gd name="connsiteY1" fmla="*/ 21221 h 510399"/>
                  <a:gd name="connsiteX2" fmla="*/ 598584 w 607227"/>
                  <a:gd name="connsiteY2" fmla="*/ 62633 h 510399"/>
                  <a:gd name="connsiteX3" fmla="*/ 598584 w 607227"/>
                  <a:gd name="connsiteY3" fmla="*/ 104044 h 510399"/>
                  <a:gd name="connsiteX4" fmla="*/ 511175 w 607227"/>
                  <a:gd name="connsiteY4" fmla="*/ 191324 h 510399"/>
                  <a:gd name="connsiteX5" fmla="*/ 444948 w 607227"/>
                  <a:gd name="connsiteY5" fmla="*/ 257453 h 510399"/>
                  <a:gd name="connsiteX6" fmla="*/ 339441 w 607227"/>
                  <a:gd name="connsiteY6" fmla="*/ 362805 h 510399"/>
                  <a:gd name="connsiteX7" fmla="*/ 297968 w 607227"/>
                  <a:gd name="connsiteY7" fmla="*/ 404217 h 510399"/>
                  <a:gd name="connsiteX8" fmla="*/ 277191 w 607227"/>
                  <a:gd name="connsiteY8" fmla="*/ 412807 h 510399"/>
                  <a:gd name="connsiteX9" fmla="*/ 256495 w 607227"/>
                  <a:gd name="connsiteY9" fmla="*/ 404217 h 510399"/>
                  <a:gd name="connsiteX10" fmla="*/ 215023 w 607227"/>
                  <a:gd name="connsiteY10" fmla="*/ 362805 h 510399"/>
                  <a:gd name="connsiteX11" fmla="*/ 138814 w 607227"/>
                  <a:gd name="connsiteY11" fmla="*/ 286790 h 510399"/>
                  <a:gd name="connsiteX12" fmla="*/ 138814 w 607227"/>
                  <a:gd name="connsiteY12" fmla="*/ 245378 h 510399"/>
                  <a:gd name="connsiteX13" fmla="*/ 180286 w 607227"/>
                  <a:gd name="connsiteY13" fmla="*/ 203967 h 510399"/>
                  <a:gd name="connsiteX14" fmla="*/ 201063 w 607227"/>
                  <a:gd name="connsiteY14" fmla="*/ 195376 h 510399"/>
                  <a:gd name="connsiteX15" fmla="*/ 221759 w 607227"/>
                  <a:gd name="connsiteY15" fmla="*/ 203967 h 510399"/>
                  <a:gd name="connsiteX16" fmla="*/ 277191 w 607227"/>
                  <a:gd name="connsiteY16" fmla="*/ 259317 h 510399"/>
                  <a:gd name="connsiteX17" fmla="*/ 444948 w 607227"/>
                  <a:gd name="connsiteY17" fmla="*/ 91807 h 510399"/>
                  <a:gd name="connsiteX18" fmla="*/ 503951 w 607227"/>
                  <a:gd name="connsiteY18" fmla="*/ 32891 h 510399"/>
                  <a:gd name="connsiteX19" fmla="*/ 515719 w 607227"/>
                  <a:gd name="connsiteY19" fmla="*/ 21221 h 510399"/>
                  <a:gd name="connsiteX20" fmla="*/ 536415 w 607227"/>
                  <a:gd name="connsiteY20" fmla="*/ 12631 h 510399"/>
                  <a:gd name="connsiteX21" fmla="*/ 61847 w 607227"/>
                  <a:gd name="connsiteY21" fmla="*/ 0 h 510399"/>
                  <a:gd name="connsiteX22" fmla="*/ 449328 w 607227"/>
                  <a:gd name="connsiteY22" fmla="*/ 0 h 510399"/>
                  <a:gd name="connsiteX23" fmla="*/ 491858 w 607227"/>
                  <a:gd name="connsiteY23" fmla="*/ 17019 h 510399"/>
                  <a:gd name="connsiteX24" fmla="*/ 442591 w 607227"/>
                  <a:gd name="connsiteY24" fmla="*/ 66130 h 510399"/>
                  <a:gd name="connsiteX25" fmla="*/ 66230 w 607227"/>
                  <a:gd name="connsiteY25" fmla="*/ 66130 h 510399"/>
                  <a:gd name="connsiteX26" fmla="*/ 66230 w 607227"/>
                  <a:gd name="connsiteY26" fmla="*/ 444269 h 510399"/>
                  <a:gd name="connsiteX27" fmla="*/ 444945 w 607227"/>
                  <a:gd name="connsiteY27" fmla="*/ 444269 h 510399"/>
                  <a:gd name="connsiteX28" fmla="*/ 444945 w 607227"/>
                  <a:gd name="connsiteY28" fmla="*/ 285590 h 510399"/>
                  <a:gd name="connsiteX29" fmla="*/ 511175 w 607227"/>
                  <a:gd name="connsiteY29" fmla="*/ 219460 h 510399"/>
                  <a:gd name="connsiteX30" fmla="*/ 511175 w 607227"/>
                  <a:gd name="connsiteY30" fmla="*/ 448645 h 510399"/>
                  <a:gd name="connsiteX31" fmla="*/ 449328 w 607227"/>
                  <a:gd name="connsiteY31" fmla="*/ 510399 h 510399"/>
                  <a:gd name="connsiteX32" fmla="*/ 61847 w 607227"/>
                  <a:gd name="connsiteY32" fmla="*/ 510399 h 510399"/>
                  <a:gd name="connsiteX33" fmla="*/ 0 w 607227"/>
                  <a:gd name="connsiteY33" fmla="*/ 448645 h 510399"/>
                  <a:gd name="connsiteX34" fmla="*/ 0 w 607227"/>
                  <a:gd name="connsiteY34" fmla="*/ 61673 h 510399"/>
                  <a:gd name="connsiteX35" fmla="*/ 61847 w 607227"/>
                  <a:gd name="connsiteY35" fmla="*/ 0 h 51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607227" h="510399">
                    <a:moveTo>
                      <a:pt x="536415" y="12631"/>
                    </a:moveTo>
                    <a:cubicBezTo>
                      <a:pt x="543882" y="12631"/>
                      <a:pt x="551430" y="15467"/>
                      <a:pt x="557192" y="21221"/>
                    </a:cubicBezTo>
                    <a:lnTo>
                      <a:pt x="598584" y="62633"/>
                    </a:lnTo>
                    <a:cubicBezTo>
                      <a:pt x="610108" y="74059"/>
                      <a:pt x="610108" y="92618"/>
                      <a:pt x="598584" y="104044"/>
                    </a:cubicBezTo>
                    <a:lnTo>
                      <a:pt x="511175" y="191324"/>
                    </a:lnTo>
                    <a:lnTo>
                      <a:pt x="444948" y="257453"/>
                    </a:lnTo>
                    <a:lnTo>
                      <a:pt x="339441" y="362805"/>
                    </a:lnTo>
                    <a:lnTo>
                      <a:pt x="297968" y="404217"/>
                    </a:lnTo>
                    <a:cubicBezTo>
                      <a:pt x="292206" y="409971"/>
                      <a:pt x="284739" y="412807"/>
                      <a:pt x="277191" y="412807"/>
                    </a:cubicBezTo>
                    <a:cubicBezTo>
                      <a:pt x="269724" y="412807"/>
                      <a:pt x="262177" y="409971"/>
                      <a:pt x="256495" y="404217"/>
                    </a:cubicBezTo>
                    <a:lnTo>
                      <a:pt x="215023" y="362805"/>
                    </a:lnTo>
                    <a:lnTo>
                      <a:pt x="138814" y="286790"/>
                    </a:lnTo>
                    <a:cubicBezTo>
                      <a:pt x="127370" y="275363"/>
                      <a:pt x="127370" y="256805"/>
                      <a:pt x="138814" y="245378"/>
                    </a:cubicBezTo>
                    <a:lnTo>
                      <a:pt x="180286" y="203967"/>
                    </a:lnTo>
                    <a:cubicBezTo>
                      <a:pt x="186049" y="198213"/>
                      <a:pt x="193515" y="195376"/>
                      <a:pt x="201063" y="195376"/>
                    </a:cubicBezTo>
                    <a:cubicBezTo>
                      <a:pt x="208530" y="195376"/>
                      <a:pt x="215997" y="198213"/>
                      <a:pt x="221759" y="203967"/>
                    </a:cubicBezTo>
                    <a:lnTo>
                      <a:pt x="277191" y="259317"/>
                    </a:lnTo>
                    <a:lnTo>
                      <a:pt x="444948" y="91807"/>
                    </a:lnTo>
                    <a:lnTo>
                      <a:pt x="503951" y="32891"/>
                    </a:lnTo>
                    <a:lnTo>
                      <a:pt x="515719" y="21221"/>
                    </a:lnTo>
                    <a:cubicBezTo>
                      <a:pt x="521401" y="15467"/>
                      <a:pt x="528949" y="12631"/>
                      <a:pt x="536415" y="12631"/>
                    </a:cubicBezTo>
                    <a:close/>
                    <a:moveTo>
                      <a:pt x="61847" y="0"/>
                    </a:moveTo>
                    <a:lnTo>
                      <a:pt x="449328" y="0"/>
                    </a:lnTo>
                    <a:cubicBezTo>
                      <a:pt x="465804" y="0"/>
                      <a:pt x="480738" y="6483"/>
                      <a:pt x="491858" y="17019"/>
                    </a:cubicBezTo>
                    <a:lnTo>
                      <a:pt x="442591" y="66130"/>
                    </a:lnTo>
                    <a:lnTo>
                      <a:pt x="66230" y="66130"/>
                    </a:lnTo>
                    <a:lnTo>
                      <a:pt x="66230" y="444269"/>
                    </a:lnTo>
                    <a:lnTo>
                      <a:pt x="444945" y="444269"/>
                    </a:lnTo>
                    <a:lnTo>
                      <a:pt x="444945" y="285590"/>
                    </a:lnTo>
                    <a:lnTo>
                      <a:pt x="511175" y="219460"/>
                    </a:lnTo>
                    <a:lnTo>
                      <a:pt x="511175" y="448645"/>
                    </a:lnTo>
                    <a:cubicBezTo>
                      <a:pt x="511175" y="482683"/>
                      <a:pt x="483417" y="510399"/>
                      <a:pt x="449328" y="510399"/>
                    </a:cubicBezTo>
                    <a:lnTo>
                      <a:pt x="61847" y="510399"/>
                    </a:lnTo>
                    <a:cubicBezTo>
                      <a:pt x="27758" y="510399"/>
                      <a:pt x="0" y="482683"/>
                      <a:pt x="0" y="448645"/>
                    </a:cubicBezTo>
                    <a:lnTo>
                      <a:pt x="0" y="61673"/>
                    </a:lnTo>
                    <a:cubicBezTo>
                      <a:pt x="0" y="27635"/>
                      <a:pt x="27758" y="0"/>
                      <a:pt x="6184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7" name="ïŝ1ïḓé">
                <a:extLst>
                  <a:ext uri="{FF2B5EF4-FFF2-40B4-BE49-F238E27FC236}">
                    <a16:creationId xmlns:a16="http://schemas.microsoft.com/office/drawing/2014/main" id="{BD7C3AA6-EC85-44CE-AA92-EFD8B554DA01}"/>
                  </a:ext>
                </a:extLst>
              </p:cNvPr>
              <p:cNvSpPr/>
              <p:nvPr/>
            </p:nvSpPr>
            <p:spPr bwMode="auto">
              <a:xfrm>
                <a:off x="6856409" y="1343190"/>
                <a:ext cx="4567236" cy="557212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dirty="0">
                    <a:latin typeface="Calibri" panose="020F0502020204030204" pitchFamily="34" charset="0"/>
                    <a:cs typeface="Calibri" panose="020F0502020204030204" pitchFamily="34" charset="0"/>
                  </a:rPr>
                  <a:t>Designed </a:t>
                </a:r>
                <a:r>
                  <a:rPr lang="en-US" altLang="zh-CN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AppCrazy</a:t>
                </a:r>
                <a:r>
                  <a:rPr lang="en-US" altLang="zh-CN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endParaRPr lang="en-US" altLang="zh-CN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10" name="íŝḷiďe">
              <a:extLst>
                <a:ext uri="{FF2B5EF4-FFF2-40B4-BE49-F238E27FC236}">
                  <a16:creationId xmlns:a16="http://schemas.microsoft.com/office/drawing/2014/main" id="{C55F01F4-11E2-450B-8BC6-31AB2F9B9E05}"/>
                </a:ext>
              </a:extLst>
            </p:cNvPr>
            <p:cNvGrpSpPr/>
            <p:nvPr/>
          </p:nvGrpSpPr>
          <p:grpSpPr>
            <a:xfrm>
              <a:off x="6030797" y="3066682"/>
              <a:ext cx="5392846" cy="557212"/>
              <a:chOff x="6030797" y="1343190"/>
              <a:chExt cx="5392846" cy="557212"/>
            </a:xfrm>
          </p:grpSpPr>
          <p:sp>
            <p:nvSpPr>
              <p:cNvPr id="23" name="íSḷidé">
                <a:extLst>
                  <a:ext uri="{FF2B5EF4-FFF2-40B4-BE49-F238E27FC236}">
                    <a16:creationId xmlns:a16="http://schemas.microsoft.com/office/drawing/2014/main" id="{4FEEBE73-2A39-4AE8-BE8A-3993289E738B}"/>
                  </a:ext>
                </a:extLst>
              </p:cNvPr>
              <p:cNvSpPr/>
              <p:nvPr/>
            </p:nvSpPr>
            <p:spPr>
              <a:xfrm>
                <a:off x="6030797" y="1460752"/>
                <a:ext cx="383194" cy="322090"/>
              </a:xfrm>
              <a:custGeom>
                <a:avLst/>
                <a:gdLst>
                  <a:gd name="connsiteX0" fmla="*/ 536415 w 607227"/>
                  <a:gd name="connsiteY0" fmla="*/ 12631 h 510399"/>
                  <a:gd name="connsiteX1" fmla="*/ 557192 w 607227"/>
                  <a:gd name="connsiteY1" fmla="*/ 21221 h 510399"/>
                  <a:gd name="connsiteX2" fmla="*/ 598584 w 607227"/>
                  <a:gd name="connsiteY2" fmla="*/ 62633 h 510399"/>
                  <a:gd name="connsiteX3" fmla="*/ 598584 w 607227"/>
                  <a:gd name="connsiteY3" fmla="*/ 104044 h 510399"/>
                  <a:gd name="connsiteX4" fmla="*/ 511175 w 607227"/>
                  <a:gd name="connsiteY4" fmla="*/ 191324 h 510399"/>
                  <a:gd name="connsiteX5" fmla="*/ 444948 w 607227"/>
                  <a:gd name="connsiteY5" fmla="*/ 257453 h 510399"/>
                  <a:gd name="connsiteX6" fmla="*/ 339441 w 607227"/>
                  <a:gd name="connsiteY6" fmla="*/ 362805 h 510399"/>
                  <a:gd name="connsiteX7" fmla="*/ 297968 w 607227"/>
                  <a:gd name="connsiteY7" fmla="*/ 404217 h 510399"/>
                  <a:gd name="connsiteX8" fmla="*/ 277191 w 607227"/>
                  <a:gd name="connsiteY8" fmla="*/ 412807 h 510399"/>
                  <a:gd name="connsiteX9" fmla="*/ 256495 w 607227"/>
                  <a:gd name="connsiteY9" fmla="*/ 404217 h 510399"/>
                  <a:gd name="connsiteX10" fmla="*/ 215023 w 607227"/>
                  <a:gd name="connsiteY10" fmla="*/ 362805 h 510399"/>
                  <a:gd name="connsiteX11" fmla="*/ 138814 w 607227"/>
                  <a:gd name="connsiteY11" fmla="*/ 286790 h 510399"/>
                  <a:gd name="connsiteX12" fmla="*/ 138814 w 607227"/>
                  <a:gd name="connsiteY12" fmla="*/ 245378 h 510399"/>
                  <a:gd name="connsiteX13" fmla="*/ 180286 w 607227"/>
                  <a:gd name="connsiteY13" fmla="*/ 203967 h 510399"/>
                  <a:gd name="connsiteX14" fmla="*/ 201063 w 607227"/>
                  <a:gd name="connsiteY14" fmla="*/ 195376 h 510399"/>
                  <a:gd name="connsiteX15" fmla="*/ 221759 w 607227"/>
                  <a:gd name="connsiteY15" fmla="*/ 203967 h 510399"/>
                  <a:gd name="connsiteX16" fmla="*/ 277191 w 607227"/>
                  <a:gd name="connsiteY16" fmla="*/ 259317 h 510399"/>
                  <a:gd name="connsiteX17" fmla="*/ 444948 w 607227"/>
                  <a:gd name="connsiteY17" fmla="*/ 91807 h 510399"/>
                  <a:gd name="connsiteX18" fmla="*/ 503951 w 607227"/>
                  <a:gd name="connsiteY18" fmla="*/ 32891 h 510399"/>
                  <a:gd name="connsiteX19" fmla="*/ 515719 w 607227"/>
                  <a:gd name="connsiteY19" fmla="*/ 21221 h 510399"/>
                  <a:gd name="connsiteX20" fmla="*/ 536415 w 607227"/>
                  <a:gd name="connsiteY20" fmla="*/ 12631 h 510399"/>
                  <a:gd name="connsiteX21" fmla="*/ 61847 w 607227"/>
                  <a:gd name="connsiteY21" fmla="*/ 0 h 510399"/>
                  <a:gd name="connsiteX22" fmla="*/ 449328 w 607227"/>
                  <a:gd name="connsiteY22" fmla="*/ 0 h 510399"/>
                  <a:gd name="connsiteX23" fmla="*/ 491858 w 607227"/>
                  <a:gd name="connsiteY23" fmla="*/ 17019 h 510399"/>
                  <a:gd name="connsiteX24" fmla="*/ 442591 w 607227"/>
                  <a:gd name="connsiteY24" fmla="*/ 66130 h 510399"/>
                  <a:gd name="connsiteX25" fmla="*/ 66230 w 607227"/>
                  <a:gd name="connsiteY25" fmla="*/ 66130 h 510399"/>
                  <a:gd name="connsiteX26" fmla="*/ 66230 w 607227"/>
                  <a:gd name="connsiteY26" fmla="*/ 444269 h 510399"/>
                  <a:gd name="connsiteX27" fmla="*/ 444945 w 607227"/>
                  <a:gd name="connsiteY27" fmla="*/ 444269 h 510399"/>
                  <a:gd name="connsiteX28" fmla="*/ 444945 w 607227"/>
                  <a:gd name="connsiteY28" fmla="*/ 285590 h 510399"/>
                  <a:gd name="connsiteX29" fmla="*/ 511175 w 607227"/>
                  <a:gd name="connsiteY29" fmla="*/ 219460 h 510399"/>
                  <a:gd name="connsiteX30" fmla="*/ 511175 w 607227"/>
                  <a:gd name="connsiteY30" fmla="*/ 448645 h 510399"/>
                  <a:gd name="connsiteX31" fmla="*/ 449328 w 607227"/>
                  <a:gd name="connsiteY31" fmla="*/ 510399 h 510399"/>
                  <a:gd name="connsiteX32" fmla="*/ 61847 w 607227"/>
                  <a:gd name="connsiteY32" fmla="*/ 510399 h 510399"/>
                  <a:gd name="connsiteX33" fmla="*/ 0 w 607227"/>
                  <a:gd name="connsiteY33" fmla="*/ 448645 h 510399"/>
                  <a:gd name="connsiteX34" fmla="*/ 0 w 607227"/>
                  <a:gd name="connsiteY34" fmla="*/ 61673 h 510399"/>
                  <a:gd name="connsiteX35" fmla="*/ 61847 w 607227"/>
                  <a:gd name="connsiteY35" fmla="*/ 0 h 510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607227" h="510399">
                    <a:moveTo>
                      <a:pt x="536415" y="12631"/>
                    </a:moveTo>
                    <a:cubicBezTo>
                      <a:pt x="543882" y="12631"/>
                      <a:pt x="551430" y="15467"/>
                      <a:pt x="557192" y="21221"/>
                    </a:cubicBezTo>
                    <a:lnTo>
                      <a:pt x="598584" y="62633"/>
                    </a:lnTo>
                    <a:cubicBezTo>
                      <a:pt x="610108" y="74059"/>
                      <a:pt x="610108" y="92618"/>
                      <a:pt x="598584" y="104044"/>
                    </a:cubicBezTo>
                    <a:lnTo>
                      <a:pt x="511175" y="191324"/>
                    </a:lnTo>
                    <a:lnTo>
                      <a:pt x="444948" y="257453"/>
                    </a:lnTo>
                    <a:lnTo>
                      <a:pt x="339441" y="362805"/>
                    </a:lnTo>
                    <a:lnTo>
                      <a:pt x="297968" y="404217"/>
                    </a:lnTo>
                    <a:cubicBezTo>
                      <a:pt x="292206" y="409971"/>
                      <a:pt x="284739" y="412807"/>
                      <a:pt x="277191" y="412807"/>
                    </a:cubicBezTo>
                    <a:cubicBezTo>
                      <a:pt x="269724" y="412807"/>
                      <a:pt x="262177" y="409971"/>
                      <a:pt x="256495" y="404217"/>
                    </a:cubicBezTo>
                    <a:lnTo>
                      <a:pt x="215023" y="362805"/>
                    </a:lnTo>
                    <a:lnTo>
                      <a:pt x="138814" y="286790"/>
                    </a:lnTo>
                    <a:cubicBezTo>
                      <a:pt x="127370" y="275363"/>
                      <a:pt x="127370" y="256805"/>
                      <a:pt x="138814" y="245378"/>
                    </a:cubicBezTo>
                    <a:lnTo>
                      <a:pt x="180286" y="203967"/>
                    </a:lnTo>
                    <a:cubicBezTo>
                      <a:pt x="186049" y="198213"/>
                      <a:pt x="193515" y="195376"/>
                      <a:pt x="201063" y="195376"/>
                    </a:cubicBezTo>
                    <a:cubicBezTo>
                      <a:pt x="208530" y="195376"/>
                      <a:pt x="215997" y="198213"/>
                      <a:pt x="221759" y="203967"/>
                    </a:cubicBezTo>
                    <a:lnTo>
                      <a:pt x="277191" y="259317"/>
                    </a:lnTo>
                    <a:lnTo>
                      <a:pt x="444948" y="91807"/>
                    </a:lnTo>
                    <a:lnTo>
                      <a:pt x="503951" y="32891"/>
                    </a:lnTo>
                    <a:lnTo>
                      <a:pt x="515719" y="21221"/>
                    </a:lnTo>
                    <a:cubicBezTo>
                      <a:pt x="521401" y="15467"/>
                      <a:pt x="528949" y="12631"/>
                      <a:pt x="536415" y="12631"/>
                    </a:cubicBezTo>
                    <a:close/>
                    <a:moveTo>
                      <a:pt x="61847" y="0"/>
                    </a:moveTo>
                    <a:lnTo>
                      <a:pt x="449328" y="0"/>
                    </a:lnTo>
                    <a:cubicBezTo>
                      <a:pt x="465804" y="0"/>
                      <a:pt x="480738" y="6483"/>
                      <a:pt x="491858" y="17019"/>
                    </a:cubicBezTo>
                    <a:lnTo>
                      <a:pt x="442591" y="66130"/>
                    </a:lnTo>
                    <a:lnTo>
                      <a:pt x="66230" y="66130"/>
                    </a:lnTo>
                    <a:lnTo>
                      <a:pt x="66230" y="444269"/>
                    </a:lnTo>
                    <a:lnTo>
                      <a:pt x="444945" y="444269"/>
                    </a:lnTo>
                    <a:lnTo>
                      <a:pt x="444945" y="285590"/>
                    </a:lnTo>
                    <a:lnTo>
                      <a:pt x="511175" y="219460"/>
                    </a:lnTo>
                    <a:lnTo>
                      <a:pt x="511175" y="448645"/>
                    </a:lnTo>
                    <a:cubicBezTo>
                      <a:pt x="511175" y="482683"/>
                      <a:pt x="483417" y="510399"/>
                      <a:pt x="449328" y="510399"/>
                    </a:cubicBezTo>
                    <a:lnTo>
                      <a:pt x="61847" y="510399"/>
                    </a:lnTo>
                    <a:cubicBezTo>
                      <a:pt x="27758" y="510399"/>
                      <a:pt x="0" y="482683"/>
                      <a:pt x="0" y="448645"/>
                    </a:cubicBezTo>
                    <a:lnTo>
                      <a:pt x="0" y="61673"/>
                    </a:lnTo>
                    <a:cubicBezTo>
                      <a:pt x="0" y="27635"/>
                      <a:pt x="27758" y="0"/>
                      <a:pt x="6184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4" name="îṡḻiḍé">
                <a:extLst>
                  <a:ext uri="{FF2B5EF4-FFF2-40B4-BE49-F238E27FC236}">
                    <a16:creationId xmlns:a16="http://schemas.microsoft.com/office/drawing/2014/main" id="{BD7C3AA6-EC85-44CE-AA92-EFD8B554DA01}"/>
                  </a:ext>
                </a:extLst>
              </p:cNvPr>
              <p:cNvSpPr/>
              <p:nvPr/>
            </p:nvSpPr>
            <p:spPr bwMode="auto">
              <a:xfrm>
                <a:off x="6856408" y="1343190"/>
                <a:ext cx="4567235" cy="557212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altLang="zh-CN" dirty="0">
                    <a:latin typeface="Calibri" panose="020F0502020204030204" pitchFamily="34" charset="0"/>
                    <a:cs typeface="Calibri" panose="020F0502020204030204" pitchFamily="34" charset="0"/>
                  </a:rPr>
                  <a:t>Generated 224,332 potential squatting names for 426 apps</a:t>
                </a:r>
              </a:p>
            </p:txBody>
          </p:sp>
        </p:grpSp>
        <p:sp>
          <p:nvSpPr>
            <p:cNvPr id="20" name="íŝlïḋé">
              <a:extLst>
                <a:ext uri="{FF2B5EF4-FFF2-40B4-BE49-F238E27FC236}">
                  <a16:creationId xmlns:a16="http://schemas.microsoft.com/office/drawing/2014/main" id="{65FFD971-3CDA-437D-8BFE-83CC43952D25}"/>
                </a:ext>
              </a:extLst>
            </p:cNvPr>
            <p:cNvSpPr/>
            <p:nvPr/>
          </p:nvSpPr>
          <p:spPr>
            <a:xfrm>
              <a:off x="6030797" y="4045990"/>
              <a:ext cx="383194" cy="322090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î$ļíde">
              <a:extLst>
                <a:ext uri="{FF2B5EF4-FFF2-40B4-BE49-F238E27FC236}">
                  <a16:creationId xmlns:a16="http://schemas.microsoft.com/office/drawing/2014/main" id="{F3C181D7-0251-480E-90E8-F29834211C76}"/>
                </a:ext>
              </a:extLst>
            </p:cNvPr>
            <p:cNvSpPr/>
            <p:nvPr/>
          </p:nvSpPr>
          <p:spPr>
            <a:xfrm>
              <a:off x="6030797" y="4907734"/>
              <a:ext cx="383194" cy="322090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63946541-9BB3-49CB-B83D-D02E6F17CEC6}"/>
                </a:ext>
              </a:extLst>
            </p:cNvPr>
            <p:cNvCxnSpPr/>
            <p:nvPr/>
          </p:nvCxnSpPr>
          <p:spPr>
            <a:xfrm>
              <a:off x="6951663" y="2052669"/>
              <a:ext cx="456723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9A159BA8-DA0D-4165-8A48-EF72A84944EA}"/>
                </a:ext>
              </a:extLst>
            </p:cNvPr>
            <p:cNvCxnSpPr/>
            <p:nvPr/>
          </p:nvCxnSpPr>
          <p:spPr>
            <a:xfrm>
              <a:off x="6951663" y="2914415"/>
              <a:ext cx="456723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6994A356-0D8D-4717-BA2C-F5DF3084CFB7}"/>
                </a:ext>
              </a:extLst>
            </p:cNvPr>
            <p:cNvCxnSpPr/>
            <p:nvPr/>
          </p:nvCxnSpPr>
          <p:spPr>
            <a:xfrm>
              <a:off x="6951663" y="3776161"/>
              <a:ext cx="456723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8F75DF48-A3B3-499C-96D4-7C6D35F2CF99}"/>
                </a:ext>
              </a:extLst>
            </p:cNvPr>
            <p:cNvCxnSpPr/>
            <p:nvPr/>
          </p:nvCxnSpPr>
          <p:spPr>
            <a:xfrm>
              <a:off x="6951663" y="4637907"/>
              <a:ext cx="456723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îṡḻiḍé">
            <a:extLst>
              <a:ext uri="{FF2B5EF4-FFF2-40B4-BE49-F238E27FC236}">
                <a16:creationId xmlns:a16="http://schemas.microsoft.com/office/drawing/2014/main" id="{FA533A7C-645A-B140-AF43-8500176F57D8}"/>
              </a:ext>
            </a:extLst>
          </p:cNvPr>
          <p:cNvSpPr/>
          <p:nvPr/>
        </p:nvSpPr>
        <p:spPr bwMode="auto">
          <a:xfrm>
            <a:off x="6856407" y="3928428"/>
            <a:ext cx="4567235" cy="55721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Discovered 10,553 squatting apps </a:t>
            </a:r>
            <a:endParaRPr lang="en-US" altLang="zh-CN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îṡḻiḍé">
            <a:extLst>
              <a:ext uri="{FF2B5EF4-FFF2-40B4-BE49-F238E27FC236}">
                <a16:creationId xmlns:a16="http://schemas.microsoft.com/office/drawing/2014/main" id="{AE31AFD6-AD11-364C-8D29-D245BAC3005A}"/>
              </a:ext>
            </a:extLst>
          </p:cNvPr>
          <p:cNvSpPr/>
          <p:nvPr/>
        </p:nvSpPr>
        <p:spPr bwMode="auto">
          <a:xfrm>
            <a:off x="6856406" y="4791086"/>
            <a:ext cx="4567235" cy="55721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Totally</a:t>
            </a:r>
            <a:r>
              <a:rPr lang="zh-CN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up to over 10 million</a:t>
            </a:r>
            <a:r>
              <a:rPr lang="zh-CN" alt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zh-CN" dirty="0">
                <a:latin typeface="Calibri" panose="020F0502020204030204" pitchFamily="34" charset="0"/>
                <a:cs typeface="Calibri" panose="020F0502020204030204" pitchFamily="34" charset="0"/>
              </a:rPr>
              <a:t>downloads</a:t>
            </a:r>
            <a:endParaRPr lang="en-US" altLang="zh-CN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17059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altLang="zh-CN" sz="2400" i="0" u="none" strike="noStrike" baseline="0" dirty="0"/>
              <a:t>Squatting Generation Models</a:t>
            </a:r>
            <a:endParaRPr lang="zh-CN" altLang="en-US" i="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 altLang="zh-CN" sz="1600" kern="0" dirty="0">
                <a:effectLst/>
                <a:ea typeface="LinLibertineT"/>
              </a:rPr>
              <a:t>To know how these fake names generated</a:t>
            </a:r>
            <a:r>
              <a:rPr lang="en-US" altLang="zh-CN" sz="1600" dirty="0"/>
              <a:t>.</a:t>
            </a:r>
            <a:endParaRPr lang="zh-CN" altLang="en-US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203547" y="3985058"/>
            <a:ext cx="1104224" cy="960082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E973ECBA-1429-4BFA-B85E-691E30031FBF}"/>
              </a:ext>
            </a:extLst>
          </p:cNvPr>
          <p:cNvCxnSpPr>
            <a:cxnSpLocks/>
          </p:cNvCxnSpPr>
          <p:nvPr/>
        </p:nvCxnSpPr>
        <p:spPr>
          <a:xfrm>
            <a:off x="2786743" y="4351269"/>
            <a:ext cx="46155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0656137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B0498F-E3DB-4AA8-9FE7-9D93B1855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altLang="zh-CN" sz="2800" i="0" u="none" strike="noStrike" baseline="0" dirty="0"/>
              <a:t>Squatting Generation Model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5B6EBB1-7106-4289-B6C7-8242EE8C10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101" name="2821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6454B10-C929-44F0-AB0D-598E75A440E4}"/>
              </a:ext>
            </a:extLst>
          </p:cNvPr>
          <p:cNvGrpSpPr>
            <a:grpSpLocks noChangeAspect="1"/>
          </p:cNvGrpSpPr>
          <p:nvPr/>
        </p:nvGrpSpPr>
        <p:grpSpPr>
          <a:xfrm>
            <a:off x="703385" y="1130300"/>
            <a:ext cx="10815515" cy="5003800"/>
            <a:chOff x="703385" y="1130300"/>
            <a:chExt cx="10815515" cy="5003800"/>
          </a:xfrm>
        </p:grpSpPr>
        <p:sp>
          <p:nvSpPr>
            <p:cNvPr id="102" name="îṥlïḋê">
              <a:extLst>
                <a:ext uri="{FF2B5EF4-FFF2-40B4-BE49-F238E27FC236}">
                  <a16:creationId xmlns:a16="http://schemas.microsoft.com/office/drawing/2014/main" id="{332B1DB1-BE26-4E98-BBC9-49640C3D937A}"/>
                </a:ext>
              </a:extLst>
            </p:cNvPr>
            <p:cNvSpPr/>
            <p:nvPr/>
          </p:nvSpPr>
          <p:spPr>
            <a:xfrm>
              <a:off x="703385" y="2048258"/>
              <a:ext cx="10773507" cy="1359890"/>
            </a:xfrm>
            <a:custGeom>
              <a:avLst/>
              <a:gdLst>
                <a:gd name="connsiteX0" fmla="*/ 0 w 10773507"/>
                <a:gd name="connsiteY0" fmla="*/ 0 h 1359890"/>
                <a:gd name="connsiteX1" fmla="*/ 5416061 w 10773507"/>
                <a:gd name="connsiteY1" fmla="*/ 1359877 h 1359890"/>
                <a:gd name="connsiteX2" fmla="*/ 10773507 w 10773507"/>
                <a:gd name="connsiteY2" fmla="*/ 23447 h 135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73507" h="1359890">
                  <a:moveTo>
                    <a:pt x="0" y="0"/>
                  </a:moveTo>
                  <a:cubicBezTo>
                    <a:pt x="1810238" y="677984"/>
                    <a:pt x="3620477" y="1355969"/>
                    <a:pt x="5416061" y="1359877"/>
                  </a:cubicBezTo>
                  <a:cubicBezTo>
                    <a:pt x="7211645" y="1363785"/>
                    <a:pt x="9427307" y="502139"/>
                    <a:pt x="10773507" y="23447"/>
                  </a:cubicBezTo>
                </a:path>
              </a:pathLst>
            </a:custGeom>
            <a:noFill/>
            <a:ln w="571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cxnSp>
          <p:nvCxnSpPr>
            <p:cNvPr id="103" name="直接连接符 6">
              <a:extLst>
                <a:ext uri="{FF2B5EF4-FFF2-40B4-BE49-F238E27FC236}">
                  <a16:creationId xmlns:a16="http://schemas.microsoft.com/office/drawing/2014/main" id="{FDEBBD67-5C1F-4123-9872-265540E1326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95484" y="3411711"/>
              <a:ext cx="3077" cy="2706701"/>
            </a:xfrm>
            <a:prstGeom prst="line">
              <a:avLst/>
            </a:prstGeom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íşļiḍe">
              <a:extLst>
                <a:ext uri="{FF2B5EF4-FFF2-40B4-BE49-F238E27FC236}">
                  <a16:creationId xmlns:a16="http://schemas.microsoft.com/office/drawing/2014/main" id="{AD9CC9EA-0330-4C27-B9AE-812D8CD7FD8B}"/>
                </a:ext>
              </a:extLst>
            </p:cNvPr>
            <p:cNvSpPr/>
            <p:nvPr/>
          </p:nvSpPr>
          <p:spPr>
            <a:xfrm>
              <a:off x="2747518" y="2809875"/>
              <a:ext cx="1312796" cy="366282"/>
            </a:xfrm>
            <a:prstGeom prst="roundRect">
              <a:avLst>
                <a:gd name="adj" fmla="val 13693"/>
              </a:avLst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 dirty="0" err="1"/>
                <a:t>URLCrazy</a:t>
              </a:r>
              <a:endParaRPr lang="zh-CN" altLang="en-US" sz="1400" b="1" dirty="0"/>
            </a:p>
          </p:txBody>
        </p:sp>
        <p:cxnSp>
          <p:nvCxnSpPr>
            <p:cNvPr id="105" name="直接连接符 8">
              <a:extLst>
                <a:ext uri="{FF2B5EF4-FFF2-40B4-BE49-F238E27FC236}">
                  <a16:creationId xmlns:a16="http://schemas.microsoft.com/office/drawing/2014/main" id="{177B02E0-E3DF-47F4-B3E4-6117584371B2}"/>
                </a:ext>
              </a:extLst>
            </p:cNvPr>
            <p:cNvCxnSpPr>
              <a:cxnSpLocks/>
              <a:stCxn id="104" idx="2"/>
              <a:endCxn id="119" idx="1"/>
            </p:cNvCxnSpPr>
            <p:nvPr/>
          </p:nvCxnSpPr>
          <p:spPr>
            <a:xfrm>
              <a:off x="3403916" y="3176157"/>
              <a:ext cx="4391" cy="1134517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6" name="îśḻíḑê">
              <a:extLst>
                <a:ext uri="{FF2B5EF4-FFF2-40B4-BE49-F238E27FC236}">
                  <a16:creationId xmlns:a16="http://schemas.microsoft.com/office/drawing/2014/main" id="{7C4544B3-A9B2-4CC8-B5CA-538A0F3A315D}"/>
                </a:ext>
              </a:extLst>
            </p:cNvPr>
            <p:cNvGrpSpPr/>
            <p:nvPr/>
          </p:nvGrpSpPr>
          <p:grpSpPr>
            <a:xfrm>
              <a:off x="2295526" y="3747979"/>
              <a:ext cx="7600949" cy="643424"/>
              <a:chOff x="2295526" y="3747979"/>
              <a:chExt cx="7600949" cy="643424"/>
            </a:xfrm>
          </p:grpSpPr>
          <p:sp>
            <p:nvSpPr>
              <p:cNvPr id="119" name="ïṧ1iďe">
                <a:extLst>
                  <a:ext uri="{FF2B5EF4-FFF2-40B4-BE49-F238E27FC236}">
                    <a16:creationId xmlns:a16="http://schemas.microsoft.com/office/drawing/2014/main" id="{B1F25BE0-7F55-47AD-8236-AD0990400872}"/>
                  </a:ext>
                </a:extLst>
              </p:cNvPr>
              <p:cNvSpPr/>
              <p:nvPr/>
            </p:nvSpPr>
            <p:spPr>
              <a:xfrm>
                <a:off x="2446319" y="4069136"/>
                <a:ext cx="1913564" cy="241540"/>
              </a:xfrm>
              <a:custGeom>
                <a:avLst/>
                <a:gdLst>
                  <a:gd name="connsiteX0" fmla="*/ 0 w 10773507"/>
                  <a:gd name="connsiteY0" fmla="*/ 0 h 1359890"/>
                  <a:gd name="connsiteX1" fmla="*/ 5416061 w 10773507"/>
                  <a:gd name="connsiteY1" fmla="*/ 1359877 h 1359890"/>
                  <a:gd name="connsiteX2" fmla="*/ 10773507 w 10773507"/>
                  <a:gd name="connsiteY2" fmla="*/ 23447 h 1359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773507" h="1359890">
                    <a:moveTo>
                      <a:pt x="0" y="0"/>
                    </a:moveTo>
                    <a:cubicBezTo>
                      <a:pt x="1810238" y="677984"/>
                      <a:pt x="3620477" y="1355969"/>
                      <a:pt x="5416061" y="1359877"/>
                    </a:cubicBezTo>
                    <a:cubicBezTo>
                      <a:pt x="7211645" y="1363785"/>
                      <a:pt x="9427307" y="502139"/>
                      <a:pt x="10773507" y="23447"/>
                    </a:cubicBezTo>
                  </a:path>
                </a:pathLst>
              </a:custGeom>
              <a:noFill/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grpSp>
            <p:nvGrpSpPr>
              <p:cNvPr id="120" name="ïś1ïḑé">
                <a:extLst>
                  <a:ext uri="{FF2B5EF4-FFF2-40B4-BE49-F238E27FC236}">
                    <a16:creationId xmlns:a16="http://schemas.microsoft.com/office/drawing/2014/main" id="{4ADB92B3-305D-4F73-8DEB-2B1E5C1196AF}"/>
                  </a:ext>
                </a:extLst>
              </p:cNvPr>
              <p:cNvGrpSpPr/>
              <p:nvPr/>
            </p:nvGrpSpPr>
            <p:grpSpPr>
              <a:xfrm>
                <a:off x="2295526" y="3747979"/>
                <a:ext cx="643424" cy="643424"/>
                <a:chOff x="5612069" y="2185251"/>
                <a:chExt cx="775844" cy="775844"/>
              </a:xfrm>
            </p:grpSpPr>
            <p:sp>
              <p:nvSpPr>
                <p:cNvPr id="131" name="îş1ïḍê">
                  <a:extLst>
                    <a:ext uri="{FF2B5EF4-FFF2-40B4-BE49-F238E27FC236}">
                      <a16:creationId xmlns:a16="http://schemas.microsoft.com/office/drawing/2014/main" id="{2A59E733-EE7B-4EC8-BA9F-B49AA1046ED8}"/>
                    </a:ext>
                  </a:extLst>
                </p:cNvPr>
                <p:cNvSpPr/>
                <p:nvPr/>
              </p:nvSpPr>
              <p:spPr>
                <a:xfrm>
                  <a:off x="5612069" y="2185251"/>
                  <a:ext cx="775844" cy="775844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2" name="íṧḷíḓé">
                  <a:extLst>
                    <a:ext uri="{FF2B5EF4-FFF2-40B4-BE49-F238E27FC236}">
                      <a16:creationId xmlns:a16="http://schemas.microsoft.com/office/drawing/2014/main" id="{3E8F1C8F-F5F9-482B-BD06-1972C9C32C6C}"/>
                    </a:ext>
                  </a:extLst>
                </p:cNvPr>
                <p:cNvSpPr/>
                <p:nvPr/>
              </p:nvSpPr>
              <p:spPr bwMode="auto">
                <a:xfrm>
                  <a:off x="5809844" y="2383313"/>
                  <a:ext cx="380293" cy="379719"/>
                </a:xfrm>
                <a:custGeom>
                  <a:avLst/>
                  <a:gdLst>
                    <a:gd name="connsiteX0" fmla="*/ 157465 w 608415"/>
                    <a:gd name="connsiteY0" fmla="*/ 128853 h 607498"/>
                    <a:gd name="connsiteX1" fmla="*/ 253810 w 608415"/>
                    <a:gd name="connsiteY1" fmla="*/ 253560 h 607498"/>
                    <a:gd name="connsiteX2" fmla="*/ 383401 w 608415"/>
                    <a:gd name="connsiteY2" fmla="*/ 178319 h 607498"/>
                    <a:gd name="connsiteX3" fmla="*/ 504517 w 608415"/>
                    <a:gd name="connsiteY3" fmla="*/ 351452 h 607498"/>
                    <a:gd name="connsiteX4" fmla="*/ 536327 w 608415"/>
                    <a:gd name="connsiteY4" fmla="*/ 329192 h 607498"/>
                    <a:gd name="connsiteX5" fmla="*/ 547800 w 608415"/>
                    <a:gd name="connsiteY5" fmla="*/ 461710 h 607498"/>
                    <a:gd name="connsiteX6" fmla="*/ 427206 w 608415"/>
                    <a:gd name="connsiteY6" fmla="*/ 405344 h 607498"/>
                    <a:gd name="connsiteX7" fmla="*/ 459017 w 608415"/>
                    <a:gd name="connsiteY7" fmla="*/ 383215 h 607498"/>
                    <a:gd name="connsiteX8" fmla="*/ 367104 w 608415"/>
                    <a:gd name="connsiteY8" fmla="*/ 251998 h 607498"/>
                    <a:gd name="connsiteX9" fmla="*/ 239600 w 608415"/>
                    <a:gd name="connsiteY9" fmla="*/ 326068 h 607498"/>
                    <a:gd name="connsiteX10" fmla="*/ 113399 w 608415"/>
                    <a:gd name="connsiteY10" fmla="*/ 162698 h 607498"/>
                    <a:gd name="connsiteX11" fmla="*/ 0 w 608415"/>
                    <a:gd name="connsiteY11" fmla="*/ 0 h 607498"/>
                    <a:gd name="connsiteX12" fmla="*/ 69484 w 608415"/>
                    <a:gd name="connsiteY12" fmla="*/ 0 h 607498"/>
                    <a:gd name="connsiteX13" fmla="*/ 69484 w 608415"/>
                    <a:gd name="connsiteY13" fmla="*/ 537988 h 607498"/>
                    <a:gd name="connsiteX14" fmla="*/ 608415 w 608415"/>
                    <a:gd name="connsiteY14" fmla="*/ 537988 h 607498"/>
                    <a:gd name="connsiteX15" fmla="*/ 608415 w 608415"/>
                    <a:gd name="connsiteY15" fmla="*/ 607498 h 607498"/>
                    <a:gd name="connsiteX16" fmla="*/ 0 w 608415"/>
                    <a:gd name="connsiteY16" fmla="*/ 607498 h 607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608415" h="607498">
                      <a:moveTo>
                        <a:pt x="157465" y="128853"/>
                      </a:moveTo>
                      <a:lnTo>
                        <a:pt x="253810" y="253560"/>
                      </a:lnTo>
                      <a:lnTo>
                        <a:pt x="383401" y="178319"/>
                      </a:lnTo>
                      <a:lnTo>
                        <a:pt x="504517" y="351452"/>
                      </a:lnTo>
                      <a:lnTo>
                        <a:pt x="536327" y="329192"/>
                      </a:lnTo>
                      <a:lnTo>
                        <a:pt x="547800" y="461710"/>
                      </a:lnTo>
                      <a:lnTo>
                        <a:pt x="427206" y="405344"/>
                      </a:lnTo>
                      <a:lnTo>
                        <a:pt x="459017" y="383215"/>
                      </a:lnTo>
                      <a:lnTo>
                        <a:pt x="367104" y="251998"/>
                      </a:lnTo>
                      <a:lnTo>
                        <a:pt x="239600" y="326068"/>
                      </a:lnTo>
                      <a:lnTo>
                        <a:pt x="113399" y="162698"/>
                      </a:lnTo>
                      <a:close/>
                      <a:moveTo>
                        <a:pt x="0" y="0"/>
                      </a:moveTo>
                      <a:lnTo>
                        <a:pt x="69484" y="0"/>
                      </a:lnTo>
                      <a:lnTo>
                        <a:pt x="69484" y="537988"/>
                      </a:lnTo>
                      <a:lnTo>
                        <a:pt x="608415" y="537988"/>
                      </a:lnTo>
                      <a:lnTo>
                        <a:pt x="608415" y="607498"/>
                      </a:lnTo>
                      <a:lnTo>
                        <a:pt x="0" y="60749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21" name="íṥľîḓé">
                <a:extLst>
                  <a:ext uri="{FF2B5EF4-FFF2-40B4-BE49-F238E27FC236}">
                    <a16:creationId xmlns:a16="http://schemas.microsoft.com/office/drawing/2014/main" id="{663BF52F-3D54-43C1-B885-496C53BEBD62}"/>
                  </a:ext>
                </a:extLst>
              </p:cNvPr>
              <p:cNvGrpSpPr/>
              <p:nvPr/>
            </p:nvGrpSpPr>
            <p:grpSpPr>
              <a:xfrm>
                <a:off x="3868881" y="3747979"/>
                <a:ext cx="643424" cy="643424"/>
                <a:chOff x="6495464" y="2185251"/>
                <a:chExt cx="775844" cy="775844"/>
              </a:xfrm>
            </p:grpSpPr>
            <p:sp>
              <p:nvSpPr>
                <p:cNvPr id="129" name="isḷîḑe">
                  <a:extLst>
                    <a:ext uri="{FF2B5EF4-FFF2-40B4-BE49-F238E27FC236}">
                      <a16:creationId xmlns:a16="http://schemas.microsoft.com/office/drawing/2014/main" id="{4CF22DA2-C58A-4B04-AF57-6BD1EEE25C24}"/>
                    </a:ext>
                  </a:extLst>
                </p:cNvPr>
                <p:cNvSpPr/>
                <p:nvPr/>
              </p:nvSpPr>
              <p:spPr>
                <a:xfrm>
                  <a:off x="6495464" y="2185251"/>
                  <a:ext cx="775844" cy="775844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0" name="íšļïḑê">
                  <a:extLst>
                    <a:ext uri="{FF2B5EF4-FFF2-40B4-BE49-F238E27FC236}">
                      <a16:creationId xmlns:a16="http://schemas.microsoft.com/office/drawing/2014/main" id="{60D774BF-4360-4C90-9E0D-ED48C0CA3654}"/>
                    </a:ext>
                  </a:extLst>
                </p:cNvPr>
                <p:cNvSpPr/>
                <p:nvPr/>
              </p:nvSpPr>
              <p:spPr bwMode="auto">
                <a:xfrm>
                  <a:off x="6693238" y="2383279"/>
                  <a:ext cx="380293" cy="379786"/>
                </a:xfrm>
                <a:custGeom>
                  <a:avLst/>
                  <a:gdLst>
                    <a:gd name="connsiteX0" fmla="*/ 420187 w 605367"/>
                    <a:gd name="connsiteY0" fmla="*/ 325194 h 604561"/>
                    <a:gd name="connsiteX1" fmla="*/ 578334 w 605367"/>
                    <a:gd name="connsiteY1" fmla="*/ 464764 h 604561"/>
                    <a:gd name="connsiteX2" fmla="*/ 605338 w 605367"/>
                    <a:gd name="connsiteY2" fmla="*/ 522158 h 604561"/>
                    <a:gd name="connsiteX3" fmla="*/ 581908 w 605367"/>
                    <a:gd name="connsiteY3" fmla="*/ 581138 h 604561"/>
                    <a:gd name="connsiteX4" fmla="*/ 522839 w 605367"/>
                    <a:gd name="connsiteY4" fmla="*/ 604532 h 604561"/>
                    <a:gd name="connsiteX5" fmla="*/ 465358 w 605367"/>
                    <a:gd name="connsiteY5" fmla="*/ 577570 h 604561"/>
                    <a:gd name="connsiteX6" fmla="*/ 325577 w 605367"/>
                    <a:gd name="connsiteY6" fmla="*/ 419661 h 604561"/>
                    <a:gd name="connsiteX7" fmla="*/ 379484 w 605367"/>
                    <a:gd name="connsiteY7" fmla="*/ 379020 h 604561"/>
                    <a:gd name="connsiteX8" fmla="*/ 420187 w 605367"/>
                    <a:gd name="connsiteY8" fmla="*/ 325194 h 604561"/>
                    <a:gd name="connsiteX9" fmla="*/ 154135 w 605367"/>
                    <a:gd name="connsiteY9" fmla="*/ 128602 h 604561"/>
                    <a:gd name="connsiteX10" fmla="*/ 167042 w 605367"/>
                    <a:gd name="connsiteY10" fmla="*/ 134650 h 604561"/>
                    <a:gd name="connsiteX11" fmla="*/ 167042 w 605367"/>
                    <a:gd name="connsiteY11" fmla="*/ 166868 h 604561"/>
                    <a:gd name="connsiteX12" fmla="*/ 167042 w 605367"/>
                    <a:gd name="connsiteY12" fmla="*/ 239335 h 604561"/>
                    <a:gd name="connsiteX13" fmla="*/ 167042 w 605367"/>
                    <a:gd name="connsiteY13" fmla="*/ 271652 h 604561"/>
                    <a:gd name="connsiteX14" fmla="*/ 154135 w 605367"/>
                    <a:gd name="connsiteY14" fmla="*/ 277700 h 604561"/>
                    <a:gd name="connsiteX15" fmla="*/ 134774 w 605367"/>
                    <a:gd name="connsiteY15" fmla="*/ 271652 h 604561"/>
                    <a:gd name="connsiteX16" fmla="*/ 134774 w 605367"/>
                    <a:gd name="connsiteY16" fmla="*/ 134650 h 604561"/>
                    <a:gd name="connsiteX17" fmla="*/ 154135 w 605367"/>
                    <a:gd name="connsiteY17" fmla="*/ 128602 h 604561"/>
                    <a:gd name="connsiteX18" fmla="*/ 203370 w 605367"/>
                    <a:gd name="connsiteY18" fmla="*/ 68371 h 604561"/>
                    <a:gd name="connsiteX19" fmla="*/ 107914 w 605367"/>
                    <a:gd name="connsiteY19" fmla="*/ 107773 h 604561"/>
                    <a:gd name="connsiteX20" fmla="*/ 107914 w 605367"/>
                    <a:gd name="connsiteY20" fmla="*/ 298488 h 604561"/>
                    <a:gd name="connsiteX21" fmla="*/ 298802 w 605367"/>
                    <a:gd name="connsiteY21" fmla="*/ 298488 h 604561"/>
                    <a:gd name="connsiteX22" fmla="*/ 298901 w 605367"/>
                    <a:gd name="connsiteY22" fmla="*/ 107773 h 604561"/>
                    <a:gd name="connsiteX23" fmla="*/ 203370 w 605367"/>
                    <a:gd name="connsiteY23" fmla="*/ 68371 h 604561"/>
                    <a:gd name="connsiteX24" fmla="*/ 203395 w 605367"/>
                    <a:gd name="connsiteY24" fmla="*/ 0 h 604561"/>
                    <a:gd name="connsiteX25" fmla="*/ 347243 w 605367"/>
                    <a:gd name="connsiteY25" fmla="*/ 59400 h 604561"/>
                    <a:gd name="connsiteX26" fmla="*/ 347243 w 605367"/>
                    <a:gd name="connsiteY26" fmla="*/ 346762 h 604561"/>
                    <a:gd name="connsiteX27" fmla="*/ 59571 w 605367"/>
                    <a:gd name="connsiteY27" fmla="*/ 346762 h 604561"/>
                    <a:gd name="connsiteX28" fmla="*/ 59472 w 605367"/>
                    <a:gd name="connsiteY28" fmla="*/ 59400 h 604561"/>
                    <a:gd name="connsiteX29" fmla="*/ 203395 w 605367"/>
                    <a:gd name="connsiteY29" fmla="*/ 0 h 604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605367" h="604561">
                      <a:moveTo>
                        <a:pt x="420187" y="325194"/>
                      </a:moveTo>
                      <a:lnTo>
                        <a:pt x="578334" y="464764"/>
                      </a:lnTo>
                      <a:cubicBezTo>
                        <a:pt x="594814" y="479336"/>
                        <a:pt x="604643" y="500152"/>
                        <a:pt x="605338" y="522158"/>
                      </a:cubicBezTo>
                      <a:cubicBezTo>
                        <a:pt x="605933" y="544164"/>
                        <a:pt x="597495" y="565476"/>
                        <a:pt x="581908" y="581138"/>
                      </a:cubicBezTo>
                      <a:cubicBezTo>
                        <a:pt x="566322" y="596701"/>
                        <a:pt x="544878" y="605127"/>
                        <a:pt x="522839" y="604532"/>
                      </a:cubicBezTo>
                      <a:cubicBezTo>
                        <a:pt x="500800" y="603838"/>
                        <a:pt x="479952" y="594025"/>
                        <a:pt x="465358" y="577570"/>
                      </a:cubicBezTo>
                      <a:lnTo>
                        <a:pt x="325577" y="419661"/>
                      </a:lnTo>
                      <a:cubicBezTo>
                        <a:pt x="344936" y="408758"/>
                        <a:pt x="363104" y="395376"/>
                        <a:pt x="379484" y="379020"/>
                      </a:cubicBezTo>
                      <a:cubicBezTo>
                        <a:pt x="395865" y="362664"/>
                        <a:pt x="409267" y="344425"/>
                        <a:pt x="420187" y="325194"/>
                      </a:cubicBezTo>
                      <a:close/>
                      <a:moveTo>
                        <a:pt x="154135" y="128602"/>
                      </a:moveTo>
                      <a:cubicBezTo>
                        <a:pt x="158801" y="129296"/>
                        <a:pt x="163468" y="131081"/>
                        <a:pt x="167042" y="134650"/>
                      </a:cubicBezTo>
                      <a:cubicBezTo>
                        <a:pt x="175879" y="143572"/>
                        <a:pt x="175978" y="157946"/>
                        <a:pt x="167042" y="166868"/>
                      </a:cubicBezTo>
                      <a:cubicBezTo>
                        <a:pt x="146986" y="186893"/>
                        <a:pt x="146986" y="219409"/>
                        <a:pt x="167042" y="239335"/>
                      </a:cubicBezTo>
                      <a:cubicBezTo>
                        <a:pt x="175879" y="248356"/>
                        <a:pt x="175978" y="262730"/>
                        <a:pt x="167042" y="271652"/>
                      </a:cubicBezTo>
                      <a:cubicBezTo>
                        <a:pt x="163468" y="275221"/>
                        <a:pt x="158801" y="277006"/>
                        <a:pt x="154135" y="277700"/>
                      </a:cubicBezTo>
                      <a:cubicBezTo>
                        <a:pt x="147284" y="278691"/>
                        <a:pt x="140036" y="276907"/>
                        <a:pt x="134774" y="271652"/>
                      </a:cubicBezTo>
                      <a:cubicBezTo>
                        <a:pt x="96945" y="233882"/>
                        <a:pt x="96945" y="172420"/>
                        <a:pt x="134774" y="134650"/>
                      </a:cubicBezTo>
                      <a:cubicBezTo>
                        <a:pt x="140036" y="129395"/>
                        <a:pt x="147284" y="127611"/>
                        <a:pt x="154135" y="128602"/>
                      </a:cubicBezTo>
                      <a:close/>
                      <a:moveTo>
                        <a:pt x="203370" y="68371"/>
                      </a:moveTo>
                      <a:cubicBezTo>
                        <a:pt x="168789" y="68371"/>
                        <a:pt x="134219" y="81505"/>
                        <a:pt x="107914" y="107773"/>
                      </a:cubicBezTo>
                      <a:cubicBezTo>
                        <a:pt x="55303" y="160309"/>
                        <a:pt x="55303" y="245853"/>
                        <a:pt x="107914" y="298488"/>
                      </a:cubicBezTo>
                      <a:cubicBezTo>
                        <a:pt x="160525" y="351024"/>
                        <a:pt x="246191" y="351024"/>
                        <a:pt x="298802" y="298488"/>
                      </a:cubicBezTo>
                      <a:cubicBezTo>
                        <a:pt x="351512" y="245853"/>
                        <a:pt x="351512" y="160309"/>
                        <a:pt x="298901" y="107773"/>
                      </a:cubicBezTo>
                      <a:cubicBezTo>
                        <a:pt x="272546" y="81505"/>
                        <a:pt x="237952" y="68371"/>
                        <a:pt x="203370" y="68371"/>
                      </a:cubicBezTo>
                      <a:close/>
                      <a:moveTo>
                        <a:pt x="203395" y="0"/>
                      </a:moveTo>
                      <a:cubicBezTo>
                        <a:pt x="255497" y="0"/>
                        <a:pt x="307586" y="19800"/>
                        <a:pt x="347243" y="59400"/>
                      </a:cubicBezTo>
                      <a:cubicBezTo>
                        <a:pt x="426556" y="138700"/>
                        <a:pt x="426556" y="267561"/>
                        <a:pt x="347243" y="346762"/>
                      </a:cubicBezTo>
                      <a:cubicBezTo>
                        <a:pt x="267930" y="425962"/>
                        <a:pt x="138885" y="425962"/>
                        <a:pt x="59571" y="346762"/>
                      </a:cubicBezTo>
                      <a:cubicBezTo>
                        <a:pt x="-19841" y="267561"/>
                        <a:pt x="-19841" y="138700"/>
                        <a:pt x="59472" y="59400"/>
                      </a:cubicBezTo>
                      <a:cubicBezTo>
                        <a:pt x="99179" y="19800"/>
                        <a:pt x="151293" y="0"/>
                        <a:pt x="203395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ffectLst/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sp>
            <p:nvSpPr>
              <p:cNvPr id="122" name="ïşḷíďé">
                <a:extLst>
                  <a:ext uri="{FF2B5EF4-FFF2-40B4-BE49-F238E27FC236}">
                    <a16:creationId xmlns:a16="http://schemas.microsoft.com/office/drawing/2014/main" id="{8DCA19CC-103E-4F8B-AAEA-1F31D40F52F3}"/>
                  </a:ext>
                </a:extLst>
              </p:cNvPr>
              <p:cNvSpPr/>
              <p:nvPr/>
            </p:nvSpPr>
            <p:spPr>
              <a:xfrm>
                <a:off x="7774832" y="3996988"/>
                <a:ext cx="1913564" cy="241540"/>
              </a:xfrm>
              <a:custGeom>
                <a:avLst/>
                <a:gdLst>
                  <a:gd name="connsiteX0" fmla="*/ 0 w 10773507"/>
                  <a:gd name="connsiteY0" fmla="*/ 0 h 1359890"/>
                  <a:gd name="connsiteX1" fmla="*/ 5416061 w 10773507"/>
                  <a:gd name="connsiteY1" fmla="*/ 1359877 h 1359890"/>
                  <a:gd name="connsiteX2" fmla="*/ 10773507 w 10773507"/>
                  <a:gd name="connsiteY2" fmla="*/ 23447 h 1359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773507" h="1359890">
                    <a:moveTo>
                      <a:pt x="0" y="0"/>
                    </a:moveTo>
                    <a:cubicBezTo>
                      <a:pt x="1810238" y="677984"/>
                      <a:pt x="3620477" y="1355969"/>
                      <a:pt x="5416061" y="1359877"/>
                    </a:cubicBezTo>
                    <a:cubicBezTo>
                      <a:pt x="7211645" y="1363785"/>
                      <a:pt x="9427307" y="502139"/>
                      <a:pt x="10773507" y="23447"/>
                    </a:cubicBezTo>
                  </a:path>
                </a:pathLst>
              </a:custGeom>
              <a:noFill/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grpSp>
            <p:nvGrpSpPr>
              <p:cNvPr id="123" name="iS1îḓè">
                <a:extLst>
                  <a:ext uri="{FF2B5EF4-FFF2-40B4-BE49-F238E27FC236}">
                    <a16:creationId xmlns:a16="http://schemas.microsoft.com/office/drawing/2014/main" id="{567C0B89-67F7-4081-84FA-14A2073DDA7C}"/>
                  </a:ext>
                </a:extLst>
              </p:cNvPr>
              <p:cNvGrpSpPr/>
              <p:nvPr/>
            </p:nvGrpSpPr>
            <p:grpSpPr>
              <a:xfrm>
                <a:off x="7574030" y="3747979"/>
                <a:ext cx="643424" cy="643424"/>
                <a:chOff x="4728671" y="2185251"/>
                <a:chExt cx="775844" cy="775844"/>
              </a:xfrm>
            </p:grpSpPr>
            <p:sp>
              <p:nvSpPr>
                <p:cNvPr id="127" name="íšḷíḓé">
                  <a:extLst>
                    <a:ext uri="{FF2B5EF4-FFF2-40B4-BE49-F238E27FC236}">
                      <a16:creationId xmlns:a16="http://schemas.microsoft.com/office/drawing/2014/main" id="{ADAA2E40-821C-4056-B8CA-C82BE8DBA5CA}"/>
                    </a:ext>
                  </a:extLst>
                </p:cNvPr>
                <p:cNvSpPr/>
                <p:nvPr/>
              </p:nvSpPr>
              <p:spPr>
                <a:xfrm>
                  <a:off x="4728671" y="2185251"/>
                  <a:ext cx="775844" cy="775844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8" name="íṧ1íḑè">
                  <a:extLst>
                    <a:ext uri="{FF2B5EF4-FFF2-40B4-BE49-F238E27FC236}">
                      <a16:creationId xmlns:a16="http://schemas.microsoft.com/office/drawing/2014/main" id="{8D47FEEB-2297-41CF-BFDD-4A2309F5AD05}"/>
                    </a:ext>
                  </a:extLst>
                </p:cNvPr>
                <p:cNvSpPr/>
                <p:nvPr/>
              </p:nvSpPr>
              <p:spPr bwMode="auto">
                <a:xfrm>
                  <a:off x="4926447" y="2390028"/>
                  <a:ext cx="380293" cy="366291"/>
                </a:xfrm>
                <a:custGeom>
                  <a:avLst/>
                  <a:gdLst>
                    <a:gd name="T0" fmla="*/ 4096 w 6827"/>
                    <a:gd name="T1" fmla="*/ 4551 h 6827"/>
                    <a:gd name="T2" fmla="*/ 6258 w 6827"/>
                    <a:gd name="T3" fmla="*/ 4096 h 6827"/>
                    <a:gd name="T4" fmla="*/ 2348 w 6827"/>
                    <a:gd name="T5" fmla="*/ 4911 h 6827"/>
                    <a:gd name="T6" fmla="*/ 569 w 6827"/>
                    <a:gd name="T7" fmla="*/ 4551 h 6827"/>
                    <a:gd name="T8" fmla="*/ 569 w 6827"/>
                    <a:gd name="T9" fmla="*/ 3982 h 6827"/>
                    <a:gd name="T10" fmla="*/ 1707 w 6827"/>
                    <a:gd name="T11" fmla="*/ 2503 h 6827"/>
                    <a:gd name="T12" fmla="*/ 3868 w 6827"/>
                    <a:gd name="T13" fmla="*/ 2731 h 6827"/>
                    <a:gd name="T14" fmla="*/ 5827 w 6827"/>
                    <a:gd name="T15" fmla="*/ 2004 h 6827"/>
                    <a:gd name="T16" fmla="*/ 6258 w 6827"/>
                    <a:gd name="T17" fmla="*/ 1820 h 6827"/>
                    <a:gd name="T18" fmla="*/ 4779 w 6827"/>
                    <a:gd name="T19" fmla="*/ 0 h 6827"/>
                    <a:gd name="T20" fmla="*/ 2854 w 6827"/>
                    <a:gd name="T21" fmla="*/ 2381 h 6827"/>
                    <a:gd name="T22" fmla="*/ 1239 w 6827"/>
                    <a:gd name="T23" fmla="*/ 2257 h 6827"/>
                    <a:gd name="T24" fmla="*/ 569 w 6827"/>
                    <a:gd name="T25" fmla="*/ 2844 h 6827"/>
                    <a:gd name="T26" fmla="*/ 569 w 6827"/>
                    <a:gd name="T27" fmla="*/ 2276 h 6827"/>
                    <a:gd name="T28" fmla="*/ 569 w 6827"/>
                    <a:gd name="T29" fmla="*/ 1707 h 6827"/>
                    <a:gd name="T30" fmla="*/ 569 w 6827"/>
                    <a:gd name="T31" fmla="*/ 1138 h 6827"/>
                    <a:gd name="T32" fmla="*/ 569 w 6827"/>
                    <a:gd name="T33" fmla="*/ 569 h 6827"/>
                    <a:gd name="T34" fmla="*/ 341 w 6827"/>
                    <a:gd name="T35" fmla="*/ 0 h 6827"/>
                    <a:gd name="T36" fmla="*/ 114 w 6827"/>
                    <a:gd name="T37" fmla="*/ 569 h 6827"/>
                    <a:gd name="T38" fmla="*/ 114 w 6827"/>
                    <a:gd name="T39" fmla="*/ 1138 h 6827"/>
                    <a:gd name="T40" fmla="*/ 114 w 6827"/>
                    <a:gd name="T41" fmla="*/ 1707 h 6827"/>
                    <a:gd name="T42" fmla="*/ 114 w 6827"/>
                    <a:gd name="T43" fmla="*/ 2276 h 6827"/>
                    <a:gd name="T44" fmla="*/ 114 w 6827"/>
                    <a:gd name="T45" fmla="*/ 2844 h 6827"/>
                    <a:gd name="T46" fmla="*/ 114 w 6827"/>
                    <a:gd name="T47" fmla="*/ 3413 h 6827"/>
                    <a:gd name="T48" fmla="*/ 114 w 6827"/>
                    <a:gd name="T49" fmla="*/ 3982 h 6827"/>
                    <a:gd name="T50" fmla="*/ 114 w 6827"/>
                    <a:gd name="T51" fmla="*/ 4551 h 6827"/>
                    <a:gd name="T52" fmla="*/ 114 w 6827"/>
                    <a:gd name="T53" fmla="*/ 5120 h 6827"/>
                    <a:gd name="T54" fmla="*/ 114 w 6827"/>
                    <a:gd name="T55" fmla="*/ 5689 h 6827"/>
                    <a:gd name="T56" fmla="*/ 114 w 6827"/>
                    <a:gd name="T57" fmla="*/ 6258 h 6827"/>
                    <a:gd name="T58" fmla="*/ 683 w 6827"/>
                    <a:gd name="T59" fmla="*/ 6713 h 6827"/>
                    <a:gd name="T60" fmla="*/ 1252 w 6827"/>
                    <a:gd name="T61" fmla="*/ 6713 h 6827"/>
                    <a:gd name="T62" fmla="*/ 1820 w 6827"/>
                    <a:gd name="T63" fmla="*/ 6713 h 6827"/>
                    <a:gd name="T64" fmla="*/ 2389 w 6827"/>
                    <a:gd name="T65" fmla="*/ 6713 h 6827"/>
                    <a:gd name="T66" fmla="*/ 2958 w 6827"/>
                    <a:gd name="T67" fmla="*/ 6713 h 6827"/>
                    <a:gd name="T68" fmla="*/ 3527 w 6827"/>
                    <a:gd name="T69" fmla="*/ 6713 h 6827"/>
                    <a:gd name="T70" fmla="*/ 4096 w 6827"/>
                    <a:gd name="T71" fmla="*/ 6713 h 6827"/>
                    <a:gd name="T72" fmla="*/ 4665 w 6827"/>
                    <a:gd name="T73" fmla="*/ 6713 h 6827"/>
                    <a:gd name="T74" fmla="*/ 5234 w 6827"/>
                    <a:gd name="T75" fmla="*/ 6713 h 6827"/>
                    <a:gd name="T76" fmla="*/ 5803 w 6827"/>
                    <a:gd name="T77" fmla="*/ 6713 h 6827"/>
                    <a:gd name="T78" fmla="*/ 6371 w 6827"/>
                    <a:gd name="T79" fmla="*/ 6713 h 6827"/>
                    <a:gd name="T80" fmla="*/ 6827 w 6827"/>
                    <a:gd name="T81" fmla="*/ 6485 h 6827"/>
                    <a:gd name="T82" fmla="*/ 6371 w 6827"/>
                    <a:gd name="T83" fmla="*/ 6258 h 6827"/>
                    <a:gd name="T84" fmla="*/ 5803 w 6827"/>
                    <a:gd name="T85" fmla="*/ 6258 h 6827"/>
                    <a:gd name="T86" fmla="*/ 5234 w 6827"/>
                    <a:gd name="T87" fmla="*/ 6258 h 6827"/>
                    <a:gd name="T88" fmla="*/ 4665 w 6827"/>
                    <a:gd name="T89" fmla="*/ 6258 h 6827"/>
                    <a:gd name="T90" fmla="*/ 4096 w 6827"/>
                    <a:gd name="T91" fmla="*/ 6258 h 6827"/>
                    <a:gd name="T92" fmla="*/ 3527 w 6827"/>
                    <a:gd name="T93" fmla="*/ 6258 h 6827"/>
                    <a:gd name="T94" fmla="*/ 2958 w 6827"/>
                    <a:gd name="T95" fmla="*/ 6258 h 6827"/>
                    <a:gd name="T96" fmla="*/ 2389 w 6827"/>
                    <a:gd name="T97" fmla="*/ 6258 h 6827"/>
                    <a:gd name="T98" fmla="*/ 1820 w 6827"/>
                    <a:gd name="T99" fmla="*/ 6258 h 6827"/>
                    <a:gd name="T100" fmla="*/ 1252 w 6827"/>
                    <a:gd name="T101" fmla="*/ 6258 h 6827"/>
                    <a:gd name="T102" fmla="*/ 683 w 6827"/>
                    <a:gd name="T103" fmla="*/ 6258 h 68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6827" h="6827">
                      <a:moveTo>
                        <a:pt x="1263" y="5234"/>
                      </a:moveTo>
                      <a:cubicBezTo>
                        <a:pt x="1316" y="5493"/>
                        <a:pt x="1546" y="5689"/>
                        <a:pt x="1820" y="5689"/>
                      </a:cubicBezTo>
                      <a:cubicBezTo>
                        <a:pt x="2114" y="5689"/>
                        <a:pt x="2354" y="5464"/>
                        <a:pt x="2383" y="5178"/>
                      </a:cubicBezTo>
                      <a:lnTo>
                        <a:pt x="3568" y="4191"/>
                      </a:lnTo>
                      <a:cubicBezTo>
                        <a:pt x="3652" y="4401"/>
                        <a:pt x="3856" y="4551"/>
                        <a:pt x="4096" y="4551"/>
                      </a:cubicBezTo>
                      <a:cubicBezTo>
                        <a:pt x="4348" y="4551"/>
                        <a:pt x="4560" y="4385"/>
                        <a:pt x="4635" y="4157"/>
                      </a:cubicBezTo>
                      <a:lnTo>
                        <a:pt x="5696" y="4736"/>
                      </a:lnTo>
                      <a:cubicBezTo>
                        <a:pt x="5732" y="5016"/>
                        <a:pt x="5969" y="5234"/>
                        <a:pt x="6258" y="5234"/>
                      </a:cubicBezTo>
                      <a:cubicBezTo>
                        <a:pt x="6571" y="5234"/>
                        <a:pt x="6827" y="4979"/>
                        <a:pt x="6827" y="4665"/>
                      </a:cubicBezTo>
                      <a:cubicBezTo>
                        <a:pt x="6827" y="4351"/>
                        <a:pt x="6571" y="4096"/>
                        <a:pt x="6258" y="4096"/>
                      </a:cubicBezTo>
                      <a:cubicBezTo>
                        <a:pt x="6006" y="4096"/>
                        <a:pt x="5794" y="4262"/>
                        <a:pt x="5719" y="4490"/>
                      </a:cubicBezTo>
                      <a:lnTo>
                        <a:pt x="4658" y="3911"/>
                      </a:lnTo>
                      <a:cubicBezTo>
                        <a:pt x="4622" y="3631"/>
                        <a:pt x="4385" y="3413"/>
                        <a:pt x="4096" y="3413"/>
                      </a:cubicBezTo>
                      <a:cubicBezTo>
                        <a:pt x="3802" y="3413"/>
                        <a:pt x="3563" y="3638"/>
                        <a:pt x="3533" y="3924"/>
                      </a:cubicBezTo>
                      <a:lnTo>
                        <a:pt x="2348" y="4911"/>
                      </a:lnTo>
                      <a:cubicBezTo>
                        <a:pt x="2265" y="4701"/>
                        <a:pt x="2060" y="4551"/>
                        <a:pt x="1820" y="4551"/>
                      </a:cubicBezTo>
                      <a:cubicBezTo>
                        <a:pt x="1546" y="4551"/>
                        <a:pt x="1316" y="4747"/>
                        <a:pt x="1263" y="5006"/>
                      </a:cubicBezTo>
                      <a:lnTo>
                        <a:pt x="455" y="5006"/>
                      </a:lnTo>
                      <a:lnTo>
                        <a:pt x="455" y="4551"/>
                      </a:lnTo>
                      <a:lnTo>
                        <a:pt x="569" y="4551"/>
                      </a:lnTo>
                      <a:cubicBezTo>
                        <a:pt x="632" y="4551"/>
                        <a:pt x="683" y="4500"/>
                        <a:pt x="683" y="4437"/>
                      </a:cubicBezTo>
                      <a:cubicBezTo>
                        <a:pt x="683" y="4374"/>
                        <a:pt x="632" y="4324"/>
                        <a:pt x="569" y="4324"/>
                      </a:cubicBezTo>
                      <a:lnTo>
                        <a:pt x="455" y="4324"/>
                      </a:lnTo>
                      <a:lnTo>
                        <a:pt x="455" y="3982"/>
                      </a:lnTo>
                      <a:lnTo>
                        <a:pt x="569" y="3982"/>
                      </a:lnTo>
                      <a:cubicBezTo>
                        <a:pt x="632" y="3982"/>
                        <a:pt x="683" y="3931"/>
                        <a:pt x="683" y="3868"/>
                      </a:cubicBezTo>
                      <a:cubicBezTo>
                        <a:pt x="683" y="3806"/>
                        <a:pt x="632" y="3755"/>
                        <a:pt x="569" y="3755"/>
                      </a:cubicBezTo>
                      <a:lnTo>
                        <a:pt x="480" y="3755"/>
                      </a:lnTo>
                      <a:lnTo>
                        <a:pt x="1407" y="2416"/>
                      </a:lnTo>
                      <a:cubicBezTo>
                        <a:pt x="1494" y="2470"/>
                        <a:pt x="1596" y="2503"/>
                        <a:pt x="1707" y="2503"/>
                      </a:cubicBezTo>
                      <a:cubicBezTo>
                        <a:pt x="1888" y="2503"/>
                        <a:pt x="2048" y="2416"/>
                        <a:pt x="2152" y="2284"/>
                      </a:cubicBezTo>
                      <a:lnTo>
                        <a:pt x="2752" y="2584"/>
                      </a:lnTo>
                      <a:cubicBezTo>
                        <a:pt x="2740" y="2631"/>
                        <a:pt x="2731" y="2680"/>
                        <a:pt x="2731" y="2731"/>
                      </a:cubicBezTo>
                      <a:cubicBezTo>
                        <a:pt x="2731" y="3044"/>
                        <a:pt x="2986" y="3300"/>
                        <a:pt x="3300" y="3300"/>
                      </a:cubicBezTo>
                      <a:cubicBezTo>
                        <a:pt x="3613" y="3300"/>
                        <a:pt x="3868" y="3044"/>
                        <a:pt x="3868" y="2731"/>
                      </a:cubicBezTo>
                      <a:cubicBezTo>
                        <a:pt x="3868" y="2608"/>
                        <a:pt x="3829" y="2496"/>
                        <a:pt x="3763" y="2403"/>
                      </a:cubicBezTo>
                      <a:lnTo>
                        <a:pt x="4488" y="1055"/>
                      </a:lnTo>
                      <a:cubicBezTo>
                        <a:pt x="4574" y="1107"/>
                        <a:pt x="4672" y="1138"/>
                        <a:pt x="4779" y="1138"/>
                      </a:cubicBezTo>
                      <a:cubicBezTo>
                        <a:pt x="4891" y="1138"/>
                        <a:pt x="4995" y="1104"/>
                        <a:pt x="5083" y="1048"/>
                      </a:cubicBezTo>
                      <a:lnTo>
                        <a:pt x="5827" y="2004"/>
                      </a:lnTo>
                      <a:cubicBezTo>
                        <a:pt x="5829" y="2007"/>
                        <a:pt x="5833" y="2009"/>
                        <a:pt x="5836" y="2011"/>
                      </a:cubicBezTo>
                      <a:cubicBezTo>
                        <a:pt x="5745" y="2112"/>
                        <a:pt x="5689" y="2244"/>
                        <a:pt x="5689" y="2389"/>
                      </a:cubicBezTo>
                      <a:cubicBezTo>
                        <a:pt x="5689" y="2703"/>
                        <a:pt x="5944" y="2958"/>
                        <a:pt x="6258" y="2958"/>
                      </a:cubicBezTo>
                      <a:cubicBezTo>
                        <a:pt x="6571" y="2958"/>
                        <a:pt x="6827" y="2703"/>
                        <a:pt x="6827" y="2389"/>
                      </a:cubicBezTo>
                      <a:cubicBezTo>
                        <a:pt x="6827" y="2076"/>
                        <a:pt x="6571" y="1820"/>
                        <a:pt x="6258" y="1820"/>
                      </a:cubicBezTo>
                      <a:cubicBezTo>
                        <a:pt x="6170" y="1820"/>
                        <a:pt x="6087" y="1842"/>
                        <a:pt x="6013" y="1878"/>
                      </a:cubicBezTo>
                      <a:cubicBezTo>
                        <a:pt x="6010" y="1874"/>
                        <a:pt x="6010" y="1869"/>
                        <a:pt x="6006" y="1864"/>
                      </a:cubicBezTo>
                      <a:lnTo>
                        <a:pt x="5248" y="890"/>
                      </a:lnTo>
                      <a:cubicBezTo>
                        <a:pt x="5311" y="798"/>
                        <a:pt x="5348" y="688"/>
                        <a:pt x="5348" y="569"/>
                      </a:cubicBezTo>
                      <a:cubicBezTo>
                        <a:pt x="5348" y="255"/>
                        <a:pt x="5092" y="0"/>
                        <a:pt x="4779" y="0"/>
                      </a:cubicBezTo>
                      <a:cubicBezTo>
                        <a:pt x="4465" y="0"/>
                        <a:pt x="4210" y="255"/>
                        <a:pt x="4210" y="569"/>
                      </a:cubicBezTo>
                      <a:cubicBezTo>
                        <a:pt x="4210" y="691"/>
                        <a:pt x="4249" y="804"/>
                        <a:pt x="4315" y="897"/>
                      </a:cubicBezTo>
                      <a:lnTo>
                        <a:pt x="3590" y="2244"/>
                      </a:lnTo>
                      <a:cubicBezTo>
                        <a:pt x="3505" y="2193"/>
                        <a:pt x="3406" y="2162"/>
                        <a:pt x="3300" y="2162"/>
                      </a:cubicBezTo>
                      <a:cubicBezTo>
                        <a:pt x="3118" y="2162"/>
                        <a:pt x="2959" y="2248"/>
                        <a:pt x="2854" y="2381"/>
                      </a:cubicBezTo>
                      <a:lnTo>
                        <a:pt x="2254" y="2081"/>
                      </a:lnTo>
                      <a:cubicBezTo>
                        <a:pt x="2267" y="2034"/>
                        <a:pt x="2276" y="1985"/>
                        <a:pt x="2276" y="1934"/>
                      </a:cubicBezTo>
                      <a:cubicBezTo>
                        <a:pt x="2276" y="1621"/>
                        <a:pt x="2020" y="1365"/>
                        <a:pt x="1707" y="1365"/>
                      </a:cubicBezTo>
                      <a:cubicBezTo>
                        <a:pt x="1393" y="1365"/>
                        <a:pt x="1138" y="1621"/>
                        <a:pt x="1138" y="1934"/>
                      </a:cubicBezTo>
                      <a:cubicBezTo>
                        <a:pt x="1138" y="2054"/>
                        <a:pt x="1176" y="2166"/>
                        <a:pt x="1239" y="2257"/>
                      </a:cubicBezTo>
                      <a:lnTo>
                        <a:pt x="593" y="3191"/>
                      </a:lnTo>
                      <a:cubicBezTo>
                        <a:pt x="585" y="3189"/>
                        <a:pt x="578" y="3186"/>
                        <a:pt x="569" y="3186"/>
                      </a:cubicBezTo>
                      <a:lnTo>
                        <a:pt x="455" y="3186"/>
                      </a:lnTo>
                      <a:lnTo>
                        <a:pt x="455" y="2844"/>
                      </a:lnTo>
                      <a:lnTo>
                        <a:pt x="569" y="2844"/>
                      </a:lnTo>
                      <a:cubicBezTo>
                        <a:pt x="632" y="2844"/>
                        <a:pt x="683" y="2794"/>
                        <a:pt x="683" y="2731"/>
                      </a:cubicBezTo>
                      <a:cubicBezTo>
                        <a:pt x="683" y="2668"/>
                        <a:pt x="632" y="2617"/>
                        <a:pt x="569" y="2617"/>
                      </a:cubicBezTo>
                      <a:lnTo>
                        <a:pt x="455" y="2617"/>
                      </a:lnTo>
                      <a:lnTo>
                        <a:pt x="455" y="2276"/>
                      </a:lnTo>
                      <a:lnTo>
                        <a:pt x="569" y="2276"/>
                      </a:lnTo>
                      <a:cubicBezTo>
                        <a:pt x="632" y="2276"/>
                        <a:pt x="683" y="2225"/>
                        <a:pt x="683" y="2162"/>
                      </a:cubicBezTo>
                      <a:cubicBezTo>
                        <a:pt x="683" y="2099"/>
                        <a:pt x="632" y="2048"/>
                        <a:pt x="569" y="2048"/>
                      </a:cubicBezTo>
                      <a:lnTo>
                        <a:pt x="455" y="2048"/>
                      </a:lnTo>
                      <a:lnTo>
                        <a:pt x="455" y="1707"/>
                      </a:lnTo>
                      <a:lnTo>
                        <a:pt x="569" y="1707"/>
                      </a:lnTo>
                      <a:cubicBezTo>
                        <a:pt x="632" y="1707"/>
                        <a:pt x="683" y="1656"/>
                        <a:pt x="683" y="1593"/>
                      </a:cubicBezTo>
                      <a:cubicBezTo>
                        <a:pt x="683" y="1530"/>
                        <a:pt x="632" y="1479"/>
                        <a:pt x="569" y="1479"/>
                      </a:cubicBezTo>
                      <a:lnTo>
                        <a:pt x="455" y="1479"/>
                      </a:lnTo>
                      <a:lnTo>
                        <a:pt x="455" y="1138"/>
                      </a:lnTo>
                      <a:lnTo>
                        <a:pt x="569" y="1138"/>
                      </a:lnTo>
                      <a:cubicBezTo>
                        <a:pt x="632" y="1138"/>
                        <a:pt x="683" y="1087"/>
                        <a:pt x="683" y="1024"/>
                      </a:cubicBezTo>
                      <a:cubicBezTo>
                        <a:pt x="683" y="961"/>
                        <a:pt x="632" y="910"/>
                        <a:pt x="569" y="910"/>
                      </a:cubicBezTo>
                      <a:lnTo>
                        <a:pt x="455" y="910"/>
                      </a:lnTo>
                      <a:lnTo>
                        <a:pt x="455" y="569"/>
                      </a:lnTo>
                      <a:lnTo>
                        <a:pt x="569" y="569"/>
                      </a:lnTo>
                      <a:cubicBezTo>
                        <a:pt x="632" y="569"/>
                        <a:pt x="683" y="518"/>
                        <a:pt x="683" y="455"/>
                      </a:cubicBezTo>
                      <a:cubicBezTo>
                        <a:pt x="683" y="392"/>
                        <a:pt x="632" y="341"/>
                        <a:pt x="569" y="341"/>
                      </a:cubicBezTo>
                      <a:lnTo>
                        <a:pt x="455" y="341"/>
                      </a:lnTo>
                      <a:lnTo>
                        <a:pt x="455" y="114"/>
                      </a:lnTo>
                      <a:cubicBezTo>
                        <a:pt x="455" y="51"/>
                        <a:pt x="404" y="0"/>
                        <a:pt x="341" y="0"/>
                      </a:cubicBezTo>
                      <a:cubicBezTo>
                        <a:pt x="278" y="0"/>
                        <a:pt x="228" y="51"/>
                        <a:pt x="228" y="114"/>
                      </a:cubicBezTo>
                      <a:lnTo>
                        <a:pt x="228" y="341"/>
                      </a:lnTo>
                      <a:lnTo>
                        <a:pt x="114" y="341"/>
                      </a:lnTo>
                      <a:cubicBezTo>
                        <a:pt x="51" y="341"/>
                        <a:pt x="0" y="392"/>
                        <a:pt x="0" y="455"/>
                      </a:cubicBezTo>
                      <a:cubicBezTo>
                        <a:pt x="0" y="518"/>
                        <a:pt x="51" y="569"/>
                        <a:pt x="114" y="569"/>
                      </a:cubicBezTo>
                      <a:lnTo>
                        <a:pt x="228" y="569"/>
                      </a:lnTo>
                      <a:lnTo>
                        <a:pt x="228" y="910"/>
                      </a:lnTo>
                      <a:lnTo>
                        <a:pt x="114" y="910"/>
                      </a:lnTo>
                      <a:cubicBezTo>
                        <a:pt x="51" y="910"/>
                        <a:pt x="0" y="961"/>
                        <a:pt x="0" y="1024"/>
                      </a:cubicBezTo>
                      <a:cubicBezTo>
                        <a:pt x="0" y="1087"/>
                        <a:pt x="51" y="1138"/>
                        <a:pt x="114" y="1138"/>
                      </a:cubicBezTo>
                      <a:lnTo>
                        <a:pt x="228" y="1138"/>
                      </a:lnTo>
                      <a:lnTo>
                        <a:pt x="228" y="1479"/>
                      </a:lnTo>
                      <a:lnTo>
                        <a:pt x="114" y="1479"/>
                      </a:lnTo>
                      <a:cubicBezTo>
                        <a:pt x="51" y="1479"/>
                        <a:pt x="0" y="1530"/>
                        <a:pt x="0" y="1593"/>
                      </a:cubicBezTo>
                      <a:cubicBezTo>
                        <a:pt x="0" y="1656"/>
                        <a:pt x="51" y="1707"/>
                        <a:pt x="114" y="1707"/>
                      </a:cubicBezTo>
                      <a:lnTo>
                        <a:pt x="228" y="1707"/>
                      </a:lnTo>
                      <a:lnTo>
                        <a:pt x="228" y="2048"/>
                      </a:lnTo>
                      <a:lnTo>
                        <a:pt x="114" y="2048"/>
                      </a:lnTo>
                      <a:cubicBezTo>
                        <a:pt x="51" y="2048"/>
                        <a:pt x="0" y="2099"/>
                        <a:pt x="0" y="2162"/>
                      </a:cubicBezTo>
                      <a:cubicBezTo>
                        <a:pt x="0" y="2225"/>
                        <a:pt x="51" y="2276"/>
                        <a:pt x="114" y="2276"/>
                      </a:cubicBezTo>
                      <a:lnTo>
                        <a:pt x="228" y="2276"/>
                      </a:lnTo>
                      <a:lnTo>
                        <a:pt x="228" y="2617"/>
                      </a:lnTo>
                      <a:lnTo>
                        <a:pt x="114" y="2617"/>
                      </a:lnTo>
                      <a:cubicBezTo>
                        <a:pt x="51" y="2617"/>
                        <a:pt x="0" y="2668"/>
                        <a:pt x="0" y="2731"/>
                      </a:cubicBezTo>
                      <a:cubicBezTo>
                        <a:pt x="0" y="2794"/>
                        <a:pt x="51" y="2844"/>
                        <a:pt x="114" y="2844"/>
                      </a:cubicBezTo>
                      <a:lnTo>
                        <a:pt x="228" y="2844"/>
                      </a:lnTo>
                      <a:lnTo>
                        <a:pt x="228" y="3186"/>
                      </a:lnTo>
                      <a:lnTo>
                        <a:pt x="114" y="3186"/>
                      </a:lnTo>
                      <a:cubicBezTo>
                        <a:pt x="51" y="3186"/>
                        <a:pt x="0" y="3237"/>
                        <a:pt x="0" y="3300"/>
                      </a:cubicBezTo>
                      <a:cubicBezTo>
                        <a:pt x="0" y="3362"/>
                        <a:pt x="51" y="3413"/>
                        <a:pt x="114" y="3413"/>
                      </a:cubicBezTo>
                      <a:lnTo>
                        <a:pt x="228" y="3413"/>
                      </a:lnTo>
                      <a:lnTo>
                        <a:pt x="228" y="3755"/>
                      </a:lnTo>
                      <a:lnTo>
                        <a:pt x="114" y="3755"/>
                      </a:lnTo>
                      <a:cubicBezTo>
                        <a:pt x="51" y="3755"/>
                        <a:pt x="0" y="3806"/>
                        <a:pt x="0" y="3868"/>
                      </a:cubicBezTo>
                      <a:cubicBezTo>
                        <a:pt x="0" y="3931"/>
                        <a:pt x="51" y="3982"/>
                        <a:pt x="114" y="3982"/>
                      </a:cubicBezTo>
                      <a:lnTo>
                        <a:pt x="228" y="3982"/>
                      </a:lnTo>
                      <a:lnTo>
                        <a:pt x="228" y="4324"/>
                      </a:lnTo>
                      <a:lnTo>
                        <a:pt x="114" y="4324"/>
                      </a:lnTo>
                      <a:cubicBezTo>
                        <a:pt x="51" y="4324"/>
                        <a:pt x="0" y="4374"/>
                        <a:pt x="0" y="4437"/>
                      </a:cubicBezTo>
                      <a:cubicBezTo>
                        <a:pt x="0" y="4500"/>
                        <a:pt x="51" y="4551"/>
                        <a:pt x="114" y="4551"/>
                      </a:cubicBezTo>
                      <a:lnTo>
                        <a:pt x="228" y="4551"/>
                      </a:lnTo>
                      <a:lnTo>
                        <a:pt x="228" y="4892"/>
                      </a:lnTo>
                      <a:lnTo>
                        <a:pt x="114" y="4892"/>
                      </a:lnTo>
                      <a:cubicBezTo>
                        <a:pt x="51" y="4892"/>
                        <a:pt x="0" y="4943"/>
                        <a:pt x="0" y="5006"/>
                      </a:cubicBezTo>
                      <a:cubicBezTo>
                        <a:pt x="0" y="5069"/>
                        <a:pt x="51" y="5120"/>
                        <a:pt x="114" y="5120"/>
                      </a:cubicBezTo>
                      <a:lnTo>
                        <a:pt x="228" y="5120"/>
                      </a:lnTo>
                      <a:lnTo>
                        <a:pt x="228" y="5461"/>
                      </a:lnTo>
                      <a:lnTo>
                        <a:pt x="114" y="5461"/>
                      </a:lnTo>
                      <a:cubicBezTo>
                        <a:pt x="51" y="5461"/>
                        <a:pt x="0" y="5512"/>
                        <a:pt x="0" y="5575"/>
                      </a:cubicBezTo>
                      <a:cubicBezTo>
                        <a:pt x="0" y="5638"/>
                        <a:pt x="51" y="5689"/>
                        <a:pt x="114" y="5689"/>
                      </a:cubicBezTo>
                      <a:lnTo>
                        <a:pt x="228" y="5689"/>
                      </a:lnTo>
                      <a:lnTo>
                        <a:pt x="228" y="6030"/>
                      </a:lnTo>
                      <a:lnTo>
                        <a:pt x="114" y="6030"/>
                      </a:lnTo>
                      <a:cubicBezTo>
                        <a:pt x="51" y="6030"/>
                        <a:pt x="0" y="6081"/>
                        <a:pt x="0" y="6144"/>
                      </a:cubicBezTo>
                      <a:cubicBezTo>
                        <a:pt x="0" y="6207"/>
                        <a:pt x="51" y="6258"/>
                        <a:pt x="114" y="6258"/>
                      </a:cubicBezTo>
                      <a:lnTo>
                        <a:pt x="228" y="6258"/>
                      </a:lnTo>
                      <a:lnTo>
                        <a:pt x="228" y="6485"/>
                      </a:lnTo>
                      <a:cubicBezTo>
                        <a:pt x="228" y="6548"/>
                        <a:pt x="278" y="6599"/>
                        <a:pt x="341" y="6599"/>
                      </a:cubicBezTo>
                      <a:lnTo>
                        <a:pt x="683" y="6599"/>
                      </a:lnTo>
                      <a:lnTo>
                        <a:pt x="683" y="6713"/>
                      </a:lnTo>
                      <a:cubicBezTo>
                        <a:pt x="683" y="6776"/>
                        <a:pt x="734" y="6827"/>
                        <a:pt x="796" y="6827"/>
                      </a:cubicBezTo>
                      <a:cubicBezTo>
                        <a:pt x="859" y="6827"/>
                        <a:pt x="910" y="6776"/>
                        <a:pt x="910" y="6713"/>
                      </a:cubicBezTo>
                      <a:lnTo>
                        <a:pt x="910" y="6599"/>
                      </a:lnTo>
                      <a:lnTo>
                        <a:pt x="1252" y="6599"/>
                      </a:lnTo>
                      <a:lnTo>
                        <a:pt x="1252" y="6713"/>
                      </a:lnTo>
                      <a:cubicBezTo>
                        <a:pt x="1252" y="6776"/>
                        <a:pt x="1302" y="6827"/>
                        <a:pt x="1365" y="6827"/>
                      </a:cubicBezTo>
                      <a:cubicBezTo>
                        <a:pt x="1428" y="6827"/>
                        <a:pt x="1479" y="6776"/>
                        <a:pt x="1479" y="6713"/>
                      </a:cubicBezTo>
                      <a:lnTo>
                        <a:pt x="1479" y="6599"/>
                      </a:lnTo>
                      <a:lnTo>
                        <a:pt x="1820" y="6599"/>
                      </a:lnTo>
                      <a:lnTo>
                        <a:pt x="1820" y="6713"/>
                      </a:lnTo>
                      <a:cubicBezTo>
                        <a:pt x="1820" y="6776"/>
                        <a:pt x="1871" y="6827"/>
                        <a:pt x="1934" y="6827"/>
                      </a:cubicBezTo>
                      <a:cubicBezTo>
                        <a:pt x="1997" y="6827"/>
                        <a:pt x="2048" y="6776"/>
                        <a:pt x="2048" y="6713"/>
                      </a:cubicBezTo>
                      <a:lnTo>
                        <a:pt x="2048" y="6599"/>
                      </a:lnTo>
                      <a:lnTo>
                        <a:pt x="2389" y="6599"/>
                      </a:lnTo>
                      <a:lnTo>
                        <a:pt x="2389" y="6713"/>
                      </a:lnTo>
                      <a:cubicBezTo>
                        <a:pt x="2389" y="6776"/>
                        <a:pt x="2440" y="6827"/>
                        <a:pt x="2503" y="6827"/>
                      </a:cubicBezTo>
                      <a:cubicBezTo>
                        <a:pt x="2566" y="6827"/>
                        <a:pt x="2617" y="6776"/>
                        <a:pt x="2617" y="6713"/>
                      </a:cubicBezTo>
                      <a:lnTo>
                        <a:pt x="2617" y="6599"/>
                      </a:lnTo>
                      <a:lnTo>
                        <a:pt x="2958" y="6599"/>
                      </a:lnTo>
                      <a:lnTo>
                        <a:pt x="2958" y="6713"/>
                      </a:lnTo>
                      <a:cubicBezTo>
                        <a:pt x="2958" y="6776"/>
                        <a:pt x="3009" y="6827"/>
                        <a:pt x="3072" y="6827"/>
                      </a:cubicBezTo>
                      <a:cubicBezTo>
                        <a:pt x="3135" y="6827"/>
                        <a:pt x="3186" y="6776"/>
                        <a:pt x="3186" y="6713"/>
                      </a:cubicBezTo>
                      <a:lnTo>
                        <a:pt x="3186" y="6599"/>
                      </a:lnTo>
                      <a:lnTo>
                        <a:pt x="3527" y="6599"/>
                      </a:lnTo>
                      <a:lnTo>
                        <a:pt x="3527" y="6713"/>
                      </a:lnTo>
                      <a:cubicBezTo>
                        <a:pt x="3527" y="6776"/>
                        <a:pt x="3578" y="6827"/>
                        <a:pt x="3641" y="6827"/>
                      </a:cubicBezTo>
                      <a:cubicBezTo>
                        <a:pt x="3704" y="6827"/>
                        <a:pt x="3755" y="6776"/>
                        <a:pt x="3755" y="6713"/>
                      </a:cubicBezTo>
                      <a:lnTo>
                        <a:pt x="3755" y="6599"/>
                      </a:lnTo>
                      <a:lnTo>
                        <a:pt x="4096" y="6599"/>
                      </a:lnTo>
                      <a:lnTo>
                        <a:pt x="4096" y="6713"/>
                      </a:lnTo>
                      <a:cubicBezTo>
                        <a:pt x="4096" y="6776"/>
                        <a:pt x="4147" y="6827"/>
                        <a:pt x="4210" y="6827"/>
                      </a:cubicBezTo>
                      <a:cubicBezTo>
                        <a:pt x="4273" y="6827"/>
                        <a:pt x="4323" y="6776"/>
                        <a:pt x="4323" y="6713"/>
                      </a:cubicBezTo>
                      <a:lnTo>
                        <a:pt x="4323" y="6599"/>
                      </a:lnTo>
                      <a:lnTo>
                        <a:pt x="4665" y="6599"/>
                      </a:lnTo>
                      <a:lnTo>
                        <a:pt x="4665" y="6713"/>
                      </a:lnTo>
                      <a:cubicBezTo>
                        <a:pt x="4665" y="6776"/>
                        <a:pt x="4716" y="6827"/>
                        <a:pt x="4779" y="6827"/>
                      </a:cubicBezTo>
                      <a:cubicBezTo>
                        <a:pt x="4842" y="6827"/>
                        <a:pt x="4892" y="6776"/>
                        <a:pt x="4892" y="6713"/>
                      </a:cubicBezTo>
                      <a:lnTo>
                        <a:pt x="4892" y="6599"/>
                      </a:lnTo>
                      <a:lnTo>
                        <a:pt x="5234" y="6599"/>
                      </a:lnTo>
                      <a:lnTo>
                        <a:pt x="5234" y="6713"/>
                      </a:lnTo>
                      <a:cubicBezTo>
                        <a:pt x="5234" y="6776"/>
                        <a:pt x="5285" y="6827"/>
                        <a:pt x="5347" y="6827"/>
                      </a:cubicBezTo>
                      <a:cubicBezTo>
                        <a:pt x="5410" y="6827"/>
                        <a:pt x="5461" y="6776"/>
                        <a:pt x="5461" y="6713"/>
                      </a:cubicBezTo>
                      <a:lnTo>
                        <a:pt x="5461" y="6599"/>
                      </a:lnTo>
                      <a:lnTo>
                        <a:pt x="5803" y="6599"/>
                      </a:lnTo>
                      <a:lnTo>
                        <a:pt x="5803" y="6713"/>
                      </a:lnTo>
                      <a:cubicBezTo>
                        <a:pt x="5803" y="6776"/>
                        <a:pt x="5853" y="6827"/>
                        <a:pt x="5916" y="6827"/>
                      </a:cubicBezTo>
                      <a:cubicBezTo>
                        <a:pt x="5979" y="6827"/>
                        <a:pt x="6030" y="6776"/>
                        <a:pt x="6030" y="6713"/>
                      </a:cubicBezTo>
                      <a:lnTo>
                        <a:pt x="6030" y="6599"/>
                      </a:lnTo>
                      <a:lnTo>
                        <a:pt x="6371" y="6599"/>
                      </a:lnTo>
                      <a:lnTo>
                        <a:pt x="6371" y="6713"/>
                      </a:lnTo>
                      <a:cubicBezTo>
                        <a:pt x="6371" y="6776"/>
                        <a:pt x="6422" y="6827"/>
                        <a:pt x="6485" y="6827"/>
                      </a:cubicBezTo>
                      <a:cubicBezTo>
                        <a:pt x="6548" y="6827"/>
                        <a:pt x="6599" y="6776"/>
                        <a:pt x="6599" y="6713"/>
                      </a:cubicBezTo>
                      <a:lnTo>
                        <a:pt x="6599" y="6599"/>
                      </a:lnTo>
                      <a:lnTo>
                        <a:pt x="6713" y="6599"/>
                      </a:lnTo>
                      <a:cubicBezTo>
                        <a:pt x="6776" y="6599"/>
                        <a:pt x="6827" y="6548"/>
                        <a:pt x="6827" y="6485"/>
                      </a:cubicBezTo>
                      <a:cubicBezTo>
                        <a:pt x="6827" y="6422"/>
                        <a:pt x="6776" y="6372"/>
                        <a:pt x="6713" y="6372"/>
                      </a:cubicBezTo>
                      <a:lnTo>
                        <a:pt x="6599" y="6372"/>
                      </a:lnTo>
                      <a:lnTo>
                        <a:pt x="6599" y="6258"/>
                      </a:lnTo>
                      <a:cubicBezTo>
                        <a:pt x="6599" y="6195"/>
                        <a:pt x="6548" y="6144"/>
                        <a:pt x="6485" y="6144"/>
                      </a:cubicBezTo>
                      <a:cubicBezTo>
                        <a:pt x="6422" y="6144"/>
                        <a:pt x="6371" y="6195"/>
                        <a:pt x="6371" y="6258"/>
                      </a:cubicBezTo>
                      <a:lnTo>
                        <a:pt x="6371" y="6372"/>
                      </a:lnTo>
                      <a:lnTo>
                        <a:pt x="6030" y="6372"/>
                      </a:lnTo>
                      <a:lnTo>
                        <a:pt x="6030" y="6258"/>
                      </a:lnTo>
                      <a:cubicBezTo>
                        <a:pt x="6030" y="6195"/>
                        <a:pt x="5979" y="6144"/>
                        <a:pt x="5916" y="6144"/>
                      </a:cubicBezTo>
                      <a:cubicBezTo>
                        <a:pt x="5853" y="6144"/>
                        <a:pt x="5803" y="6195"/>
                        <a:pt x="5803" y="6258"/>
                      </a:cubicBezTo>
                      <a:lnTo>
                        <a:pt x="5803" y="6372"/>
                      </a:lnTo>
                      <a:lnTo>
                        <a:pt x="5461" y="6372"/>
                      </a:lnTo>
                      <a:lnTo>
                        <a:pt x="5461" y="6258"/>
                      </a:lnTo>
                      <a:cubicBezTo>
                        <a:pt x="5461" y="6195"/>
                        <a:pt x="5410" y="6144"/>
                        <a:pt x="5347" y="6144"/>
                      </a:cubicBezTo>
                      <a:cubicBezTo>
                        <a:pt x="5285" y="6144"/>
                        <a:pt x="5234" y="6195"/>
                        <a:pt x="5234" y="6258"/>
                      </a:cubicBezTo>
                      <a:lnTo>
                        <a:pt x="5234" y="6372"/>
                      </a:lnTo>
                      <a:lnTo>
                        <a:pt x="4892" y="6372"/>
                      </a:lnTo>
                      <a:lnTo>
                        <a:pt x="4892" y="6258"/>
                      </a:lnTo>
                      <a:cubicBezTo>
                        <a:pt x="4892" y="6195"/>
                        <a:pt x="4842" y="6144"/>
                        <a:pt x="4779" y="6144"/>
                      </a:cubicBezTo>
                      <a:cubicBezTo>
                        <a:pt x="4716" y="6144"/>
                        <a:pt x="4665" y="6195"/>
                        <a:pt x="4665" y="6258"/>
                      </a:cubicBezTo>
                      <a:lnTo>
                        <a:pt x="4665" y="6372"/>
                      </a:lnTo>
                      <a:lnTo>
                        <a:pt x="4323" y="6372"/>
                      </a:lnTo>
                      <a:lnTo>
                        <a:pt x="4323" y="6258"/>
                      </a:lnTo>
                      <a:cubicBezTo>
                        <a:pt x="4323" y="6195"/>
                        <a:pt x="4273" y="6144"/>
                        <a:pt x="4210" y="6144"/>
                      </a:cubicBezTo>
                      <a:cubicBezTo>
                        <a:pt x="4147" y="6144"/>
                        <a:pt x="4096" y="6195"/>
                        <a:pt x="4096" y="6258"/>
                      </a:cubicBezTo>
                      <a:lnTo>
                        <a:pt x="4096" y="6372"/>
                      </a:lnTo>
                      <a:lnTo>
                        <a:pt x="3755" y="6372"/>
                      </a:lnTo>
                      <a:lnTo>
                        <a:pt x="3755" y="6258"/>
                      </a:lnTo>
                      <a:cubicBezTo>
                        <a:pt x="3755" y="6195"/>
                        <a:pt x="3704" y="6144"/>
                        <a:pt x="3641" y="6144"/>
                      </a:cubicBezTo>
                      <a:cubicBezTo>
                        <a:pt x="3578" y="6144"/>
                        <a:pt x="3527" y="6195"/>
                        <a:pt x="3527" y="6258"/>
                      </a:cubicBezTo>
                      <a:lnTo>
                        <a:pt x="3527" y="6372"/>
                      </a:lnTo>
                      <a:lnTo>
                        <a:pt x="3186" y="6372"/>
                      </a:lnTo>
                      <a:lnTo>
                        <a:pt x="3186" y="6258"/>
                      </a:lnTo>
                      <a:cubicBezTo>
                        <a:pt x="3186" y="6195"/>
                        <a:pt x="3135" y="6144"/>
                        <a:pt x="3072" y="6144"/>
                      </a:cubicBezTo>
                      <a:cubicBezTo>
                        <a:pt x="3009" y="6144"/>
                        <a:pt x="2958" y="6195"/>
                        <a:pt x="2958" y="6258"/>
                      </a:cubicBezTo>
                      <a:lnTo>
                        <a:pt x="2958" y="6372"/>
                      </a:lnTo>
                      <a:lnTo>
                        <a:pt x="2617" y="6372"/>
                      </a:lnTo>
                      <a:lnTo>
                        <a:pt x="2617" y="6258"/>
                      </a:lnTo>
                      <a:cubicBezTo>
                        <a:pt x="2617" y="6195"/>
                        <a:pt x="2566" y="6144"/>
                        <a:pt x="2503" y="6144"/>
                      </a:cubicBezTo>
                      <a:cubicBezTo>
                        <a:pt x="2440" y="6144"/>
                        <a:pt x="2389" y="6195"/>
                        <a:pt x="2389" y="6258"/>
                      </a:cubicBezTo>
                      <a:lnTo>
                        <a:pt x="2389" y="6372"/>
                      </a:lnTo>
                      <a:lnTo>
                        <a:pt x="2048" y="6372"/>
                      </a:lnTo>
                      <a:lnTo>
                        <a:pt x="2048" y="6258"/>
                      </a:lnTo>
                      <a:cubicBezTo>
                        <a:pt x="2048" y="6195"/>
                        <a:pt x="1997" y="6144"/>
                        <a:pt x="1934" y="6144"/>
                      </a:cubicBezTo>
                      <a:cubicBezTo>
                        <a:pt x="1871" y="6144"/>
                        <a:pt x="1820" y="6195"/>
                        <a:pt x="1820" y="6258"/>
                      </a:cubicBezTo>
                      <a:lnTo>
                        <a:pt x="1820" y="6372"/>
                      </a:lnTo>
                      <a:lnTo>
                        <a:pt x="1479" y="6372"/>
                      </a:lnTo>
                      <a:lnTo>
                        <a:pt x="1479" y="6258"/>
                      </a:lnTo>
                      <a:cubicBezTo>
                        <a:pt x="1479" y="6195"/>
                        <a:pt x="1428" y="6144"/>
                        <a:pt x="1365" y="6144"/>
                      </a:cubicBezTo>
                      <a:cubicBezTo>
                        <a:pt x="1302" y="6144"/>
                        <a:pt x="1252" y="6195"/>
                        <a:pt x="1252" y="6258"/>
                      </a:cubicBezTo>
                      <a:lnTo>
                        <a:pt x="1252" y="6372"/>
                      </a:lnTo>
                      <a:lnTo>
                        <a:pt x="910" y="6372"/>
                      </a:lnTo>
                      <a:lnTo>
                        <a:pt x="910" y="6258"/>
                      </a:lnTo>
                      <a:cubicBezTo>
                        <a:pt x="910" y="6195"/>
                        <a:pt x="859" y="6144"/>
                        <a:pt x="796" y="6144"/>
                      </a:cubicBezTo>
                      <a:cubicBezTo>
                        <a:pt x="734" y="6144"/>
                        <a:pt x="683" y="6195"/>
                        <a:pt x="683" y="6258"/>
                      </a:cubicBezTo>
                      <a:lnTo>
                        <a:pt x="683" y="6372"/>
                      </a:lnTo>
                      <a:lnTo>
                        <a:pt x="455" y="6372"/>
                      </a:lnTo>
                      <a:lnTo>
                        <a:pt x="455" y="5234"/>
                      </a:lnTo>
                      <a:lnTo>
                        <a:pt x="1263" y="5234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24" name="iŝḷîḋe">
                <a:extLst>
                  <a:ext uri="{FF2B5EF4-FFF2-40B4-BE49-F238E27FC236}">
                    <a16:creationId xmlns:a16="http://schemas.microsoft.com/office/drawing/2014/main" id="{00567F19-0026-43DC-ADDF-46BE285A0EF2}"/>
                  </a:ext>
                </a:extLst>
              </p:cNvPr>
              <p:cNvGrpSpPr/>
              <p:nvPr/>
            </p:nvGrpSpPr>
            <p:grpSpPr>
              <a:xfrm>
                <a:off x="9253051" y="3747979"/>
                <a:ext cx="643424" cy="643424"/>
                <a:chOff x="3845274" y="2185251"/>
                <a:chExt cx="775844" cy="775844"/>
              </a:xfrm>
            </p:grpSpPr>
            <p:sp>
              <p:nvSpPr>
                <p:cNvPr id="125" name="is1iďe">
                  <a:extLst>
                    <a:ext uri="{FF2B5EF4-FFF2-40B4-BE49-F238E27FC236}">
                      <a16:creationId xmlns:a16="http://schemas.microsoft.com/office/drawing/2014/main" id="{CE5DDA3A-4BD3-4086-9FCA-11BA686332E2}"/>
                    </a:ext>
                  </a:extLst>
                </p:cNvPr>
                <p:cNvSpPr/>
                <p:nvPr/>
              </p:nvSpPr>
              <p:spPr>
                <a:xfrm>
                  <a:off x="3845274" y="2185251"/>
                  <a:ext cx="775844" cy="775844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6" name="íṡliḓe">
                  <a:extLst>
                    <a:ext uri="{FF2B5EF4-FFF2-40B4-BE49-F238E27FC236}">
                      <a16:creationId xmlns:a16="http://schemas.microsoft.com/office/drawing/2014/main" id="{014CF0DA-3B08-4B1C-81E8-2537B16FFAC2}"/>
                    </a:ext>
                  </a:extLst>
                </p:cNvPr>
                <p:cNvSpPr/>
                <p:nvPr/>
              </p:nvSpPr>
              <p:spPr bwMode="auto">
                <a:xfrm>
                  <a:off x="4043050" y="2390028"/>
                  <a:ext cx="380293" cy="366291"/>
                </a:xfrm>
                <a:custGeom>
                  <a:avLst/>
                  <a:gdLst>
                    <a:gd name="T0" fmla="*/ 3413 w 6827"/>
                    <a:gd name="T1" fmla="*/ 0 h 5912"/>
                    <a:gd name="T2" fmla="*/ 0 w 6827"/>
                    <a:gd name="T3" fmla="*/ 5912 h 5912"/>
                    <a:gd name="T4" fmla="*/ 6827 w 6827"/>
                    <a:gd name="T5" fmla="*/ 5912 h 5912"/>
                    <a:gd name="T6" fmla="*/ 3413 w 6827"/>
                    <a:gd name="T7" fmla="*/ 0 h 5912"/>
                    <a:gd name="T8" fmla="*/ 3413 w 6827"/>
                    <a:gd name="T9" fmla="*/ 972 h 5912"/>
                    <a:gd name="T10" fmla="*/ 4489 w 6827"/>
                    <a:gd name="T11" fmla="*/ 2835 h 5912"/>
                    <a:gd name="T12" fmla="*/ 2338 w 6827"/>
                    <a:gd name="T13" fmla="*/ 2835 h 5912"/>
                    <a:gd name="T14" fmla="*/ 3413 w 6827"/>
                    <a:gd name="T15" fmla="*/ 972 h 5912"/>
                    <a:gd name="T16" fmla="*/ 842 w 6827"/>
                    <a:gd name="T17" fmla="*/ 5426 h 5912"/>
                    <a:gd name="T18" fmla="*/ 1917 w 6827"/>
                    <a:gd name="T19" fmla="*/ 3564 h 5912"/>
                    <a:gd name="T20" fmla="*/ 2993 w 6827"/>
                    <a:gd name="T21" fmla="*/ 5426 h 5912"/>
                    <a:gd name="T22" fmla="*/ 842 w 6827"/>
                    <a:gd name="T23" fmla="*/ 5426 h 5912"/>
                    <a:gd name="T24" fmla="*/ 2338 w 6827"/>
                    <a:gd name="T25" fmla="*/ 3321 h 5912"/>
                    <a:gd name="T26" fmla="*/ 4489 w 6827"/>
                    <a:gd name="T27" fmla="*/ 3321 h 5912"/>
                    <a:gd name="T28" fmla="*/ 3413 w 6827"/>
                    <a:gd name="T29" fmla="*/ 5183 h 5912"/>
                    <a:gd name="T30" fmla="*/ 2338 w 6827"/>
                    <a:gd name="T31" fmla="*/ 3321 h 5912"/>
                    <a:gd name="T32" fmla="*/ 4910 w 6827"/>
                    <a:gd name="T33" fmla="*/ 3564 h 5912"/>
                    <a:gd name="T34" fmla="*/ 5985 w 6827"/>
                    <a:gd name="T35" fmla="*/ 5426 h 5912"/>
                    <a:gd name="T36" fmla="*/ 3834 w 6827"/>
                    <a:gd name="T37" fmla="*/ 5426 h 5912"/>
                    <a:gd name="T38" fmla="*/ 4910 w 6827"/>
                    <a:gd name="T39" fmla="*/ 3564 h 59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827" h="5912">
                      <a:moveTo>
                        <a:pt x="3413" y="0"/>
                      </a:moveTo>
                      <a:lnTo>
                        <a:pt x="0" y="5912"/>
                      </a:lnTo>
                      <a:lnTo>
                        <a:pt x="6827" y="5912"/>
                      </a:lnTo>
                      <a:lnTo>
                        <a:pt x="3413" y="0"/>
                      </a:lnTo>
                      <a:close/>
                      <a:moveTo>
                        <a:pt x="3413" y="972"/>
                      </a:moveTo>
                      <a:lnTo>
                        <a:pt x="4489" y="2835"/>
                      </a:lnTo>
                      <a:lnTo>
                        <a:pt x="2338" y="2835"/>
                      </a:lnTo>
                      <a:lnTo>
                        <a:pt x="3413" y="972"/>
                      </a:lnTo>
                      <a:close/>
                      <a:moveTo>
                        <a:pt x="842" y="5426"/>
                      </a:moveTo>
                      <a:lnTo>
                        <a:pt x="1917" y="3564"/>
                      </a:lnTo>
                      <a:lnTo>
                        <a:pt x="2993" y="5426"/>
                      </a:lnTo>
                      <a:lnTo>
                        <a:pt x="842" y="5426"/>
                      </a:lnTo>
                      <a:close/>
                      <a:moveTo>
                        <a:pt x="2338" y="3321"/>
                      </a:moveTo>
                      <a:lnTo>
                        <a:pt x="4489" y="3321"/>
                      </a:lnTo>
                      <a:lnTo>
                        <a:pt x="3413" y="5183"/>
                      </a:lnTo>
                      <a:lnTo>
                        <a:pt x="2338" y="3321"/>
                      </a:lnTo>
                      <a:close/>
                      <a:moveTo>
                        <a:pt x="4910" y="3564"/>
                      </a:moveTo>
                      <a:lnTo>
                        <a:pt x="5985" y="5426"/>
                      </a:lnTo>
                      <a:lnTo>
                        <a:pt x="3834" y="5426"/>
                      </a:lnTo>
                      <a:lnTo>
                        <a:pt x="4910" y="3564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</p:grpSp>
        <p:cxnSp>
          <p:nvCxnSpPr>
            <p:cNvPr id="107" name="直接连接符 10">
              <a:extLst>
                <a:ext uri="{FF2B5EF4-FFF2-40B4-BE49-F238E27FC236}">
                  <a16:creationId xmlns:a16="http://schemas.microsoft.com/office/drawing/2014/main" id="{9BA78DD3-A38E-420C-A2D5-378D1903F268}"/>
                </a:ext>
              </a:extLst>
            </p:cNvPr>
            <p:cNvCxnSpPr>
              <a:cxnSpLocks/>
              <a:endCxn id="122" idx="1"/>
            </p:cNvCxnSpPr>
            <p:nvPr/>
          </p:nvCxnSpPr>
          <p:spPr>
            <a:xfrm>
              <a:off x="8735252" y="3176157"/>
              <a:ext cx="1568" cy="1062369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îŝliďè">
              <a:extLst>
                <a:ext uri="{FF2B5EF4-FFF2-40B4-BE49-F238E27FC236}">
                  <a16:creationId xmlns:a16="http://schemas.microsoft.com/office/drawing/2014/main" id="{3B4670CA-38A3-432F-A8B6-B991A8508951}"/>
                </a:ext>
              </a:extLst>
            </p:cNvPr>
            <p:cNvSpPr txBox="1"/>
            <p:nvPr/>
          </p:nvSpPr>
          <p:spPr>
            <a:xfrm>
              <a:off x="3633381" y="1130300"/>
              <a:ext cx="6005920" cy="57449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25000"/>
              </a:pPr>
              <a:r>
                <a:rPr lang="en-US" sz="2000" b="1" dirty="0"/>
                <a:t>How these fake names generated</a:t>
              </a:r>
            </a:p>
          </p:txBody>
        </p:sp>
        <p:sp>
          <p:nvSpPr>
            <p:cNvPr id="109" name="ísḻidê">
              <a:extLst>
                <a:ext uri="{FF2B5EF4-FFF2-40B4-BE49-F238E27FC236}">
                  <a16:creationId xmlns:a16="http://schemas.microsoft.com/office/drawing/2014/main" id="{4139255E-B75E-4339-983E-014F407EC512}"/>
                </a:ext>
              </a:extLst>
            </p:cNvPr>
            <p:cNvSpPr txBox="1"/>
            <p:nvPr/>
          </p:nvSpPr>
          <p:spPr>
            <a:xfrm>
              <a:off x="3633380" y="1704795"/>
              <a:ext cx="6005920" cy="8098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buSzPct val="25000"/>
              </a:pPr>
              <a:r>
                <a:rPr lang="en-US" sz="1200" dirty="0"/>
                <a:t>If they take 36 characters (26 letters and 10 numbers) as substitutes, then a 5-letter word will generate thousands of deformed words.</a:t>
              </a:r>
            </a:p>
          </p:txBody>
        </p:sp>
        <p:sp>
          <p:nvSpPr>
            <p:cNvPr id="110" name="ïṣľïdê">
              <a:extLst>
                <a:ext uri="{FF2B5EF4-FFF2-40B4-BE49-F238E27FC236}">
                  <a16:creationId xmlns:a16="http://schemas.microsoft.com/office/drawing/2014/main" id="{B212E10E-8B04-4476-A0EA-639C0E7A09D7}"/>
                </a:ext>
              </a:extLst>
            </p:cNvPr>
            <p:cNvSpPr/>
            <p:nvPr/>
          </p:nvSpPr>
          <p:spPr bwMode="auto">
            <a:xfrm>
              <a:off x="3351250" y="5347003"/>
              <a:ext cx="2216150" cy="780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kern="0" dirty="0">
                  <a:latin typeface="Calibri" panose="020F0502020204030204" pitchFamily="34" charset="0"/>
                  <a:ea typeface="LinLibertineT"/>
                </a:rPr>
                <a:t>I</a:t>
              </a:r>
              <a:r>
                <a:rPr lang="en-US" altLang="zh-CN" sz="1800" kern="0" dirty="0">
                  <a:effectLst/>
                  <a:latin typeface="Calibri" panose="020F0502020204030204" pitchFamily="34" charset="0"/>
                  <a:ea typeface="LinLibertineT"/>
                </a:rPr>
                <a:t>gnores common patterns in app naming</a:t>
              </a:r>
              <a:endParaRPr lang="en-US" altLang="zh-CN" sz="1100" dirty="0"/>
            </a:p>
          </p:txBody>
        </p:sp>
        <p:sp>
          <p:nvSpPr>
            <p:cNvPr id="111" name="ïsliḓé">
              <a:extLst>
                <a:ext uri="{FF2B5EF4-FFF2-40B4-BE49-F238E27FC236}">
                  <a16:creationId xmlns:a16="http://schemas.microsoft.com/office/drawing/2014/main" id="{61189174-8FD2-44D9-A16F-A69534A44545}"/>
                </a:ext>
              </a:extLst>
            </p:cNvPr>
            <p:cNvSpPr txBox="1"/>
            <p:nvPr/>
          </p:nvSpPr>
          <p:spPr bwMode="auto">
            <a:xfrm>
              <a:off x="3351250" y="4959406"/>
              <a:ext cx="221615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Low Recall</a:t>
              </a:r>
            </a:p>
          </p:txBody>
        </p:sp>
        <p:sp>
          <p:nvSpPr>
            <p:cNvPr id="112" name="ïṧḻíďè">
              <a:extLst>
                <a:ext uri="{FF2B5EF4-FFF2-40B4-BE49-F238E27FC236}">
                  <a16:creationId xmlns:a16="http://schemas.microsoft.com/office/drawing/2014/main" id="{DF21A5AB-2302-4F37-A016-84036D68DD9F}"/>
                </a:ext>
              </a:extLst>
            </p:cNvPr>
            <p:cNvSpPr/>
            <p:nvPr/>
          </p:nvSpPr>
          <p:spPr bwMode="auto">
            <a:xfrm>
              <a:off x="905123" y="5353914"/>
              <a:ext cx="2216150" cy="780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800" kern="0" dirty="0">
                  <a:effectLst/>
                  <a:latin typeface="Calibri" panose="020F0502020204030204" pitchFamily="34" charset="0"/>
                  <a:ea typeface="LinLibertineT"/>
                </a:rPr>
                <a:t>Generates many types of name variations that are never matched</a:t>
              </a:r>
              <a:endParaRPr lang="en-US" altLang="zh-CN" sz="1100" dirty="0"/>
            </a:p>
          </p:txBody>
        </p:sp>
        <p:sp>
          <p:nvSpPr>
            <p:cNvPr id="113" name="í$lîḓê">
              <a:extLst>
                <a:ext uri="{FF2B5EF4-FFF2-40B4-BE49-F238E27FC236}">
                  <a16:creationId xmlns:a16="http://schemas.microsoft.com/office/drawing/2014/main" id="{D9E20385-A84D-48C3-971D-2FB5BA14365A}"/>
                </a:ext>
              </a:extLst>
            </p:cNvPr>
            <p:cNvSpPr txBox="1"/>
            <p:nvPr/>
          </p:nvSpPr>
          <p:spPr bwMode="auto">
            <a:xfrm>
              <a:off x="905123" y="4966317"/>
              <a:ext cx="221615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kern="0" dirty="0">
                  <a:effectLst/>
                  <a:ea typeface="LinLibertineT"/>
                </a:rPr>
                <a:t>Low Accuracy</a:t>
              </a:r>
              <a:endParaRPr lang="en-US" altLang="zh-CN" sz="1800" b="1" dirty="0"/>
            </a:p>
          </p:txBody>
        </p:sp>
        <p:sp>
          <p:nvSpPr>
            <p:cNvPr id="114" name="í$ḻîdè">
              <a:extLst>
                <a:ext uri="{FF2B5EF4-FFF2-40B4-BE49-F238E27FC236}">
                  <a16:creationId xmlns:a16="http://schemas.microsoft.com/office/drawing/2014/main" id="{09322E1D-151F-4C76-8ED5-95299D9A40D0}"/>
                </a:ext>
              </a:extLst>
            </p:cNvPr>
            <p:cNvSpPr/>
            <p:nvPr/>
          </p:nvSpPr>
          <p:spPr bwMode="auto">
            <a:xfrm>
              <a:off x="6558516" y="5353914"/>
              <a:ext cx="2216150" cy="780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Based on either typographical errors or abusing the pronunciation similarity of different words</a:t>
              </a:r>
            </a:p>
          </p:txBody>
        </p:sp>
        <p:sp>
          <p:nvSpPr>
            <p:cNvPr id="115" name="îs1iḋè">
              <a:extLst>
                <a:ext uri="{FF2B5EF4-FFF2-40B4-BE49-F238E27FC236}">
                  <a16:creationId xmlns:a16="http://schemas.microsoft.com/office/drawing/2014/main" id="{F9F885B5-1E56-4F6A-8ACE-0FFC4C8D0396}"/>
                </a:ext>
              </a:extLst>
            </p:cNvPr>
            <p:cNvSpPr txBox="1"/>
            <p:nvPr/>
          </p:nvSpPr>
          <p:spPr bwMode="auto">
            <a:xfrm>
              <a:off x="6558516" y="4966317"/>
              <a:ext cx="221615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kern="0" dirty="0">
                  <a:ea typeface="LinLibertineT"/>
                </a:rPr>
                <a:t>M</a:t>
              </a:r>
              <a:r>
                <a:rPr lang="en-US" altLang="zh-CN" sz="1800" b="1" kern="0" dirty="0">
                  <a:effectLst/>
                  <a:ea typeface="LinLibertineT"/>
                </a:rPr>
                <a:t>utation-based squatting</a:t>
              </a:r>
              <a:endParaRPr lang="en-US" altLang="zh-CN" sz="1800" b="1" dirty="0"/>
            </a:p>
          </p:txBody>
        </p:sp>
        <p:sp>
          <p:nvSpPr>
            <p:cNvPr id="116" name="ïṡlíḋé">
              <a:extLst>
                <a:ext uri="{FF2B5EF4-FFF2-40B4-BE49-F238E27FC236}">
                  <a16:creationId xmlns:a16="http://schemas.microsoft.com/office/drawing/2014/main" id="{EDE608FB-2113-41EB-88FC-45BE2695FE8C}"/>
                </a:ext>
              </a:extLst>
            </p:cNvPr>
            <p:cNvSpPr/>
            <p:nvPr/>
          </p:nvSpPr>
          <p:spPr bwMode="auto">
            <a:xfrm>
              <a:off x="9302750" y="5353914"/>
              <a:ext cx="2216150" cy="780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Rely on the combination of recognizable brand names with other keywords (as originally proposed in)</a:t>
              </a:r>
            </a:p>
          </p:txBody>
        </p:sp>
        <p:sp>
          <p:nvSpPr>
            <p:cNvPr id="117" name="ïṥḻïḍe">
              <a:extLst>
                <a:ext uri="{FF2B5EF4-FFF2-40B4-BE49-F238E27FC236}">
                  <a16:creationId xmlns:a16="http://schemas.microsoft.com/office/drawing/2014/main" id="{B4128149-6F0E-4486-920B-D71E8982D610}"/>
                </a:ext>
              </a:extLst>
            </p:cNvPr>
            <p:cNvSpPr txBox="1"/>
            <p:nvPr/>
          </p:nvSpPr>
          <p:spPr bwMode="auto">
            <a:xfrm>
              <a:off x="9302750" y="4966317"/>
              <a:ext cx="221615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kern="0" dirty="0" err="1">
                  <a:ea typeface="LinLibertineT"/>
                </a:rPr>
                <a:t>C</a:t>
              </a:r>
              <a:r>
                <a:rPr lang="en-US" altLang="zh-CN" sz="1800" b="1" kern="0" dirty="0" err="1">
                  <a:effectLst/>
                  <a:ea typeface="LinLibertineT"/>
                </a:rPr>
                <a:t>ombosquatting</a:t>
              </a:r>
              <a:endParaRPr lang="en-US" altLang="zh-CN" sz="1800" b="1" dirty="0"/>
            </a:p>
          </p:txBody>
        </p:sp>
        <p:sp>
          <p:nvSpPr>
            <p:cNvPr id="118" name="íṧlíḑê">
              <a:extLst>
                <a:ext uri="{FF2B5EF4-FFF2-40B4-BE49-F238E27FC236}">
                  <a16:creationId xmlns:a16="http://schemas.microsoft.com/office/drawing/2014/main" id="{0ED6EC28-76E4-4902-A418-2E4A3C560BB5}"/>
                </a:ext>
              </a:extLst>
            </p:cNvPr>
            <p:cNvSpPr/>
            <p:nvPr/>
          </p:nvSpPr>
          <p:spPr>
            <a:xfrm>
              <a:off x="7989954" y="2809875"/>
              <a:ext cx="1312796" cy="366282"/>
            </a:xfrm>
            <a:prstGeom prst="roundRect">
              <a:avLst>
                <a:gd name="adj" fmla="val 13693"/>
              </a:avLst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b="1" dirty="0"/>
                <a:t>Own Models</a:t>
              </a:r>
              <a:endParaRPr lang="zh-CN" altLang="en-US" sz="1400" b="1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04519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15828377-54e7-4ab7-9108-2804c9d8e2e0"/>
  <p:tag name="ISLIDE.TEMPLATE" val="#3310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64761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64761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19888;"/>
  <p:tag name="ISLIDE.ICON" val="#89626;#404254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19888;"/>
  <p:tag name="ISLIDE.ICON" val="#89626;#404254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PICTURE" val="#225035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  <p:tag name="ISLIDE.ICON" val="#368966;#178366;#89626;#143704;#400154;#402182;#400921;#399914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  <p:tag name="ISLIDE.ICON" val="#58229;#58229;#143108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64761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E23507"/>
      </a:accent1>
      <a:accent2>
        <a:srgbClr val="ED520D"/>
      </a:accent2>
      <a:accent3>
        <a:srgbClr val="FFBE2E"/>
      </a:accent3>
      <a:accent4>
        <a:srgbClr val="505050"/>
      </a:accent4>
      <a:accent5>
        <a:srgbClr val="808080"/>
      </a:accent5>
      <a:accent6>
        <a:srgbClr val="969696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E23507"/>
    </a:accent1>
    <a:accent2>
      <a:srgbClr val="ED520D"/>
    </a:accent2>
    <a:accent3>
      <a:srgbClr val="FFBE2E"/>
    </a:accent3>
    <a:accent4>
      <a:srgbClr val="505050"/>
    </a:accent4>
    <a:accent5>
      <a:srgbClr val="808080"/>
    </a:accent5>
    <a:accent6>
      <a:srgbClr val="969696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E23507"/>
    </a:accent1>
    <a:accent2>
      <a:srgbClr val="ED520D"/>
    </a:accent2>
    <a:accent3>
      <a:srgbClr val="FFBE2E"/>
    </a:accent3>
    <a:accent4>
      <a:srgbClr val="505050"/>
    </a:accent4>
    <a:accent5>
      <a:srgbClr val="808080"/>
    </a:accent5>
    <a:accent6>
      <a:srgbClr val="969696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E23507"/>
    </a:accent1>
    <a:accent2>
      <a:srgbClr val="ED520D"/>
    </a:accent2>
    <a:accent3>
      <a:srgbClr val="FFBE2E"/>
    </a:accent3>
    <a:accent4>
      <a:srgbClr val="505050"/>
    </a:accent4>
    <a:accent5>
      <a:srgbClr val="808080"/>
    </a:accent5>
    <a:accent6>
      <a:srgbClr val="969696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951</TotalTime>
  <Words>502</Words>
  <Application>Microsoft Office PowerPoint</Application>
  <PresentationFormat>Widescreen</PresentationFormat>
  <Paragraphs>120</Paragraphs>
  <Slides>28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LinLibertineTBI</vt:lpstr>
      <vt:lpstr>Arial</vt:lpstr>
      <vt:lpstr>Arial Narrow</vt:lpstr>
      <vt:lpstr>Calibri</vt:lpstr>
      <vt:lpstr>Impact</vt:lpstr>
      <vt:lpstr>主题5</vt:lpstr>
      <vt:lpstr>think-cell Slide</vt:lpstr>
      <vt:lpstr>PowerPoint Presentation</vt:lpstr>
      <vt:lpstr>Fake brand names</vt:lpstr>
      <vt:lpstr>Introduction</vt:lpstr>
      <vt:lpstr>Domain Squatting</vt:lpstr>
      <vt:lpstr>Fake apps already appear in the store</vt:lpstr>
      <vt:lpstr>Example of squatting apps</vt:lpstr>
      <vt:lpstr>Achievements</vt:lpstr>
      <vt:lpstr>Squatting Generation Models</vt:lpstr>
      <vt:lpstr>Squatting Generation Models</vt:lpstr>
      <vt:lpstr>Squatting Generation Models</vt:lpstr>
      <vt:lpstr>Squatting Generation Models</vt:lpstr>
      <vt:lpstr>Advantages of AppCrazy</vt:lpstr>
      <vt:lpstr>Research Questions</vt:lpstr>
      <vt:lpstr>Measuring Squatting Apps</vt:lpstr>
      <vt:lpstr>Distribution of Squatting Apps</vt:lpstr>
      <vt:lpstr>Measuring Squatting Apps</vt:lpstr>
      <vt:lpstr>App squatting vs. App Popularity</vt:lpstr>
      <vt:lpstr>Measuring Squatting Apps</vt:lpstr>
      <vt:lpstr>Malware Presence</vt:lpstr>
      <vt:lpstr>Characterizing The Impact</vt:lpstr>
      <vt:lpstr>Presence of Squatting in App Markets</vt:lpstr>
      <vt:lpstr>Presence of Squatting in App Markets</vt:lpstr>
      <vt:lpstr>Characterizing The Impact</vt:lpstr>
      <vt:lpstr>Impact on App Downloads</vt:lpstr>
      <vt:lpstr>Solutions</vt:lpstr>
      <vt:lpstr>Solutions</vt:lpstr>
      <vt:lpstr>Q&amp;A</vt:lpstr>
      <vt:lpstr>Thanks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ouis Wang</dc:creator>
  <cp:lastModifiedBy>Louis Wang</cp:lastModifiedBy>
  <cp:revision>39</cp:revision>
  <cp:lastPrinted>2019-11-18T16:00:00Z</cp:lastPrinted>
  <dcterms:created xsi:type="dcterms:W3CDTF">2019-11-18T16:00:00Z</dcterms:created>
  <dcterms:modified xsi:type="dcterms:W3CDTF">2021-05-19T15:0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